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22" r:id="rId8"/>
  </p:sldMasterIdLst>
  <p:notesMasterIdLst>
    <p:notesMasterId r:id="rId20"/>
  </p:notesMasterIdLst>
  <p:handoutMasterIdLst>
    <p:handoutMasterId r:id="rId21"/>
  </p:handoutMasterIdLst>
  <p:sldIdLst>
    <p:sldId id="3534" r:id="rId9"/>
    <p:sldId id="2146848018" r:id="rId10"/>
    <p:sldId id="2512" r:id="rId11"/>
    <p:sldId id="2146847661" r:id="rId12"/>
    <p:sldId id="2589" r:id="rId13"/>
    <p:sldId id="2146848358" r:id="rId14"/>
    <p:sldId id="3217" r:id="rId15"/>
    <p:sldId id="11556" r:id="rId16"/>
    <p:sldId id="2146848317" r:id="rId17"/>
    <p:sldId id="3526" r:id="rId18"/>
    <p:sldId id="2509" r:id="rId19"/>
  </p:sldIdLst>
  <p:sldSz cx="12192000" cy="6858000"/>
  <p:notesSz cx="7010400" cy="9296400"/>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1B9163-AD37-021B-C7C1-8566A3C6DC49}" name="Meghna Baruah" initials="MB" userId="S::Meghna.Baruah@everestgrp.com::ec4d5429-f521-47c5-a69d-ddef68e95d51" providerId="AD"/>
  <p188:author id="{9B25FF6F-2DA6-3339-0277-8C2AC0047016}" name="Varun Jain" initials="VJ" userId="S::Varun.Jain@everestgrp.com::d95e331e-5a46-40ae-8c72-20f189587925" providerId="AD"/>
  <p188:author id="{F631EBCD-4781-25C3-A73B-4CD31AC09F49}" name="Santhosh Kumar" initials="SK" userId="S::Santhosh.Kumar@everestgrp.com::d0069308-d99a-421c-94b4-c44ad9db0e2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glani, Manisha" initials="MM" lastIdx="17" clrIdx="0">
    <p:extLst>
      <p:ext uri="{19B8F6BF-5375-455C-9EA6-DF929625EA0E}">
        <p15:presenceInfo xmlns:p15="http://schemas.microsoft.com/office/powerpoint/2012/main" userId="S-1-5-21-1603936759-223485569-1819828000-24623" providerId="AD"/>
      </p:ext>
    </p:extLst>
  </p:cmAuthor>
  <p:cmAuthor id="2" name="Miglani, Manisha" initials="MM [2]" lastIdx="17" clrIdx="1">
    <p:extLst>
      <p:ext uri="{19B8F6BF-5375-455C-9EA6-DF929625EA0E}">
        <p15:presenceInfo xmlns:p15="http://schemas.microsoft.com/office/powerpoint/2012/main" userId="S::Manisha.Miglani@everestgrp.com::dcd8ae44-efb6-4afd-b817-410b43c02073" providerId="AD"/>
      </p:ext>
    </p:extLst>
  </p:cmAuthor>
  <p:cmAuthor id="3" name="Kumar, Sathish" initials="KS" lastIdx="16" clrIdx="2">
    <p:extLst>
      <p:ext uri="{19B8F6BF-5375-455C-9EA6-DF929625EA0E}">
        <p15:presenceInfo xmlns:p15="http://schemas.microsoft.com/office/powerpoint/2012/main" userId="S::Sathish.Kumar@everestgrp.com::1d190e4f-7f91-4e76-b027-e1df0c971924" providerId="AD"/>
      </p:ext>
    </p:extLst>
  </p:cmAuthor>
  <p:cmAuthor id="4" name="Boudrie, Elizabeth" initials="BE" lastIdx="2" clrIdx="3">
    <p:extLst>
      <p:ext uri="{19B8F6BF-5375-455C-9EA6-DF929625EA0E}">
        <p15:presenceInfo xmlns:p15="http://schemas.microsoft.com/office/powerpoint/2012/main" userId="S::elizabeth.boudrie@everestgrp.com::c5db88a2-ca9c-48b8-980c-3dae8a671d1c" providerId="AD"/>
      </p:ext>
    </p:extLst>
  </p:cmAuthor>
  <p:cmAuthor id="5" name="Verma, Ashish" initials="VA" lastIdx="16" clrIdx="4">
    <p:extLst>
      <p:ext uri="{19B8F6BF-5375-455C-9EA6-DF929625EA0E}">
        <p15:presenceInfo xmlns:p15="http://schemas.microsoft.com/office/powerpoint/2012/main" userId="S::Ashish.Verma@everestgrp.com::3836a5db-5d69-45a1-ad23-2de5fe2194cf" providerId="AD"/>
      </p:ext>
    </p:extLst>
  </p:cmAuthor>
  <p:cmAuthor id="6" name="Thapa, Navidita" initials="TN" lastIdx="2" clrIdx="5">
    <p:extLst>
      <p:ext uri="{19B8F6BF-5375-455C-9EA6-DF929625EA0E}">
        <p15:presenceInfo xmlns:p15="http://schemas.microsoft.com/office/powerpoint/2012/main" userId="S::Navidita.Thapa@everestgrp.com::3688561f-cb28-4067-8952-0ef447eb52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3F3F"/>
    <a:srgbClr val="1F1F1F"/>
    <a:srgbClr val="F9BA99"/>
    <a:srgbClr val="8F8F8F"/>
    <a:srgbClr val="A5BDC7"/>
    <a:srgbClr val="606060"/>
    <a:srgbClr val="A6A6A6"/>
    <a:srgbClr val="B5E5FF"/>
    <a:srgbClr val="B3CDD7"/>
    <a:srgbClr val="197FAB"/>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BD2A7E-7554-C845-9451-4A319F8008B1}" v="1" dt="2023-02-03T09:54:46.796"/>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17" d="100"/>
          <a:sy n="117" d="100"/>
        </p:scale>
        <p:origin x="808" y="168"/>
      </p:cViewPr>
      <p:guideLst/>
    </p:cSldViewPr>
  </p:slideViewPr>
  <p:notesTextViewPr>
    <p:cViewPr>
      <p:scale>
        <a:sx n="20" d="100"/>
        <a:sy n="20" d="100"/>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kansha Jain" userId="aba7e899-570f-43ac-a5ab-b07bff92c827" providerId="ADAL" clId="{3CBD2A7E-7554-C845-9451-4A319F8008B1}"/>
    <pc:docChg chg="modSld">
      <pc:chgData name="Akansha Jain" userId="aba7e899-570f-43ac-a5ab-b07bff92c827" providerId="ADAL" clId="{3CBD2A7E-7554-C845-9451-4A319F8008B1}" dt="2023-02-03T09:54:48.170" v="3" actId="20577"/>
      <pc:docMkLst>
        <pc:docMk/>
      </pc:docMkLst>
      <pc:sldChg chg="modSp mod">
        <pc:chgData name="Akansha Jain" userId="aba7e899-570f-43ac-a5ab-b07bff92c827" providerId="ADAL" clId="{3CBD2A7E-7554-C845-9451-4A319F8008B1}" dt="2023-02-03T09:54:48.170" v="3" actId="20577"/>
        <pc:sldMkLst>
          <pc:docMk/>
          <pc:sldMk cId="2116216515" sldId="2146848018"/>
        </pc:sldMkLst>
        <pc:graphicFrameChg chg="mod modGraphic">
          <ac:chgData name="Akansha Jain" userId="aba7e899-570f-43ac-a5ab-b07bff92c827" providerId="ADAL" clId="{3CBD2A7E-7554-C845-9451-4A319F8008B1}" dt="2023-02-03T09:54:48.170" v="3" actId="20577"/>
          <ac:graphicFrameMkLst>
            <pc:docMk/>
            <pc:sldMk cId="2116216515" sldId="2146848018"/>
            <ac:graphicFrameMk id="9" creationId="{45AAD1A4-C4D9-897D-D592-AD5F5515CB13}"/>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9934807227317E-2"/>
          <c:y val="0.17627987370383519"/>
          <c:w val="0.89682129970651348"/>
          <c:h val="0.68455180495103174"/>
        </c:manualLayout>
      </c:layout>
      <c:barChart>
        <c:barDir val="bar"/>
        <c:grouping val="clustered"/>
        <c:varyColors val="0"/>
        <c:ser>
          <c:idx val="0"/>
          <c:order val="0"/>
          <c:tx>
            <c:strRef>
              <c:f>Sheet1!$B$1</c:f>
              <c:strCache>
                <c:ptCount val="1"/>
                <c:pt idx="0">
                  <c:v>Series 1</c:v>
                </c:pt>
              </c:strCache>
            </c:strRef>
          </c:tx>
          <c:spPr>
            <a:solidFill>
              <a:schemeClr val="accent5"/>
            </a:solidFill>
          </c:spPr>
          <c:invertIfNegative val="0"/>
          <c:dLbls>
            <c:spPr>
              <a:noFill/>
              <a:ln>
                <a:noFill/>
              </a:ln>
              <a:effectLst/>
            </c:spPr>
            <c:txPr>
              <a:bodyPr wrap="square" lIns="38100" tIns="19050" rIns="38100" bIns="19050" anchor="ctr">
                <a:spAutoFit/>
              </a:bodyPr>
              <a:lstStyle/>
              <a:p>
                <a:pPr>
                  <a:defRPr lang="en-GB" sz="600">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numCache>
            </c:numRef>
          </c:cat>
          <c:val>
            <c:numRef>
              <c:f>Sheet1!$B$2:$B$4</c:f>
              <c:numCache>
                <c:formatCode>General</c:formatCode>
                <c:ptCount val="3"/>
                <c:pt idx="0" formatCode="0.0">
                  <c:v>6</c:v>
                </c:pt>
                <c:pt idx="1">
                  <c:v>5.9</c:v>
                </c:pt>
                <c:pt idx="2" formatCode="0.0">
                  <c:v>5.9</c:v>
                </c:pt>
              </c:numCache>
            </c:numRef>
          </c:val>
          <c:extLst>
            <c:ext xmlns:c16="http://schemas.microsoft.com/office/drawing/2014/chart" uri="{C3380CC4-5D6E-409C-BE32-E72D297353CC}">
              <c16:uniqueId val="{00000000-5BC4-F14E-9168-1A6318B156A0}"/>
            </c:ext>
          </c:extLst>
        </c:ser>
        <c:dLbls>
          <c:showLegendKey val="0"/>
          <c:showVal val="0"/>
          <c:showCatName val="0"/>
          <c:showSerName val="0"/>
          <c:showPercent val="0"/>
          <c:showBubbleSize val="0"/>
        </c:dLbls>
        <c:gapWidth val="60"/>
        <c:axId val="148769408"/>
        <c:axId val="148775296"/>
      </c:barChart>
      <c:catAx>
        <c:axId val="148769408"/>
        <c:scaling>
          <c:orientation val="maxMin"/>
        </c:scaling>
        <c:delete val="0"/>
        <c:axPos val="l"/>
        <c:numFmt formatCode="General" sourceLinked="0"/>
        <c:majorTickMark val="none"/>
        <c:minorTickMark val="none"/>
        <c:tickLblPos val="nextTo"/>
        <c:spPr>
          <a:ln w="6350">
            <a:solidFill>
              <a:schemeClr val="bg1">
                <a:lumMod val="65000"/>
              </a:schemeClr>
            </a:solidFill>
          </a:ln>
        </c:spPr>
        <c:txPr>
          <a:bodyPr/>
          <a:lstStyle/>
          <a:p>
            <a:pPr>
              <a:defRPr lang="en-GB" sz="1100"/>
            </a:pPr>
            <a:endParaRPr lang="en-US"/>
          </a:p>
        </c:txPr>
        <c:crossAx val="148775296"/>
        <c:crosses val="autoZero"/>
        <c:auto val="1"/>
        <c:lblAlgn val="ctr"/>
        <c:lblOffset val="0"/>
        <c:tickMarkSkip val="1"/>
        <c:noMultiLvlLbl val="0"/>
      </c:catAx>
      <c:valAx>
        <c:axId val="148775296"/>
        <c:scaling>
          <c:orientation val="minMax"/>
          <c:max val="10"/>
          <c:min val="1"/>
        </c:scaling>
        <c:delete val="1"/>
        <c:axPos val="t"/>
        <c:numFmt formatCode="0.0" sourceLinked="1"/>
        <c:majorTickMark val="out"/>
        <c:minorTickMark val="none"/>
        <c:tickLblPos val="nextTo"/>
        <c:crossAx val="148769408"/>
        <c:crossesAt val="1"/>
        <c:crossBetween val="between"/>
        <c:majorUnit val="4"/>
      </c:valAx>
    </c:plotArea>
    <c:plotVisOnly val="1"/>
    <c:dispBlanksAs val="gap"/>
    <c:showDLblsOverMax val="0"/>
  </c:chart>
  <c:txPr>
    <a:bodyPr/>
    <a:lstStyle/>
    <a:p>
      <a:pPr>
        <a:defRPr sz="16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669934807227317E-2"/>
          <c:y val="0.17627987370383519"/>
          <c:w val="0.89682129970651348"/>
          <c:h val="0.68455180495103174"/>
        </c:manualLayout>
      </c:layout>
      <c:barChart>
        <c:barDir val="bar"/>
        <c:grouping val="clustered"/>
        <c:varyColors val="0"/>
        <c:ser>
          <c:idx val="0"/>
          <c:order val="0"/>
          <c:tx>
            <c:strRef>
              <c:f>Sheet1!$B$1</c:f>
              <c:strCache>
                <c:ptCount val="1"/>
                <c:pt idx="0">
                  <c:v>Series 1</c:v>
                </c:pt>
              </c:strCache>
            </c:strRef>
          </c:tx>
          <c:spPr>
            <a:solidFill>
              <a:srgbClr val="00436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en-GB" sz="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5</c:f>
              <c:numCache>
                <c:formatCode>General</c:formatCode>
                <c:ptCount val="4"/>
              </c:numCache>
            </c:numRef>
          </c:cat>
          <c:val>
            <c:numRef>
              <c:f>Sheet1!$B$2:$B$5</c:f>
              <c:numCache>
                <c:formatCode>General</c:formatCode>
                <c:ptCount val="4"/>
                <c:pt idx="0">
                  <c:v>6.6</c:v>
                </c:pt>
                <c:pt idx="1">
                  <c:v>6.5</c:v>
                </c:pt>
                <c:pt idx="2" formatCode="0.0">
                  <c:v>6.4</c:v>
                </c:pt>
                <c:pt idx="3" formatCode="0.0">
                  <c:v>6</c:v>
                </c:pt>
              </c:numCache>
            </c:numRef>
          </c:val>
          <c:extLst>
            <c:ext xmlns:c16="http://schemas.microsoft.com/office/drawing/2014/chart" uri="{C3380CC4-5D6E-409C-BE32-E72D297353CC}">
              <c16:uniqueId val="{00000000-7C19-EF4B-A99B-94A6F9985191}"/>
            </c:ext>
          </c:extLst>
        </c:ser>
        <c:dLbls>
          <c:showLegendKey val="0"/>
          <c:showVal val="0"/>
          <c:showCatName val="0"/>
          <c:showSerName val="0"/>
          <c:showPercent val="0"/>
          <c:showBubbleSize val="0"/>
        </c:dLbls>
        <c:gapWidth val="60"/>
        <c:axId val="148769408"/>
        <c:axId val="148775296"/>
      </c:barChart>
      <c:catAx>
        <c:axId val="148769408"/>
        <c:scaling>
          <c:orientation val="maxMin"/>
        </c:scaling>
        <c:delete val="0"/>
        <c:axPos val="l"/>
        <c:numFmt formatCode="General" sourceLinked="0"/>
        <c:majorTickMark val="none"/>
        <c:minorTickMark val="none"/>
        <c:tickLblPos val="nextTo"/>
        <c:spPr>
          <a:noFill/>
          <a:ln w="6350" cap="flat" cmpd="sng" algn="ctr">
            <a:solidFill>
              <a:schemeClr val="bg1">
                <a:lumMod val="65000"/>
              </a:schemeClr>
            </a:solidFill>
            <a:prstDash val="solid"/>
            <a:round/>
          </a:ln>
          <a:effectLst/>
        </c:spPr>
        <c:txPr>
          <a:bodyPr rot="-60000000" spcFirstLastPara="1" vertOverflow="ellipsis" vert="horz" wrap="square" anchor="ctr" anchorCtr="1"/>
          <a:lstStyle/>
          <a:p>
            <a:pPr>
              <a:defRPr lang="en-GB" sz="1100" b="0" i="0" u="none" strike="noStrike" kern="1200" baseline="0">
                <a:solidFill>
                  <a:schemeClr val="tx1"/>
                </a:solidFill>
                <a:latin typeface="+mn-lt"/>
                <a:ea typeface="+mn-ea"/>
                <a:cs typeface="+mn-cs"/>
              </a:defRPr>
            </a:pPr>
            <a:endParaRPr lang="en-US"/>
          </a:p>
        </c:txPr>
        <c:crossAx val="148775296"/>
        <c:crosses val="autoZero"/>
        <c:auto val="1"/>
        <c:lblAlgn val="ctr"/>
        <c:lblOffset val="0"/>
        <c:tickMarkSkip val="1"/>
        <c:noMultiLvlLbl val="0"/>
      </c:catAx>
      <c:valAx>
        <c:axId val="148775296"/>
        <c:scaling>
          <c:orientation val="minMax"/>
          <c:max val="10"/>
          <c:min val="1"/>
        </c:scaling>
        <c:delete val="1"/>
        <c:axPos val="t"/>
        <c:numFmt formatCode="General" sourceLinked="1"/>
        <c:majorTickMark val="out"/>
        <c:minorTickMark val="none"/>
        <c:tickLblPos val="nextTo"/>
        <c:crossAx val="148769408"/>
        <c:crossesAt val="1"/>
        <c:crossBetween val="between"/>
        <c:majorUnit val="4"/>
      </c:valAx>
      <c:spPr>
        <a:noFill/>
        <a:ln>
          <a:noFill/>
        </a:ln>
        <a:effectLst/>
      </c:spPr>
    </c:plotArea>
    <c:plotVisOnly val="1"/>
    <c:dispBlanksAs val="gap"/>
    <c:showDLblsOverMax val="0"/>
  </c:chart>
  <c:spPr>
    <a:noFill/>
    <a:ln w="9525" cap="flat" cmpd="sng" algn="ctr">
      <a:noFill/>
      <a:prstDash val="solid"/>
    </a:ln>
    <a:effectLst/>
  </c:spPr>
  <c:txPr>
    <a:bodyPr/>
    <a:lstStyle/>
    <a:p>
      <a:pPr>
        <a:defRPr sz="16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13793103448273E-2"/>
          <c:y val="0.35193853972151873"/>
          <c:w val="0.95258620689655171"/>
          <c:h val="0.24197852983057494"/>
        </c:manualLayout>
      </c:layout>
      <c:barChart>
        <c:barDir val="bar"/>
        <c:grouping val="stacked"/>
        <c:varyColors val="0"/>
        <c:ser>
          <c:idx val="0"/>
          <c:order val="0"/>
          <c:tx>
            <c:strRef>
              <c:f>Sheet1!$B$1</c:f>
              <c:strCache>
                <c:ptCount val="1"/>
                <c:pt idx="0">
                  <c:v>Series 1</c:v>
                </c:pt>
              </c:strCache>
            </c:strRef>
          </c:tx>
          <c:spPr>
            <a:solidFill>
              <a:srgbClr val="606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5.9</c:v>
                </c:pt>
              </c:numCache>
            </c:numRef>
          </c:val>
          <c:extLst>
            <c:ext xmlns:c16="http://schemas.microsoft.com/office/drawing/2014/chart" uri="{C3380CC4-5D6E-409C-BE32-E72D297353CC}">
              <c16:uniqueId val="{00000000-9EFD-D249-AEEE-AD068D2AEADC}"/>
            </c:ext>
          </c:extLst>
        </c:ser>
        <c:dLbls>
          <c:showLegendKey val="0"/>
          <c:showVal val="0"/>
          <c:showCatName val="0"/>
          <c:showSerName val="0"/>
          <c:showPercent val="0"/>
          <c:showBubbleSize val="0"/>
        </c:dLbls>
        <c:gapWidth val="50"/>
        <c:overlap val="100"/>
        <c:axId val="1212232208"/>
        <c:axId val="2107969680"/>
      </c:barChart>
      <c:catAx>
        <c:axId val="1212232208"/>
        <c:scaling>
          <c:orientation val="minMax"/>
        </c:scaling>
        <c:delete val="0"/>
        <c:axPos val="l"/>
        <c:numFmt formatCode="General" sourceLinked="1"/>
        <c:majorTickMark val="none"/>
        <c:minorTickMark val="none"/>
        <c:tickLblPos val="none"/>
        <c:spPr>
          <a:noFill/>
          <a:ln w="6350" cap="flat" cmpd="sng" algn="ctr">
            <a:solidFill>
              <a:schemeClr val="bg1">
                <a:lumMod val="6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07969680"/>
        <c:crosses val="autoZero"/>
        <c:auto val="1"/>
        <c:lblAlgn val="ctr"/>
        <c:lblOffset val="100"/>
        <c:noMultiLvlLbl val="0"/>
      </c:catAx>
      <c:valAx>
        <c:axId val="2107969680"/>
        <c:scaling>
          <c:orientation val="minMax"/>
          <c:max val="10"/>
          <c:min val="1"/>
        </c:scaling>
        <c:delete val="1"/>
        <c:axPos val="b"/>
        <c:numFmt formatCode="General" sourceLinked="1"/>
        <c:majorTickMark val="out"/>
        <c:minorTickMark val="none"/>
        <c:tickLblPos val="nextTo"/>
        <c:crossAx val="1212232208"/>
        <c:crosses val="autoZero"/>
        <c:crossBetween val="between"/>
        <c:majorUnit val="4"/>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236868686868688E-2"/>
          <c:y val="4.8723575718697822E-2"/>
          <c:w val="0.97352627686005255"/>
          <c:h val="0.86612701838571815"/>
        </c:manualLayout>
      </c:layout>
      <c:barChart>
        <c:barDir val="col"/>
        <c:grouping val="stacked"/>
        <c:varyColors val="0"/>
        <c:ser>
          <c:idx val="0"/>
          <c:order val="0"/>
          <c:tx>
            <c:strRef>
              <c:f>Sheet1!$B$1</c:f>
              <c:strCache>
                <c:ptCount val="1"/>
                <c:pt idx="0">
                  <c:v>Series 1</c:v>
                </c:pt>
              </c:strCache>
            </c:strRef>
          </c:tx>
          <c:spPr>
            <a:solidFill>
              <a:schemeClr val="accent2"/>
            </a:solidFill>
            <a:ln>
              <a:noFill/>
            </a:ln>
          </c:spPr>
          <c:invertIfNegative val="0"/>
          <c:dPt>
            <c:idx val="2"/>
            <c:invertIfNegative val="0"/>
            <c:bubble3D val="0"/>
            <c:extLst>
              <c:ext xmlns:c16="http://schemas.microsoft.com/office/drawing/2014/chart" uri="{C3380CC4-5D6E-409C-BE32-E72D297353CC}">
                <c16:uniqueId val="{00000000-E2D2-4609-8B82-D93280F34230}"/>
              </c:ext>
            </c:extLst>
          </c:dPt>
          <c:dPt>
            <c:idx val="3"/>
            <c:invertIfNegative val="0"/>
            <c:bubble3D val="0"/>
            <c:extLst>
              <c:ext xmlns:c16="http://schemas.microsoft.com/office/drawing/2014/chart" uri="{C3380CC4-5D6E-409C-BE32-E72D297353CC}">
                <c16:uniqueId val="{00000001-E2D2-4609-8B82-D93280F34230}"/>
              </c:ext>
            </c:extLst>
          </c:dPt>
          <c:dLbls>
            <c:dLbl>
              <c:idx val="0"/>
              <c:tx>
                <c:rich>
                  <a:bodyPr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700" b="0" i="0" u="none" strike="noStrike" kern="1200" baseline="0">
                        <a:solidFill>
                          <a:srgbClr val="FFFFFF"/>
                        </a:solidFill>
                        <a:latin typeface="+mn-lt"/>
                        <a:ea typeface="+mn-ea"/>
                        <a:cs typeface="+mn-cs"/>
                      </a:defRPr>
                    </a:pPr>
                    <a:r>
                      <a:rPr kumimoji="0" lang="en-US" sz="700" b="0" i="0" u="none" strike="noStrike" kern="0" cap="none" spc="0" normalizeH="0" baseline="0" noProof="0">
                        <a:ln>
                          <a:noFill/>
                        </a:ln>
                        <a:solidFill>
                          <a:schemeClr val="bg1"/>
                        </a:solidFill>
                        <a:effectLst/>
                        <a:uLnTx/>
                        <a:uFillTx/>
                      </a:rPr>
                      <a:t>1,900-2,00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E2D2-4609-8B82-D93280F34230}"/>
                </c:ext>
              </c:extLst>
            </c:dLbl>
            <c:dLbl>
              <c:idx val="1"/>
              <c:layout>
                <c:manualLayout>
                  <c:x val="-4.2760942760942762E-3"/>
                  <c:y val="0"/>
                </c:manualLayout>
              </c:layout>
              <c:tx>
                <c:rich>
                  <a:bodyPr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700" b="0" i="0" u="none" strike="noStrike" kern="1200" baseline="0">
                        <a:solidFill>
                          <a:srgbClr val="FFFFFF"/>
                        </a:solidFill>
                        <a:latin typeface="+mn-lt"/>
                        <a:ea typeface="+mn-ea"/>
                        <a:cs typeface="+mn-cs"/>
                      </a:defRPr>
                    </a:pPr>
                    <a:r>
                      <a:rPr kumimoji="0" lang="en-US" sz="700" b="0" i="0" u="none" strike="noStrike" kern="0" cap="none" spc="0" normalizeH="0" baseline="0" noProof="0">
                        <a:ln>
                          <a:noFill/>
                        </a:ln>
                        <a:solidFill>
                          <a:schemeClr val="bg1"/>
                        </a:solidFill>
                        <a:effectLst/>
                        <a:uLnTx/>
                        <a:uFillTx/>
                      </a:rPr>
                      <a:t>2,300-2,40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E2D2-4609-8B82-D93280F34230}"/>
                </c:ext>
              </c:extLst>
            </c:dLbl>
            <c:dLbl>
              <c:idx val="2"/>
              <c:tx>
                <c:rich>
                  <a:bodyPr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700" b="0" i="0" u="none" strike="noStrike" kern="1200" baseline="0">
                        <a:solidFill>
                          <a:srgbClr val="FFFFFF"/>
                        </a:solidFill>
                        <a:latin typeface="+mn-lt"/>
                        <a:ea typeface="+mn-ea"/>
                        <a:cs typeface="+mn-cs"/>
                      </a:defRPr>
                    </a:pPr>
                    <a:r>
                      <a:rPr lang="en-US" sz="700"/>
                      <a:t>2,800-2,90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E2D2-4609-8B82-D93280F34230}"/>
                </c:ext>
              </c:extLst>
            </c:dLbl>
            <c:dLbl>
              <c:idx val="3"/>
              <c:tx>
                <c:rich>
                  <a:bodyPr/>
                  <a:lstStyle/>
                  <a:p>
                    <a:r>
                      <a:rPr kumimoji="0" lang="en-US" sz="700" i="0" u="none" strike="noStrike" kern="0" cap="none" spc="0" normalizeH="0" baseline="0" noProof="0">
                        <a:ln>
                          <a:noFill/>
                        </a:ln>
                        <a:solidFill>
                          <a:schemeClr val="bg1"/>
                        </a:solidFill>
                        <a:effectLst/>
                        <a:uLnTx/>
                        <a:uFillTx/>
                      </a:rPr>
                      <a:t>3,900-4,0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E2D2-4609-8B82-D93280F34230}"/>
                </c:ext>
              </c:extLst>
            </c:dLbl>
            <c:spPr>
              <a:noFill/>
              <a:ln>
                <a:noFill/>
              </a:ln>
              <a:effectLst/>
            </c:spPr>
            <c:txPr>
              <a:bodyPr wrap="square" lIns="38100" tIns="19050" rIns="38100" bIns="19050" anchor="ctr">
                <a:spAutoFit/>
              </a:bodyPr>
              <a:lstStyle/>
              <a:p>
                <a:pPr>
                  <a:defRPr sz="7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2020</c:v>
                </c:pt>
                <c:pt idx="1">
                  <c:v>2021</c:v>
                </c:pt>
                <c:pt idx="2">
                  <c:v>2022E</c:v>
                </c:pt>
                <c:pt idx="3">
                  <c:v>2024E</c:v>
                </c:pt>
              </c:strCache>
            </c:strRef>
          </c:cat>
          <c:val>
            <c:numRef>
              <c:f>Sheet1!$B$2:$B$5</c:f>
              <c:numCache>
                <c:formatCode>0.0</c:formatCode>
                <c:ptCount val="4"/>
                <c:pt idx="0">
                  <c:v>1929</c:v>
                </c:pt>
                <c:pt idx="1">
                  <c:v>2374</c:v>
                </c:pt>
                <c:pt idx="2">
                  <c:v>2845</c:v>
                </c:pt>
                <c:pt idx="3">
                  <c:v>3960</c:v>
                </c:pt>
              </c:numCache>
            </c:numRef>
          </c:val>
          <c:extLst>
            <c:ext xmlns:c16="http://schemas.microsoft.com/office/drawing/2014/chart" uri="{C3380CC4-5D6E-409C-BE32-E72D297353CC}">
              <c16:uniqueId val="{00000004-E2D2-4609-8B82-D93280F34230}"/>
            </c:ext>
          </c:extLst>
        </c:ser>
        <c:ser>
          <c:idx val="1"/>
          <c:order val="1"/>
          <c:tx>
            <c:strRef>
              <c:f>Sheet1!$C$1</c:f>
              <c:strCache>
                <c:ptCount val="1"/>
                <c:pt idx="0">
                  <c:v>Series 12</c:v>
                </c:pt>
              </c:strCache>
            </c:strRef>
          </c:tx>
          <c:spPr>
            <a:solidFill>
              <a:schemeClr val="bg2">
                <a:lumMod val="50000"/>
              </a:schemeClr>
            </a:solidFill>
          </c:spPr>
          <c:invertIfNegative val="0"/>
          <c:dPt>
            <c:idx val="3"/>
            <c:invertIfNegative val="0"/>
            <c:bubble3D val="0"/>
            <c:extLst>
              <c:ext xmlns:c16="http://schemas.microsoft.com/office/drawing/2014/chart" uri="{C3380CC4-5D6E-409C-BE32-E72D297353CC}">
                <c16:uniqueId val="{00000005-E2D2-4609-8B82-D93280F34230}"/>
              </c:ext>
            </c:extLst>
          </c:dPt>
          <c:dLbls>
            <c:dLbl>
              <c:idx val="3"/>
              <c:tx>
                <c:rich>
                  <a:bodyPr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rgbClr val="FFFFFF"/>
                        </a:solidFill>
                        <a:latin typeface="+mn-lt"/>
                        <a:ea typeface="+mn-ea"/>
                        <a:cs typeface="+mn-cs"/>
                      </a:defRPr>
                    </a:pPr>
                    <a:r>
                      <a:rPr lang="en-US" sz="1100" kern="0">
                        <a:solidFill>
                          <a:schemeClr val="bg1"/>
                        </a:solidFill>
                      </a:rPr>
                      <a:t>100</a:t>
                    </a:r>
                    <a:r>
                      <a:rPr kumimoji="0" lang="en-US" sz="1100" i="0" u="none" strike="noStrike" kern="0" cap="none" spc="0" normalizeH="0" baseline="0" noProof="0">
                        <a:ln>
                          <a:noFill/>
                        </a:ln>
                        <a:solidFill>
                          <a:schemeClr val="bg1"/>
                        </a:solidFill>
                        <a:effectLst/>
                        <a:uLnTx/>
                        <a:uFillTx/>
                      </a:rPr>
                      <a:t>-30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E2D2-4609-8B82-D93280F34230}"/>
                </c:ext>
              </c:extLst>
            </c:dLbl>
            <c:spPr>
              <a:noFill/>
              <a:ln>
                <a:noFill/>
              </a:ln>
              <a:effectLst/>
            </c:spPr>
            <c:txPr>
              <a:bodyPr wrap="square" lIns="38100" tIns="19050" rIns="38100" bIns="19050" anchor="ctr">
                <a:spAutoFit/>
              </a:bodyPr>
              <a:lstStyle/>
              <a:p>
                <a:pPr>
                  <a:defRPr sz="11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2020</c:v>
                </c:pt>
                <c:pt idx="1">
                  <c:v>2021</c:v>
                </c:pt>
                <c:pt idx="2">
                  <c:v>2022E</c:v>
                </c:pt>
                <c:pt idx="3">
                  <c:v>2024E</c:v>
                </c:pt>
              </c:strCache>
            </c:strRef>
          </c:cat>
          <c:val>
            <c:numRef>
              <c:f>Sheet1!$C$2:$C$5</c:f>
              <c:numCache>
                <c:formatCode>General</c:formatCode>
                <c:ptCount val="4"/>
              </c:numCache>
            </c:numRef>
          </c:val>
          <c:extLst>
            <c:ext xmlns:c16="http://schemas.microsoft.com/office/drawing/2014/chart" uri="{C3380CC4-5D6E-409C-BE32-E72D297353CC}">
              <c16:uniqueId val="{00000006-E2D2-4609-8B82-D93280F34230}"/>
            </c:ext>
          </c:extLst>
        </c:ser>
        <c:ser>
          <c:idx val="2"/>
          <c:order val="2"/>
          <c:tx>
            <c:strRef>
              <c:f>Sheet1!$D$1</c:f>
              <c:strCache>
                <c:ptCount val="1"/>
                <c:pt idx="0">
                  <c:v>Series 2</c:v>
                </c:pt>
              </c:strCache>
            </c:strRef>
          </c:tx>
          <c:spPr>
            <a:solidFill>
              <a:schemeClr val="accent4"/>
            </a:solidFill>
          </c:spPr>
          <c:invertIfNegative val="0"/>
          <c:dLbls>
            <c:dLbl>
              <c:idx val="2"/>
              <c:tx>
                <c:rich>
                  <a:bodyPr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1100" b="0" i="0" u="none" strike="noStrike" kern="1200" baseline="0">
                        <a:solidFill>
                          <a:schemeClr val="tx1"/>
                        </a:solidFill>
                        <a:latin typeface="+mn-lt"/>
                        <a:ea typeface="+mn-ea"/>
                        <a:cs typeface="+mn-cs"/>
                      </a:defRPr>
                    </a:pPr>
                    <a:r>
                      <a:rPr lang="en-US">
                        <a:solidFill>
                          <a:schemeClr val="tx1"/>
                        </a:solidFill>
                      </a:rPr>
                      <a:t>300-33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E2D2-4609-8B82-D93280F34230}"/>
                </c:ext>
              </c:extLst>
            </c:dLbl>
            <c:spPr>
              <a:noFill/>
              <a:ln>
                <a:noFill/>
              </a:ln>
              <a:effectLst/>
            </c:spPr>
            <c:txPr>
              <a:bodyPr wrap="square" lIns="38100" tIns="19050" rIns="38100" bIns="19050" anchor="ctr">
                <a:spAutoFit/>
              </a:bodyPr>
              <a:lstStyle/>
              <a:p>
                <a:pPr>
                  <a:defRPr sz="11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2020</c:v>
                </c:pt>
                <c:pt idx="1">
                  <c:v>2021</c:v>
                </c:pt>
                <c:pt idx="2">
                  <c:v>2022E</c:v>
                </c:pt>
                <c:pt idx="3">
                  <c:v>2024E</c:v>
                </c:pt>
              </c:strCache>
            </c:strRef>
          </c:cat>
          <c:val>
            <c:numRef>
              <c:f>Sheet1!$D$2:$D$5</c:f>
              <c:numCache>
                <c:formatCode>General</c:formatCode>
                <c:ptCount val="4"/>
              </c:numCache>
            </c:numRef>
          </c:val>
          <c:extLst>
            <c:ext xmlns:c16="http://schemas.microsoft.com/office/drawing/2014/chart" uri="{C3380CC4-5D6E-409C-BE32-E72D297353CC}">
              <c16:uniqueId val="{00000008-E2D2-4609-8B82-D93280F34230}"/>
            </c:ext>
          </c:extLst>
        </c:ser>
        <c:dLbls>
          <c:showLegendKey val="0"/>
          <c:showVal val="0"/>
          <c:showCatName val="0"/>
          <c:showSerName val="0"/>
          <c:showPercent val="0"/>
          <c:showBubbleSize val="0"/>
        </c:dLbls>
        <c:gapWidth val="50"/>
        <c:overlap val="100"/>
        <c:axId val="208435000"/>
        <c:axId val="208432648"/>
      </c:barChart>
      <c:catAx>
        <c:axId val="208435000"/>
        <c:scaling>
          <c:orientation val="minMax"/>
        </c:scaling>
        <c:delete val="0"/>
        <c:axPos val="b"/>
        <c:numFmt formatCode="General" sourceLinked="0"/>
        <c:majorTickMark val="none"/>
        <c:minorTickMark val="none"/>
        <c:tickLblPos val="nextTo"/>
        <c:spPr>
          <a:ln w="6350">
            <a:solidFill>
              <a:schemeClr val="accent4"/>
            </a:solidFill>
          </a:ln>
        </c:spPr>
        <c:txPr>
          <a:bodyPr/>
          <a:lstStyle/>
          <a:p>
            <a:pPr>
              <a:defRPr sz="800">
                <a:solidFill>
                  <a:schemeClr val="tx1"/>
                </a:solidFill>
              </a:defRPr>
            </a:pPr>
            <a:endParaRPr lang="en-US"/>
          </a:p>
        </c:txPr>
        <c:crossAx val="208432648"/>
        <c:crosses val="autoZero"/>
        <c:auto val="1"/>
        <c:lblAlgn val="ctr"/>
        <c:lblOffset val="0"/>
        <c:noMultiLvlLbl val="0"/>
      </c:catAx>
      <c:valAx>
        <c:axId val="208432648"/>
        <c:scaling>
          <c:orientation val="minMax"/>
        </c:scaling>
        <c:delete val="1"/>
        <c:axPos val="l"/>
        <c:numFmt formatCode="0.0" sourceLinked="1"/>
        <c:majorTickMark val="out"/>
        <c:minorTickMark val="none"/>
        <c:tickLblPos val="nextTo"/>
        <c:crossAx val="20843500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36888"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10243" name="Rectangle 3"/>
          <p:cNvSpPr>
            <a:spLocks noGrp="1" noChangeArrowheads="1"/>
          </p:cNvSpPr>
          <p:nvPr>
            <p:ph type="dt" sz="quarter" idx="1"/>
          </p:nvPr>
        </p:nvSpPr>
        <p:spPr bwMode="auto">
          <a:xfrm>
            <a:off x="3973513" y="0"/>
            <a:ext cx="3036887"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50407464-4171-4BF8-BD2C-8BDAC8194E7E}" type="datetime1">
              <a:rPr lang="en-US" altLang="en-US"/>
              <a:pPr>
                <a:defRPr/>
              </a:pPr>
              <a:t>2/3/23</a:t>
            </a:fld>
            <a:endParaRPr lang="en-US" altLang="en-US"/>
          </a:p>
        </p:txBody>
      </p:sp>
      <p:sp>
        <p:nvSpPr>
          <p:cNvPr id="10244" name="Rectangle 4"/>
          <p:cNvSpPr>
            <a:spLocks noGrp="1" noChangeArrowheads="1"/>
          </p:cNvSpPr>
          <p:nvPr>
            <p:ph type="ftr" sz="quarter" idx="2"/>
          </p:nvPr>
        </p:nvSpPr>
        <p:spPr bwMode="auto">
          <a:xfrm>
            <a:off x="0" y="8831263"/>
            <a:ext cx="3036888"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10245" name="Rectangle 5"/>
          <p:cNvSpPr>
            <a:spLocks noGrp="1" noChangeArrowheads="1"/>
          </p:cNvSpPr>
          <p:nvPr>
            <p:ph type="sldNum" sz="quarter" idx="3"/>
          </p:nvPr>
        </p:nvSpPr>
        <p:spPr bwMode="auto">
          <a:xfrm>
            <a:off x="3973513" y="8831263"/>
            <a:ext cx="3036887"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1C4CF220-916D-4E8E-BB9E-26A92054228B}" type="slidenum">
              <a:rPr lang="en-US" altLang="en-US"/>
              <a:pPr>
                <a:defRPr/>
              </a:pPr>
              <a:t>‹#›</a:t>
            </a:fld>
            <a:endParaRPr lang="en-US" altLang="en-US"/>
          </a:p>
        </p:txBody>
      </p:sp>
    </p:spTree>
    <p:extLst>
      <p:ext uri="{BB962C8B-B14F-4D97-AF65-F5344CB8AC3E}">
        <p14:creationId xmlns:p14="http://schemas.microsoft.com/office/powerpoint/2010/main" val="21616484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3036888"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4099" name="Rectangle 3"/>
          <p:cNvSpPr>
            <a:spLocks noGrp="1" noChangeArrowheads="1"/>
          </p:cNvSpPr>
          <p:nvPr>
            <p:ph type="dt" idx="1"/>
          </p:nvPr>
        </p:nvSpPr>
        <p:spPr bwMode="auto">
          <a:xfrm>
            <a:off x="3973513" y="0"/>
            <a:ext cx="3036887" cy="465138"/>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1E169CEB-7241-42C5-BD57-015FB497C1C3}" type="datetime1">
              <a:rPr lang="en-US" altLang="en-US"/>
              <a:pPr>
                <a:defRPr/>
              </a:pPr>
              <a:t>2/3/23</a:t>
            </a:fld>
            <a:endParaRPr lang="en-US" altLang="en-US"/>
          </a:p>
        </p:txBody>
      </p:sp>
      <p:sp>
        <p:nvSpPr>
          <p:cNvPr id="45060" name="Rectangle 4"/>
          <p:cNvSpPr>
            <a:spLocks noGrp="1" noRot="1" noChangeAspect="1" noChangeArrowheads="1" noTextEdit="1"/>
          </p:cNvSpPr>
          <p:nvPr>
            <p:ph type="sldImg" idx="2"/>
          </p:nvPr>
        </p:nvSpPr>
        <p:spPr bwMode="auto">
          <a:xfrm>
            <a:off x="407988" y="696913"/>
            <a:ext cx="6197600" cy="348615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33450" y="4414838"/>
            <a:ext cx="5143500" cy="4184650"/>
          </a:xfrm>
          <a:prstGeom prst="rect">
            <a:avLst/>
          </a:prstGeom>
          <a:noFill/>
          <a:ln w="9525">
            <a:noFill/>
            <a:miter lim="800000"/>
            <a:headEnd/>
            <a:tailEnd/>
          </a:ln>
          <a:effectLst/>
        </p:spPr>
        <p:txBody>
          <a:bodyPr vert="horz" wrap="square" lIns="93133" tIns="46568" rIns="93133" bIns="46568" numCol="1" anchor="t" anchorCtr="0" compatLnSpc="1">
            <a:prstTxWarp prst="textNoShape">
              <a:avLst/>
            </a:prstTxWarp>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p>
        </p:txBody>
      </p:sp>
      <p:sp>
        <p:nvSpPr>
          <p:cNvPr id="4102" name="Rectangle 6"/>
          <p:cNvSpPr>
            <a:spLocks noGrp="1" noChangeArrowheads="1"/>
          </p:cNvSpPr>
          <p:nvPr>
            <p:ph type="ftr" sz="quarter" idx="4"/>
          </p:nvPr>
        </p:nvSpPr>
        <p:spPr bwMode="auto">
          <a:xfrm>
            <a:off x="0" y="8831263"/>
            <a:ext cx="3036888"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defTabSz="931863">
              <a:buClrTx/>
              <a:buSzTx/>
              <a:buFontTx/>
              <a:buNone/>
              <a:defRPr sz="1200">
                <a:latin typeface="Times New Roman" pitchFamily="18" charset="0"/>
                <a:cs typeface="+mn-cs"/>
              </a:defRPr>
            </a:lvl1pPr>
          </a:lstStyle>
          <a:p>
            <a:pPr>
              <a:defRPr/>
            </a:pPr>
            <a:endParaRPr lang="en-US" altLang="en-US"/>
          </a:p>
        </p:txBody>
      </p:sp>
      <p:sp>
        <p:nvSpPr>
          <p:cNvPr id="4103" name="Rectangle 7"/>
          <p:cNvSpPr>
            <a:spLocks noGrp="1" noChangeArrowheads="1"/>
          </p:cNvSpPr>
          <p:nvPr>
            <p:ph type="sldNum" sz="quarter" idx="5"/>
          </p:nvPr>
        </p:nvSpPr>
        <p:spPr bwMode="auto">
          <a:xfrm>
            <a:off x="3973513" y="8831263"/>
            <a:ext cx="3036887" cy="465137"/>
          </a:xfrm>
          <a:prstGeom prst="rect">
            <a:avLst/>
          </a:prstGeom>
          <a:noFill/>
          <a:ln w="9525">
            <a:noFill/>
            <a:miter lim="800000"/>
            <a:headEnd/>
            <a:tailEnd/>
          </a:ln>
          <a:effectLst/>
        </p:spPr>
        <p:txBody>
          <a:bodyPr vert="horz" wrap="square" lIns="93133" tIns="46568" rIns="93133" bIns="46568" numCol="1" anchor="b" anchorCtr="0" compatLnSpc="1">
            <a:prstTxWarp prst="textNoShape">
              <a:avLst/>
            </a:prstTxWarp>
          </a:bodyPr>
          <a:lstStyle>
            <a:lvl1pPr algn="r" defTabSz="931863">
              <a:buClrTx/>
              <a:buSzTx/>
              <a:buFontTx/>
              <a:buNone/>
              <a:defRPr sz="1200">
                <a:latin typeface="Times New Roman" pitchFamily="18" charset="0"/>
                <a:cs typeface="+mn-cs"/>
              </a:defRPr>
            </a:lvl1pPr>
          </a:lstStyle>
          <a:p>
            <a:pPr>
              <a:defRPr/>
            </a:pPr>
            <a:fld id="{9B02FACB-859A-4BF5-A3BF-807104680974}" type="slidenum">
              <a:rPr lang="en-US" altLang="en-US"/>
              <a:pPr>
                <a:defRPr/>
              </a:pPr>
              <a:t>‹#›</a:t>
            </a:fld>
            <a:endParaRPr lang="en-US" altLang="en-US"/>
          </a:p>
        </p:txBody>
      </p:sp>
    </p:spTree>
    <p:extLst>
      <p:ext uri="{BB962C8B-B14F-4D97-AF65-F5344CB8AC3E}">
        <p14:creationId xmlns:p14="http://schemas.microsoft.com/office/powerpoint/2010/main" val="3394289828"/>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a:defRPr/>
            </a:pPr>
            <a:fld id="{1E169CEB-7241-42C5-BD57-015FB497C1C3}" type="datetime1">
              <a:rPr lang="en-US" altLang="en-US"/>
              <a:pPr>
                <a:defRPr/>
              </a:pPr>
              <a:t>2/3/23</a:t>
            </a:fld>
            <a:endParaRPr lang="en-US" altLang="en-US"/>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a:pPr>
                <a:defRPr/>
              </a:pPr>
              <a:t>2</a:t>
            </a:fld>
            <a:endParaRPr lang="en-US" altLang="en-US"/>
          </a:p>
        </p:txBody>
      </p:sp>
    </p:spTree>
    <p:extLst>
      <p:ext uri="{BB962C8B-B14F-4D97-AF65-F5344CB8AC3E}">
        <p14:creationId xmlns:p14="http://schemas.microsoft.com/office/powerpoint/2010/main" val="22297594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dt" sz="quarter" idx="1"/>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E0AD1FF3-D553-4921-954A-494738CA64E8}" type="datetime1">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2/3/23</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46083" name="Rectangle 7"/>
          <p:cNvSpPr>
            <a:spLocks noGrp="1" noChangeArrowheads="1"/>
          </p:cNvSpPr>
          <p:nvPr>
            <p:ph type="sldNum" sz="quarter" idx="5"/>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5F981E48-85CE-400C-8ED8-73993DD504EF}" type="slidenum">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48132" name="Rectangle 2"/>
          <p:cNvSpPr>
            <a:spLocks noGrp="1" noRot="1" noChangeAspect="1" noChangeArrowheads="1" noTextEdit="1"/>
          </p:cNvSpPr>
          <p:nvPr>
            <p:ph type="sldImg"/>
          </p:nvPr>
        </p:nvSpPr>
        <p:spPr>
          <a:xfrm>
            <a:off x="409575" y="696913"/>
            <a:ext cx="6197600" cy="3487737"/>
          </a:xfrm>
          <a:ln/>
        </p:spPr>
      </p:sp>
      <p:sp>
        <p:nvSpPr>
          <p:cNvPr id="48133" name="Rectangle 3"/>
          <p:cNvSpPr>
            <a:spLocks noGrp="1" noChangeArrowheads="1"/>
          </p:cNvSpPr>
          <p:nvPr>
            <p:ph type="body" idx="1"/>
          </p:nvPr>
        </p:nvSpPr>
        <p:spPr>
          <a:xfrm>
            <a:off x="931863" y="4416425"/>
            <a:ext cx="5146675" cy="4183063"/>
          </a:xfrm>
          <a:noFill/>
          <a:ln/>
        </p:spPr>
        <p:txBody>
          <a:bodyPr/>
          <a:lstStyle/>
          <a:p>
            <a:pPr eaLnBrk="1" hangingPunct="1"/>
            <a:endParaRPr lang="en-CA"/>
          </a:p>
        </p:txBody>
      </p:sp>
    </p:spTree>
    <p:extLst>
      <p:ext uri="{BB962C8B-B14F-4D97-AF65-F5344CB8AC3E}">
        <p14:creationId xmlns:p14="http://schemas.microsoft.com/office/powerpoint/2010/main" val="2774475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3"/>
          <p:cNvSpPr>
            <a:spLocks noGrp="1" noChangeArrowheads="1"/>
          </p:cNvSpPr>
          <p:nvPr>
            <p:ph type="dt" sz="quarter" idx="1"/>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E0AD1FF3-D553-4921-954A-494738CA64E8}" type="datetime1">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2/3/23</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46083" name="Rectangle 7"/>
          <p:cNvSpPr>
            <a:spLocks noGrp="1" noChangeArrowheads="1"/>
          </p:cNvSpPr>
          <p:nvPr>
            <p:ph type="sldNum" sz="quarter" idx="5"/>
          </p:nvPr>
        </p:nvSpPr>
        <p:spPr/>
        <p:txBody>
          <a:bodyPr/>
          <a:lstStyle/>
          <a:p>
            <a:pPr marL="0" marR="0" lvl="0" indent="0" algn="r" defTabSz="931863" rtl="0" eaLnBrk="1" fontAlgn="base" latinLnBrk="0" hangingPunct="1">
              <a:lnSpc>
                <a:spcPct val="100000"/>
              </a:lnSpc>
              <a:spcBef>
                <a:spcPct val="0"/>
              </a:spcBef>
              <a:spcAft>
                <a:spcPct val="0"/>
              </a:spcAft>
              <a:buClr>
                <a:srgbClr val="4F81BD"/>
              </a:buClr>
              <a:buSzTx/>
              <a:buFontTx/>
              <a:buNone/>
              <a:tabLst/>
              <a:defRPr/>
            </a:pPr>
            <a:fld id="{5F981E48-85CE-400C-8ED8-73993DD504EF}" type="slidenum">
              <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rPr>
              <a:pPr marL="0" marR="0" lvl="0" indent="0" algn="r" defTabSz="931863" rtl="0" eaLnBrk="1" fontAlgn="base" latinLnBrk="0" hangingPunct="1">
                <a:lnSpc>
                  <a:spcPct val="100000"/>
                </a:lnSpc>
                <a:spcBef>
                  <a:spcPct val="0"/>
                </a:spcBef>
                <a:spcAft>
                  <a:spcPct val="0"/>
                </a:spcAft>
                <a:buClr>
                  <a:srgbClr val="4F81BD"/>
                </a:buClr>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Times New Roman" pitchFamily="18" charset="0"/>
              <a:ea typeface="+mn-ea"/>
              <a:cs typeface="+mn-cs"/>
            </a:endParaRPr>
          </a:p>
        </p:txBody>
      </p:sp>
      <p:sp>
        <p:nvSpPr>
          <p:cNvPr id="48132" name="Rectangle 2"/>
          <p:cNvSpPr>
            <a:spLocks noGrp="1" noRot="1" noChangeAspect="1" noChangeArrowheads="1" noTextEdit="1"/>
          </p:cNvSpPr>
          <p:nvPr>
            <p:ph type="sldImg"/>
          </p:nvPr>
        </p:nvSpPr>
        <p:spPr>
          <a:xfrm>
            <a:off x="409575" y="696913"/>
            <a:ext cx="6197600" cy="3487737"/>
          </a:xfrm>
          <a:ln/>
        </p:spPr>
      </p:sp>
      <p:sp>
        <p:nvSpPr>
          <p:cNvPr id="48133" name="Rectangle 3"/>
          <p:cNvSpPr>
            <a:spLocks noGrp="1" noChangeArrowheads="1"/>
          </p:cNvSpPr>
          <p:nvPr>
            <p:ph type="body" idx="1"/>
          </p:nvPr>
        </p:nvSpPr>
        <p:spPr>
          <a:xfrm>
            <a:off x="931863" y="4416425"/>
            <a:ext cx="5146675" cy="4183063"/>
          </a:xfrm>
          <a:noFill/>
          <a:ln/>
        </p:spPr>
        <p:txBody>
          <a:bodyPr/>
          <a:lstStyle/>
          <a:p>
            <a:pPr eaLnBrk="1" hangingPunct="1"/>
            <a:endParaRPr lang="en-CA"/>
          </a:p>
        </p:txBody>
      </p:sp>
    </p:spTree>
    <p:extLst>
      <p:ext uri="{BB962C8B-B14F-4D97-AF65-F5344CB8AC3E}">
        <p14:creationId xmlns:p14="http://schemas.microsoft.com/office/powerpoint/2010/main" val="2997042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a:defRPr/>
            </a:pPr>
            <a:fld id="{1E169CEB-7241-42C5-BD57-015FB497C1C3}" type="datetime1">
              <a:rPr lang="en-US" altLang="en-US" smtClean="0"/>
              <a:pPr>
                <a:defRPr/>
              </a:pPr>
              <a:t>2/3/23</a:t>
            </a:fld>
            <a:endParaRPr lang="en-US" altLang="en-US"/>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smtClean="0"/>
              <a:pPr>
                <a:defRPr/>
              </a:pPr>
              <a:t>5</a:t>
            </a:fld>
            <a:endParaRPr lang="en-US" altLang="en-US"/>
          </a:p>
        </p:txBody>
      </p:sp>
    </p:spTree>
    <p:extLst>
      <p:ext uri="{BB962C8B-B14F-4D97-AF65-F5344CB8AC3E}">
        <p14:creationId xmlns:p14="http://schemas.microsoft.com/office/powerpoint/2010/main" val="1510090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a:defRPr/>
            </a:pPr>
            <a:fld id="{1E169CEB-7241-42C5-BD57-015FB497C1C3}" type="datetime1">
              <a:rPr lang="en-US" altLang="en-US" smtClean="0"/>
              <a:pPr>
                <a:defRPr/>
              </a:pPr>
              <a:t>2/3/23</a:t>
            </a:fld>
            <a:endParaRPr lang="en-US" altLang="en-US"/>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smtClean="0"/>
              <a:pPr>
                <a:defRPr/>
              </a:pPr>
              <a:t>6</a:t>
            </a:fld>
            <a:endParaRPr lang="en-US" altLang="en-US"/>
          </a:p>
        </p:txBody>
      </p:sp>
    </p:spTree>
    <p:extLst>
      <p:ext uri="{BB962C8B-B14F-4D97-AF65-F5344CB8AC3E}">
        <p14:creationId xmlns:p14="http://schemas.microsoft.com/office/powerpoint/2010/main" val="36569520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1E169CEB-7241-42C5-BD57-015FB497C1C3}" type="datetime1">
              <a:rPr lang="en-US" altLang="en-US" smtClean="0"/>
              <a:pPr>
                <a:defRPr/>
              </a:pPr>
              <a:t>2/3/23</a:t>
            </a:fld>
            <a:endParaRPr lang="en-US" altLang="en-US"/>
          </a:p>
        </p:txBody>
      </p:sp>
      <p:sp>
        <p:nvSpPr>
          <p:cNvPr id="5" name="Slide Number Placeholder 4"/>
          <p:cNvSpPr>
            <a:spLocks noGrp="1"/>
          </p:cNvSpPr>
          <p:nvPr>
            <p:ph type="sldNum" sz="quarter" idx="5"/>
          </p:nvPr>
        </p:nvSpPr>
        <p:spPr/>
        <p:txBody>
          <a:bodyPr/>
          <a:lstStyle/>
          <a:p>
            <a:pPr>
              <a:defRPr/>
            </a:pPr>
            <a:fld id="{9B02FACB-859A-4BF5-A3BF-807104680974}" type="slidenum">
              <a:rPr lang="en-US" altLang="en-US" smtClean="0"/>
              <a:pPr>
                <a:defRPr/>
              </a:pPr>
              <a:t>9</a:t>
            </a:fld>
            <a:endParaRPr lang="en-US" altLang="en-US"/>
          </a:p>
        </p:txBody>
      </p:sp>
    </p:spTree>
    <p:extLst>
      <p:ext uri="{BB962C8B-B14F-4D97-AF65-F5344CB8AC3E}">
        <p14:creationId xmlns:p14="http://schemas.microsoft.com/office/powerpoint/2010/main" val="19792266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hyperlink" Target="https://www.everestgrp.com/blog" TargetMode="External"/><Relationship Id="rId13" Type="http://schemas.openxmlformats.org/officeDocument/2006/relationships/hyperlink" Target="https://twitter.com/EverestGroup" TargetMode="External"/><Relationship Id="rId18" Type="http://schemas.openxmlformats.org/officeDocument/2006/relationships/hyperlink" Target="https://www.facebook.com/everestgrp/" TargetMode="External"/><Relationship Id="rId3" Type="http://schemas.openxmlformats.org/officeDocument/2006/relationships/hyperlink" Target="mailto:info@everestgrp.com" TargetMode="External"/><Relationship Id="rId21" Type="http://schemas.openxmlformats.org/officeDocument/2006/relationships/image" Target="../media/image15.png"/><Relationship Id="rId7" Type="http://schemas.openxmlformats.org/officeDocument/2006/relationships/hyperlink" Target="https://www.everestgrp.com/" TargetMode="External"/><Relationship Id="rId12" Type="http://schemas.openxmlformats.org/officeDocument/2006/relationships/image" Target="../media/image8.svg"/><Relationship Id="rId17" Type="http://schemas.openxmlformats.org/officeDocument/2006/relationships/image" Target="../media/image12.svg"/><Relationship Id="rId2" Type="http://schemas.openxmlformats.org/officeDocument/2006/relationships/image" Target="../media/image6.jpeg"/><Relationship Id="rId16" Type="http://schemas.openxmlformats.org/officeDocument/2006/relationships/image" Target="../media/image11.png"/><Relationship Id="rId20" Type="http://schemas.openxmlformats.org/officeDocument/2006/relationships/image" Target="../media/image14.svg"/><Relationship Id="rId1" Type="http://schemas.openxmlformats.org/officeDocument/2006/relationships/slideMaster" Target="../slideMasters/slideMaster1.xml"/><Relationship Id="rId6" Type="http://schemas.openxmlformats.org/officeDocument/2006/relationships/hyperlink" Target="mailto:canada@everestgrp.com" TargetMode="External"/><Relationship Id="rId11" Type="http://schemas.openxmlformats.org/officeDocument/2006/relationships/image" Target="../media/image7.png"/><Relationship Id="rId5" Type="http://schemas.openxmlformats.org/officeDocument/2006/relationships/hyperlink" Target="mailto:unitedkingdom@everestgrp.com" TargetMode="External"/><Relationship Id="rId15" Type="http://schemas.openxmlformats.org/officeDocument/2006/relationships/image" Target="../media/image10.svg"/><Relationship Id="rId23" Type="http://schemas.openxmlformats.org/officeDocument/2006/relationships/hyperlink" Target="http://www.everestgrp.com/" TargetMode="External"/><Relationship Id="rId10" Type="http://schemas.openxmlformats.org/officeDocument/2006/relationships/hyperlink" Target="https://www.linkedin.com/company/everest-group" TargetMode="External"/><Relationship Id="rId19" Type="http://schemas.openxmlformats.org/officeDocument/2006/relationships/image" Target="../media/image13.png"/><Relationship Id="rId4" Type="http://schemas.openxmlformats.org/officeDocument/2006/relationships/hyperlink" Target="mailto:india@everestgrp.com" TargetMode="External"/><Relationship Id="rId9" Type="http://schemas.openxmlformats.org/officeDocument/2006/relationships/hyperlink" Target="https://www.youtube.com/channel/UCbQ1l16kgLcWzLOSIN3cdHg" TargetMode="External"/><Relationship Id="rId14" Type="http://schemas.openxmlformats.org/officeDocument/2006/relationships/image" Target="../media/image9.png"/><Relationship Id="rId22"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Service Optimization Technologies">
    <p:spTree>
      <p:nvGrpSpPr>
        <p:cNvPr id="1" name=""/>
        <p:cNvGrpSpPr/>
        <p:nvPr/>
      </p:nvGrpSpPr>
      <p:grpSpPr>
        <a:xfrm>
          <a:off x="0" y="0"/>
          <a:ext cx="0" cy="0"/>
          <a:chOff x="0" y="0"/>
          <a:chExt cx="0" cy="0"/>
        </a:xfrm>
      </p:grpSpPr>
      <p:pic>
        <p:nvPicPr>
          <p:cNvPr id="22" name="Picture 21" descr="A picture containing sun, track, night, sunset&#10;&#10;Description automatically generated">
            <a:extLst>
              <a:ext uri="{FF2B5EF4-FFF2-40B4-BE49-F238E27FC236}">
                <a16:creationId xmlns:a16="http://schemas.microsoft.com/office/drawing/2014/main" id="{D906FB39-FA28-4587-ADCE-FFC8581FA4B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524" y="2851150"/>
            <a:ext cx="12188952" cy="3480551"/>
          </a:xfrm>
          <a:prstGeom prst="rect">
            <a:avLst/>
          </a:prstGeom>
        </p:spPr>
      </p:pic>
      <p:sp>
        <p:nvSpPr>
          <p:cNvPr id="24" name="TextBox 23">
            <a:extLst>
              <a:ext uri="{FF2B5EF4-FFF2-40B4-BE49-F238E27FC236}">
                <a16:creationId xmlns:a16="http://schemas.microsoft.com/office/drawing/2014/main" id="{9DC16CD6-F20E-4E37-ACE9-D4066DB2B049}"/>
              </a:ext>
            </a:extLst>
          </p:cNvPr>
          <p:cNvSpPr txBox="1"/>
          <p:nvPr userDrawn="1"/>
        </p:nvSpPr>
        <p:spPr>
          <a:xfrm>
            <a:off x="0" y="6331702"/>
            <a:ext cx="12192000" cy="526298"/>
          </a:xfrm>
          <a:prstGeom prst="rect">
            <a:avLst/>
          </a:prstGeom>
          <a:solidFill>
            <a:schemeClr val="bg1"/>
          </a:solidFill>
          <a:ln>
            <a:noFill/>
          </a:ln>
        </p:spPr>
        <p:txBody>
          <a:bodyPr wrap="square" lIns="0" tIns="73152" rIns="1371600" bIns="73152" rtlCol="0">
            <a:spAutoFit/>
          </a:bodyPr>
          <a:lstStyle/>
          <a:p>
            <a:pPr marL="228600" algn="l"/>
            <a:r>
              <a:rPr lang="en-US" sz="800" b="1" spc="0" noProof="0">
                <a:solidFill>
                  <a:srgbClr val="FFFFFF">
                    <a:lumMod val="50000"/>
                  </a:srgbClr>
                </a:solidFill>
              </a:rPr>
              <a:t>Copyright © 2023 Everest Global, Inc.</a:t>
            </a:r>
          </a:p>
          <a:p>
            <a:pPr marL="228600" algn="l"/>
            <a:r>
              <a:rPr lang="en-US" sz="800" i="1" spc="0" noProof="0">
                <a:solidFill>
                  <a:srgbClr val="FFFFFF">
                    <a:lumMod val="50000"/>
                  </a:srgbClr>
                </a:solidFill>
              </a:rPr>
              <a:t>We encourage you to share these materials internally within your company and its affiliates. </a:t>
            </a:r>
            <a:r>
              <a:rPr lang="en-US" sz="800" i="1" spc="-10" baseline="0" noProof="0">
                <a:solidFill>
                  <a:srgbClr val="FFFFFF">
                    <a:lumMod val="50000"/>
                  </a:srgbClr>
                </a:solidFill>
              </a:rPr>
              <a:t>In accordance with the license granted</a:t>
            </a:r>
            <a:r>
              <a:rPr lang="en-US" sz="800" i="1" spc="0" noProof="0">
                <a:solidFill>
                  <a:srgbClr val="FFFFFF">
                    <a:lumMod val="50000"/>
                  </a:srgbClr>
                </a:solidFill>
              </a:rPr>
              <a:t>, however, </a:t>
            </a:r>
            <a:r>
              <a:rPr lang="en-US" sz="800" i="1" spc="0" baseline="0" noProof="0">
                <a:solidFill>
                  <a:srgbClr val="FFFFFF">
                    <a:lumMod val="50000"/>
                  </a:srgbClr>
                </a:solidFill>
              </a:rPr>
              <a:t>sharing these materials outside of your organizatio</a:t>
            </a:r>
            <a:r>
              <a:rPr lang="en-US" sz="800" i="1" spc="0" noProof="0">
                <a:solidFill>
                  <a:srgbClr val="FFFFFF">
                    <a:lumMod val="50000"/>
                  </a:srgbClr>
                </a:solidFill>
              </a:rPr>
              <a:t>n in any form – electronic, written, or verbal – is prohibited unless you obtain the express, prior, and written consent of Everest Global, Inc. It is your organization’s responsibility to maintain the confidentiality of these materials in accordance with your license of them.</a:t>
            </a:r>
            <a:endParaRPr lang="en-US" sz="800" spc="0" noProof="0">
              <a:solidFill>
                <a:srgbClr val="FFFFFF">
                  <a:lumMod val="50000"/>
                </a:srgbClr>
              </a:solidFill>
            </a:endParaRPr>
          </a:p>
        </p:txBody>
      </p:sp>
      <p:sp>
        <p:nvSpPr>
          <p:cNvPr id="13" name="Rectangle 12">
            <a:extLst>
              <a:ext uri="{FF2B5EF4-FFF2-40B4-BE49-F238E27FC236}">
                <a16:creationId xmlns:a16="http://schemas.microsoft.com/office/drawing/2014/main" id="{5DC715D2-2C92-4F5E-985C-FE40978BDCBD}"/>
              </a:ext>
            </a:extLst>
          </p:cNvPr>
          <p:cNvSpPr/>
          <p:nvPr userDrawn="1"/>
        </p:nvSpPr>
        <p:spPr bwMode="auto">
          <a:xfrm>
            <a:off x="0" y="1666876"/>
            <a:ext cx="200564" cy="3514724"/>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grpSp>
        <p:nvGrpSpPr>
          <p:cNvPr id="18" name="Group 17">
            <a:extLst>
              <a:ext uri="{FF2B5EF4-FFF2-40B4-BE49-F238E27FC236}">
                <a16:creationId xmlns:a16="http://schemas.microsoft.com/office/drawing/2014/main" id="{0FE907C6-C826-42E3-8E28-9476D89CF41E}"/>
              </a:ext>
            </a:extLst>
          </p:cNvPr>
          <p:cNvGrpSpPr/>
          <p:nvPr userDrawn="1"/>
        </p:nvGrpSpPr>
        <p:grpSpPr>
          <a:xfrm>
            <a:off x="9135300" y="365049"/>
            <a:ext cx="2986450" cy="663456"/>
            <a:chOff x="9074337" y="286670"/>
            <a:chExt cx="2986450" cy="663456"/>
          </a:xfrm>
        </p:grpSpPr>
        <p:sp>
          <p:nvSpPr>
            <p:cNvPr id="19" name="TextBox 18">
              <a:extLst>
                <a:ext uri="{FF2B5EF4-FFF2-40B4-BE49-F238E27FC236}">
                  <a16:creationId xmlns:a16="http://schemas.microsoft.com/office/drawing/2014/main" id="{7B052291-E939-4632-B68D-3DCEF50B9551}"/>
                </a:ext>
              </a:extLst>
            </p:cNvPr>
            <p:cNvSpPr txBox="1"/>
            <p:nvPr/>
          </p:nvSpPr>
          <p:spPr>
            <a:xfrm>
              <a:off x="9074337" y="322086"/>
              <a:ext cx="1700182" cy="538609"/>
            </a:xfrm>
            <a:prstGeom prst="rect">
              <a:avLst/>
            </a:prstGeom>
            <a:noFill/>
          </p:spPr>
          <p:txBody>
            <a:bodyPr wrap="square" lIns="0" tIns="0" rIns="0" bIns="0" rtlCol="0">
              <a:spAutoFit/>
            </a:bodyPr>
            <a:lstStyle/>
            <a:p>
              <a:pPr algn="r">
                <a:lnSpc>
                  <a:spcPts val="2100"/>
                </a:lnSpc>
              </a:pPr>
              <a:r>
                <a:rPr lang="en-US" sz="1800" noProof="0"/>
                <a:t>State of the</a:t>
              </a:r>
              <a:br>
                <a:rPr lang="en-US" sz="1800" noProof="0"/>
              </a:br>
              <a:r>
                <a:rPr lang="en-US" sz="1800" noProof="0"/>
                <a:t>Market Report</a:t>
              </a:r>
            </a:p>
          </p:txBody>
        </p:sp>
        <p:cxnSp>
          <p:nvCxnSpPr>
            <p:cNvPr id="20" name="Straight Connector 19">
              <a:extLst>
                <a:ext uri="{FF2B5EF4-FFF2-40B4-BE49-F238E27FC236}">
                  <a16:creationId xmlns:a16="http://schemas.microsoft.com/office/drawing/2014/main" id="{FEAB21AE-0CC8-4E37-98C8-1B370F039262}"/>
                </a:ext>
              </a:extLst>
            </p:cNvPr>
            <p:cNvCxnSpPr>
              <a:cxnSpLocks/>
            </p:cNvCxnSpPr>
            <p:nvPr/>
          </p:nvCxnSpPr>
          <p:spPr bwMode="auto">
            <a:xfrm>
              <a:off x="10868454" y="286670"/>
              <a:ext cx="0" cy="663456"/>
            </a:xfrm>
            <a:prstGeom prst="line">
              <a:avLst/>
            </a:prstGeom>
            <a:noFill/>
            <a:ln w="12700" cap="flat" cmpd="sng" algn="ctr">
              <a:solidFill>
                <a:schemeClr val="accent5"/>
              </a:solidFill>
              <a:prstDash val="solid"/>
              <a:round/>
              <a:headEnd type="none" w="med" len="med"/>
              <a:tailEnd type="none" w="med" len="med"/>
            </a:ln>
            <a:effectLst/>
          </p:spPr>
        </p:cxnSp>
        <p:sp>
          <p:nvSpPr>
            <p:cNvPr id="21" name="Rectangle 20">
              <a:extLst>
                <a:ext uri="{FF2B5EF4-FFF2-40B4-BE49-F238E27FC236}">
                  <a16:creationId xmlns:a16="http://schemas.microsoft.com/office/drawing/2014/main" id="{81CB5E14-7354-4716-8C1E-3FA37CEFB104}"/>
                </a:ext>
              </a:extLst>
            </p:cNvPr>
            <p:cNvSpPr/>
            <p:nvPr/>
          </p:nvSpPr>
          <p:spPr>
            <a:xfrm>
              <a:off x="10969392" y="341399"/>
              <a:ext cx="1091395" cy="553998"/>
            </a:xfrm>
            <a:prstGeom prst="rect">
              <a:avLst/>
            </a:prstGeom>
          </p:spPr>
          <p:txBody>
            <a:bodyPr wrap="square" lIns="0" tIns="0" rIns="0" bIns="0" anchor="ctr">
              <a:spAutoFit/>
            </a:bodyPr>
            <a:lstStyle/>
            <a:p>
              <a:r>
                <a:rPr lang="en-US" sz="1200" noProof="0">
                  <a:solidFill>
                    <a:schemeClr val="bg1">
                      <a:lumMod val="50000"/>
                    </a:schemeClr>
                  </a:solidFill>
                </a:rPr>
                <a:t>Service Optimization Technologies</a:t>
              </a:r>
            </a:p>
          </p:txBody>
        </p:sp>
      </p:grpSp>
      <p:pic>
        <p:nvPicPr>
          <p:cNvPr id="12" name="Graphic 11">
            <a:extLst>
              <a:ext uri="{FF2B5EF4-FFF2-40B4-BE49-F238E27FC236}">
                <a16:creationId xmlns:a16="http://schemas.microsoft.com/office/drawing/2014/main" id="{22505F61-446A-F94B-AE64-3041E8C44123}"/>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33350" y="151498"/>
            <a:ext cx="2356803" cy="1031101"/>
          </a:xfrm>
          <a:prstGeom prst="rect">
            <a:avLst/>
          </a:prstGeom>
        </p:spPr>
      </p:pic>
      <p:sp>
        <p:nvSpPr>
          <p:cNvPr id="14" name="Rectangle 13">
            <a:extLst>
              <a:ext uri="{FF2B5EF4-FFF2-40B4-BE49-F238E27FC236}">
                <a16:creationId xmlns:a16="http://schemas.microsoft.com/office/drawing/2014/main" id="{F415226F-2E14-9702-722F-65D408915E37}"/>
              </a:ext>
            </a:extLst>
          </p:cNvPr>
          <p:cNvSpPr/>
          <p:nvPr userDrawn="1"/>
        </p:nvSpPr>
        <p:spPr>
          <a:xfrm>
            <a:off x="10829077" y="6604750"/>
            <a:ext cx="1077219" cy="123111"/>
          </a:xfrm>
          <a:prstGeom prst="rect">
            <a:avLst/>
          </a:prstGeom>
        </p:spPr>
        <p:txBody>
          <a:bodyPr wrap="none" lIns="0" tIns="0" rIns="0" bIns="0">
            <a:spAutoFit/>
          </a:bodyPr>
          <a:lstStyle/>
          <a:p>
            <a:pPr algn="r"/>
            <a:r>
              <a:rPr lang="en-IN" sz="800" kern="0" dirty="0">
                <a:solidFill>
                  <a:schemeClr val="bg1">
                    <a:lumMod val="50000"/>
                  </a:schemeClr>
                </a:solidFill>
              </a:rPr>
              <a:t>EGR-2023-38-CA-5851</a:t>
            </a:r>
          </a:p>
        </p:txBody>
      </p:sp>
      <p:cxnSp>
        <p:nvCxnSpPr>
          <p:cNvPr id="16" name="Straight Connector 15">
            <a:extLst>
              <a:ext uri="{FF2B5EF4-FFF2-40B4-BE49-F238E27FC236}">
                <a16:creationId xmlns:a16="http://schemas.microsoft.com/office/drawing/2014/main" id="{4005698D-6957-0AC6-BC95-EC15CA12BEB8}"/>
              </a:ext>
            </a:extLst>
          </p:cNvPr>
          <p:cNvCxnSpPr>
            <a:cxnSpLocks/>
          </p:cNvCxnSpPr>
          <p:nvPr userDrawn="1"/>
        </p:nvCxnSpPr>
        <p:spPr bwMode="auto">
          <a:xfrm>
            <a:off x="10666918" y="6563518"/>
            <a:ext cx="0" cy="205575"/>
          </a:xfrm>
          <a:prstGeom prst="line">
            <a:avLst/>
          </a:prstGeom>
          <a:noFill/>
          <a:ln w="9525"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p14="http://schemas.microsoft.com/office/powerpoint/2010/main" val="16388142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s pag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9FF65AB-C532-47E5-AD4D-DE5A1D501D08}"/>
              </a:ext>
            </a:extLst>
          </p:cNvPr>
          <p:cNvSpPr/>
          <p:nvPr userDrawn="1"/>
        </p:nvSpPr>
        <p:spPr bwMode="auto">
          <a:xfrm>
            <a:off x="3682680" y="-1"/>
            <a:ext cx="130114" cy="3017520"/>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IN" sz="1600" b="0" i="0" u="none" strike="noStrike" kern="1200" cap="none" spc="0" normalizeH="0" baseline="0" noProof="0">
              <a:ln>
                <a:noFill/>
              </a:ln>
              <a:solidFill>
                <a:srgbClr val="3F3F3F"/>
              </a:solidFill>
              <a:effectLst/>
              <a:uLnTx/>
              <a:uFillTx/>
              <a:latin typeface="Arial" charset="0"/>
              <a:ea typeface="+mn-ea"/>
              <a:cs typeface="Arial" charset="0"/>
            </a:endParaRPr>
          </a:p>
        </p:txBody>
      </p:sp>
      <p:sp>
        <p:nvSpPr>
          <p:cNvPr id="7" name="Rectangle 13">
            <a:extLst>
              <a:ext uri="{FF2B5EF4-FFF2-40B4-BE49-F238E27FC236}">
                <a16:creationId xmlns:a16="http://schemas.microsoft.com/office/drawing/2014/main" id="{DAC150AA-421F-484A-9EB9-2195848FEA8E}"/>
              </a:ext>
            </a:extLst>
          </p:cNvPr>
          <p:cNvSpPr txBox="1">
            <a:spLocks noChangeArrowheads="1"/>
          </p:cNvSpPr>
          <p:nvPr userDrawn="1"/>
        </p:nvSpPr>
        <p:spPr bwMode="gray">
          <a:xfrm>
            <a:off x="287812" y="928154"/>
            <a:ext cx="3456377" cy="9233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ts val="0"/>
              </a:spcBef>
              <a:spcAft>
                <a:spcPts val="0"/>
              </a:spcAft>
              <a:defRPr sz="2000">
                <a:solidFill>
                  <a:schemeClr val="accent2"/>
                </a:solidFill>
                <a:latin typeface="+mj-lt"/>
                <a:ea typeface="+mj-ea"/>
                <a:cs typeface="+mj-cs"/>
              </a:defRPr>
            </a:lvl1pPr>
            <a:lvl2pPr algn="l" rtl="0" eaLnBrk="1" fontAlgn="base" hangingPunct="1">
              <a:spcBef>
                <a:spcPct val="0"/>
              </a:spcBef>
              <a:spcAft>
                <a:spcPct val="0"/>
              </a:spcAft>
              <a:defRPr sz="2000">
                <a:solidFill>
                  <a:srgbClr val="3333FF"/>
                </a:solidFill>
                <a:latin typeface="Arial Black" pitchFamily="34" charset="0"/>
              </a:defRPr>
            </a:lvl2pPr>
            <a:lvl3pPr algn="l" rtl="0" eaLnBrk="1" fontAlgn="base" hangingPunct="1">
              <a:spcBef>
                <a:spcPct val="0"/>
              </a:spcBef>
              <a:spcAft>
                <a:spcPct val="0"/>
              </a:spcAft>
              <a:defRPr sz="2000">
                <a:solidFill>
                  <a:srgbClr val="3333FF"/>
                </a:solidFill>
                <a:latin typeface="Arial Black" pitchFamily="34" charset="0"/>
              </a:defRPr>
            </a:lvl3pPr>
            <a:lvl4pPr algn="l" rtl="0" eaLnBrk="1" fontAlgn="base" hangingPunct="1">
              <a:spcBef>
                <a:spcPct val="0"/>
              </a:spcBef>
              <a:spcAft>
                <a:spcPct val="0"/>
              </a:spcAft>
              <a:defRPr sz="2000">
                <a:solidFill>
                  <a:srgbClr val="3333FF"/>
                </a:solidFill>
                <a:latin typeface="Arial Black" pitchFamily="34" charset="0"/>
              </a:defRPr>
            </a:lvl4pPr>
            <a:lvl5pPr algn="l" rtl="0" eaLnBrk="1" fontAlgn="base" hangingPunct="1">
              <a:spcBef>
                <a:spcPct val="0"/>
              </a:spcBef>
              <a:spcAft>
                <a:spcPct val="0"/>
              </a:spcAft>
              <a:defRPr sz="2000">
                <a:solidFill>
                  <a:srgbClr val="3333FF"/>
                </a:solidFill>
                <a:latin typeface="Arial Black" pitchFamily="34" charset="0"/>
              </a:defRPr>
            </a:lvl5pPr>
            <a:lvl6pPr marL="457200" algn="l" rtl="0" eaLnBrk="1" fontAlgn="base" hangingPunct="1">
              <a:spcBef>
                <a:spcPct val="0"/>
              </a:spcBef>
              <a:spcAft>
                <a:spcPct val="0"/>
              </a:spcAft>
              <a:defRPr sz="2000">
                <a:solidFill>
                  <a:srgbClr val="3333FF"/>
                </a:solidFill>
                <a:latin typeface="Arial Black" pitchFamily="34" charset="0"/>
              </a:defRPr>
            </a:lvl6pPr>
            <a:lvl7pPr marL="914400" algn="l" rtl="0" eaLnBrk="1" fontAlgn="base" hangingPunct="1">
              <a:spcBef>
                <a:spcPct val="0"/>
              </a:spcBef>
              <a:spcAft>
                <a:spcPct val="0"/>
              </a:spcAft>
              <a:defRPr sz="2000">
                <a:solidFill>
                  <a:srgbClr val="3333FF"/>
                </a:solidFill>
                <a:latin typeface="Arial Black" pitchFamily="34" charset="0"/>
              </a:defRPr>
            </a:lvl7pPr>
            <a:lvl8pPr marL="1371600" algn="l" rtl="0" eaLnBrk="1" fontAlgn="base" hangingPunct="1">
              <a:spcBef>
                <a:spcPct val="0"/>
              </a:spcBef>
              <a:spcAft>
                <a:spcPct val="0"/>
              </a:spcAft>
              <a:defRPr sz="2000">
                <a:solidFill>
                  <a:srgbClr val="3333FF"/>
                </a:solidFill>
                <a:latin typeface="Arial Black" pitchFamily="34" charset="0"/>
              </a:defRPr>
            </a:lvl8pPr>
            <a:lvl9pPr marL="1828800" algn="l" rtl="0" eaLnBrk="1" fontAlgn="base" hangingPunct="1">
              <a:spcBef>
                <a:spcPct val="0"/>
              </a:spcBef>
              <a:spcAft>
                <a:spcPct val="0"/>
              </a:spcAft>
              <a:defRPr sz="2000">
                <a:solidFill>
                  <a:srgbClr val="3333FF"/>
                </a:solidFill>
                <a:latin typeface="Arial Black"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0" b="0" i="0" u="none" strike="noStrike" kern="1200" cap="none" spc="0" normalizeH="0" baseline="0" noProof="0">
                <a:ln>
                  <a:noFill/>
                </a:ln>
                <a:solidFill>
                  <a:srgbClr val="005A8C"/>
                </a:solidFill>
                <a:effectLst/>
                <a:uLnTx/>
                <a:uFillTx/>
                <a:latin typeface="Arial" charset="0"/>
                <a:ea typeface="+mj-ea"/>
                <a:cs typeface="Arial" charset="0"/>
              </a:rPr>
              <a:t>Contents</a:t>
            </a:r>
          </a:p>
        </p:txBody>
      </p:sp>
      <p:pic>
        <p:nvPicPr>
          <p:cNvPr id="11" name="Graphic 10">
            <a:extLst>
              <a:ext uri="{FF2B5EF4-FFF2-40B4-BE49-F238E27FC236}">
                <a16:creationId xmlns:a16="http://schemas.microsoft.com/office/drawing/2014/main" id="{C9874F8D-B0FD-467F-9401-918BB91D9BD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12" name="Rectangle 32">
            <a:extLst>
              <a:ext uri="{FF2B5EF4-FFF2-40B4-BE49-F238E27FC236}">
                <a16:creationId xmlns:a16="http://schemas.microsoft.com/office/drawing/2014/main" id="{F52DD063-948F-4400-9875-D7CF596D286D}"/>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a:solidFill>
                <a:schemeClr val="bg1">
                  <a:lumMod val="75000"/>
                </a:schemeClr>
              </a:solidFill>
            </a:endParaRPr>
          </a:p>
        </p:txBody>
      </p:sp>
      <p:graphicFrame>
        <p:nvGraphicFramePr>
          <p:cNvPr id="8" name="Table 7">
            <a:extLst>
              <a:ext uri="{FF2B5EF4-FFF2-40B4-BE49-F238E27FC236}">
                <a16:creationId xmlns:a16="http://schemas.microsoft.com/office/drawing/2014/main" id="{A3ED64ED-D496-4BF6-B379-C4912109E2FC}"/>
              </a:ext>
            </a:extLst>
          </p:cNvPr>
          <p:cNvGraphicFramePr>
            <a:graphicFrameLocks noGrp="1"/>
          </p:cNvGraphicFramePr>
          <p:nvPr userDrawn="1">
            <p:extLst>
              <p:ext uri="{D42A27DB-BD31-4B8C-83A1-F6EECF244321}">
                <p14:modId xmlns:p14="http://schemas.microsoft.com/office/powerpoint/2010/main" val="2117236085"/>
              </p:ext>
            </p:extLst>
          </p:nvPr>
        </p:nvGraphicFramePr>
        <p:xfrm>
          <a:off x="310262" y="4612839"/>
          <a:ext cx="3013387" cy="396240"/>
        </p:xfrm>
        <a:graphic>
          <a:graphicData uri="http://schemas.openxmlformats.org/drawingml/2006/table">
            <a:tbl>
              <a:tblPr firstRow="1" bandRow="1">
                <a:tableStyleId>{5C22544A-7EE6-4342-B048-85BDC9FD1C3A}</a:tableStyleId>
              </a:tblPr>
              <a:tblGrid>
                <a:gridCol w="3013387">
                  <a:extLst>
                    <a:ext uri="{9D8B030D-6E8A-4147-A177-3AD203B41FA5}">
                      <a16:colId xmlns:a16="http://schemas.microsoft.com/office/drawing/2014/main" val="2490264720"/>
                    </a:ext>
                  </a:extLst>
                </a:gridCol>
              </a:tblGrid>
              <a:tr h="0">
                <a:tc>
                  <a:txBody>
                    <a:bodyPr/>
                    <a:lstStyle/>
                    <a:p>
                      <a:pPr algn="l"/>
                      <a:r>
                        <a:rPr lang="en-US" sz="1000" b="0">
                          <a:solidFill>
                            <a:schemeClr val="bg1">
                              <a:lumMod val="50000"/>
                            </a:schemeClr>
                          </a:solidFill>
                        </a:rPr>
                        <a:t>For more information on this and other research published by Everest Group, please contact us:</a:t>
                      </a:r>
                    </a:p>
                  </a:txBody>
                  <a:tcPr marL="0" marR="0" marT="0" marB="9144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3172520"/>
                  </a:ext>
                </a:extLst>
              </a:tr>
            </a:tbl>
          </a:graphicData>
        </a:graphic>
      </p:graphicFrame>
      <p:sp>
        <p:nvSpPr>
          <p:cNvPr id="2" name="Slide Number Placeholder 2">
            <a:extLst>
              <a:ext uri="{FF2B5EF4-FFF2-40B4-BE49-F238E27FC236}">
                <a16:creationId xmlns:a16="http://schemas.microsoft.com/office/drawing/2014/main" id="{5DB4D212-4F06-DBDF-A0AE-422BEF0A6A35}"/>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3,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3-38-CA-5851</a:t>
            </a:r>
          </a:p>
        </p:txBody>
      </p:sp>
    </p:spTree>
    <p:extLst>
      <p:ext uri="{BB962C8B-B14F-4D97-AF65-F5344CB8AC3E}">
        <p14:creationId xmlns:p14="http://schemas.microsoft.com/office/powerpoint/2010/main" val="424366297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ts page 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174BE1C-ACD4-4C8A-B849-8E8EA6C1F60A}"/>
              </a:ext>
            </a:extLst>
          </p:cNvPr>
          <p:cNvSpPr/>
          <p:nvPr userDrawn="1"/>
        </p:nvSpPr>
        <p:spPr bwMode="auto">
          <a:xfrm>
            <a:off x="3682680" y="-1"/>
            <a:ext cx="130114" cy="3017520"/>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sp>
        <p:nvSpPr>
          <p:cNvPr id="11" name="Rectangle 13">
            <a:extLst>
              <a:ext uri="{FF2B5EF4-FFF2-40B4-BE49-F238E27FC236}">
                <a16:creationId xmlns:a16="http://schemas.microsoft.com/office/drawing/2014/main" id="{A9CB830E-09F3-4112-8429-AEEC36E4B96F}"/>
              </a:ext>
            </a:extLst>
          </p:cNvPr>
          <p:cNvSpPr txBox="1">
            <a:spLocks noChangeArrowheads="1"/>
          </p:cNvSpPr>
          <p:nvPr userDrawn="1"/>
        </p:nvSpPr>
        <p:spPr bwMode="gray">
          <a:xfrm>
            <a:off x="287812" y="928154"/>
            <a:ext cx="3456377" cy="92333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ts val="0"/>
              </a:spcBef>
              <a:spcAft>
                <a:spcPts val="0"/>
              </a:spcAft>
              <a:defRPr sz="2000">
                <a:solidFill>
                  <a:schemeClr val="accent2"/>
                </a:solidFill>
                <a:latin typeface="+mj-lt"/>
                <a:ea typeface="+mj-ea"/>
                <a:cs typeface="+mj-cs"/>
              </a:defRPr>
            </a:lvl1pPr>
            <a:lvl2pPr algn="l" rtl="0" eaLnBrk="1" fontAlgn="base" hangingPunct="1">
              <a:spcBef>
                <a:spcPct val="0"/>
              </a:spcBef>
              <a:spcAft>
                <a:spcPct val="0"/>
              </a:spcAft>
              <a:defRPr sz="2000">
                <a:solidFill>
                  <a:srgbClr val="3333FF"/>
                </a:solidFill>
                <a:latin typeface="Arial Black" pitchFamily="34" charset="0"/>
              </a:defRPr>
            </a:lvl2pPr>
            <a:lvl3pPr algn="l" rtl="0" eaLnBrk="1" fontAlgn="base" hangingPunct="1">
              <a:spcBef>
                <a:spcPct val="0"/>
              </a:spcBef>
              <a:spcAft>
                <a:spcPct val="0"/>
              </a:spcAft>
              <a:defRPr sz="2000">
                <a:solidFill>
                  <a:srgbClr val="3333FF"/>
                </a:solidFill>
                <a:latin typeface="Arial Black" pitchFamily="34" charset="0"/>
              </a:defRPr>
            </a:lvl3pPr>
            <a:lvl4pPr algn="l" rtl="0" eaLnBrk="1" fontAlgn="base" hangingPunct="1">
              <a:spcBef>
                <a:spcPct val="0"/>
              </a:spcBef>
              <a:spcAft>
                <a:spcPct val="0"/>
              </a:spcAft>
              <a:defRPr sz="2000">
                <a:solidFill>
                  <a:srgbClr val="3333FF"/>
                </a:solidFill>
                <a:latin typeface="Arial Black" pitchFamily="34" charset="0"/>
              </a:defRPr>
            </a:lvl4pPr>
            <a:lvl5pPr algn="l" rtl="0" eaLnBrk="1" fontAlgn="base" hangingPunct="1">
              <a:spcBef>
                <a:spcPct val="0"/>
              </a:spcBef>
              <a:spcAft>
                <a:spcPct val="0"/>
              </a:spcAft>
              <a:defRPr sz="2000">
                <a:solidFill>
                  <a:srgbClr val="3333FF"/>
                </a:solidFill>
                <a:latin typeface="Arial Black" pitchFamily="34" charset="0"/>
              </a:defRPr>
            </a:lvl5pPr>
            <a:lvl6pPr marL="457200" algn="l" rtl="0" eaLnBrk="1" fontAlgn="base" hangingPunct="1">
              <a:spcBef>
                <a:spcPct val="0"/>
              </a:spcBef>
              <a:spcAft>
                <a:spcPct val="0"/>
              </a:spcAft>
              <a:defRPr sz="2000">
                <a:solidFill>
                  <a:srgbClr val="3333FF"/>
                </a:solidFill>
                <a:latin typeface="Arial Black" pitchFamily="34" charset="0"/>
              </a:defRPr>
            </a:lvl6pPr>
            <a:lvl7pPr marL="914400" algn="l" rtl="0" eaLnBrk="1" fontAlgn="base" hangingPunct="1">
              <a:spcBef>
                <a:spcPct val="0"/>
              </a:spcBef>
              <a:spcAft>
                <a:spcPct val="0"/>
              </a:spcAft>
              <a:defRPr sz="2000">
                <a:solidFill>
                  <a:srgbClr val="3333FF"/>
                </a:solidFill>
                <a:latin typeface="Arial Black" pitchFamily="34" charset="0"/>
              </a:defRPr>
            </a:lvl7pPr>
            <a:lvl8pPr marL="1371600" algn="l" rtl="0" eaLnBrk="1" fontAlgn="base" hangingPunct="1">
              <a:spcBef>
                <a:spcPct val="0"/>
              </a:spcBef>
              <a:spcAft>
                <a:spcPct val="0"/>
              </a:spcAft>
              <a:defRPr sz="2000">
                <a:solidFill>
                  <a:srgbClr val="3333FF"/>
                </a:solidFill>
                <a:latin typeface="Arial Black" pitchFamily="34" charset="0"/>
              </a:defRPr>
            </a:lvl8pPr>
            <a:lvl9pPr marL="1828800" algn="l" rtl="0" eaLnBrk="1" fontAlgn="base" hangingPunct="1">
              <a:spcBef>
                <a:spcPct val="0"/>
              </a:spcBef>
              <a:spcAft>
                <a:spcPct val="0"/>
              </a:spcAft>
              <a:defRPr sz="2000">
                <a:solidFill>
                  <a:srgbClr val="3333FF"/>
                </a:solidFill>
                <a:latin typeface="Arial Black" pitchFamily="34" charset="0"/>
              </a:defRPr>
            </a:lvl9pPr>
          </a:lstStyle>
          <a:p>
            <a:pPr marL="0" marR="0" lvl="0" indent="0" defTabSz="914400" eaLnBrk="1" latinLnBrk="0" hangingPunct="1">
              <a:lnSpc>
                <a:spcPct val="100000"/>
              </a:lnSpc>
              <a:spcBef>
                <a:spcPct val="0"/>
              </a:spcBef>
              <a:spcAft>
                <a:spcPct val="0"/>
              </a:spcAft>
              <a:buClrTx/>
              <a:buSzTx/>
              <a:buFontTx/>
              <a:buNone/>
              <a:tabLst/>
              <a:defRPr/>
            </a:pPr>
            <a:r>
              <a:rPr lang="en-US" sz="6000" noProof="0">
                <a:solidFill>
                  <a:schemeClr val="bg1">
                    <a:lumMod val="85000"/>
                  </a:schemeClr>
                </a:solidFill>
                <a:latin typeface="Arial" charset="0"/>
                <a:ea typeface="+mn-ea"/>
                <a:cs typeface="Arial" charset="0"/>
              </a:rPr>
              <a:t>Contents</a:t>
            </a:r>
          </a:p>
        </p:txBody>
      </p:sp>
      <p:sp>
        <p:nvSpPr>
          <p:cNvPr id="13" name="Rectangle 32">
            <a:extLst>
              <a:ext uri="{FF2B5EF4-FFF2-40B4-BE49-F238E27FC236}">
                <a16:creationId xmlns:a16="http://schemas.microsoft.com/office/drawing/2014/main" id="{D81DB16D-1A18-4C30-98DC-289C86C5A471}"/>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a:solidFill>
                <a:schemeClr val="bg1">
                  <a:lumMod val="75000"/>
                </a:schemeClr>
              </a:solidFill>
            </a:endParaRPr>
          </a:p>
        </p:txBody>
      </p:sp>
      <p:pic>
        <p:nvPicPr>
          <p:cNvPr id="8" name="Graphic 7">
            <a:extLst>
              <a:ext uri="{FF2B5EF4-FFF2-40B4-BE49-F238E27FC236}">
                <a16:creationId xmlns:a16="http://schemas.microsoft.com/office/drawing/2014/main" id="{354C4EDA-712C-B44C-9FF3-69FD81EB21F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2" name="Slide Number Placeholder 2">
            <a:extLst>
              <a:ext uri="{FF2B5EF4-FFF2-40B4-BE49-F238E27FC236}">
                <a16:creationId xmlns:a16="http://schemas.microsoft.com/office/drawing/2014/main" id="{FCDD7BF1-9118-387B-F517-F1E9297F1563}"/>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3,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3-38-CA-5851</a:t>
            </a:r>
          </a:p>
        </p:txBody>
      </p:sp>
    </p:spTree>
    <p:extLst>
      <p:ext uri="{BB962C8B-B14F-4D97-AF65-F5344CB8AC3E}">
        <p14:creationId xmlns:p14="http://schemas.microsoft.com/office/powerpoint/2010/main" val="17034707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opener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C82A3C-41A4-4CCB-843E-EFC268C72971}"/>
              </a:ext>
            </a:extLst>
          </p:cNvPr>
          <p:cNvSpPr/>
          <p:nvPr userDrawn="1"/>
        </p:nvSpPr>
        <p:spPr>
          <a:xfrm>
            <a:off x="1721343" y="2679191"/>
            <a:ext cx="1676101" cy="1938992"/>
          </a:xfrm>
          <a:prstGeom prst="rect">
            <a:avLst/>
          </a:prstGeom>
        </p:spPr>
        <p:txBody>
          <a:bodyPr wrap="none" r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0" b="1" i="0" u="none" strike="noStrike" kern="1200" cap="all" spc="-500" normalizeH="0" baseline="0" noProof="0">
                <a:ln>
                  <a:noFill/>
                </a:ln>
                <a:solidFill>
                  <a:srgbClr val="005A8C"/>
                </a:solidFill>
                <a:effectLst/>
                <a:uLnTx/>
                <a:uFillTx/>
                <a:latin typeface="Arial" charset="0"/>
                <a:ea typeface="+mn-ea"/>
                <a:cs typeface="Arial" charset="0"/>
              </a:rPr>
              <a:t>01</a:t>
            </a:r>
          </a:p>
        </p:txBody>
      </p:sp>
      <p:cxnSp>
        <p:nvCxnSpPr>
          <p:cNvPr id="7" name="Straight Connector 6">
            <a:extLst>
              <a:ext uri="{FF2B5EF4-FFF2-40B4-BE49-F238E27FC236}">
                <a16:creationId xmlns:a16="http://schemas.microsoft.com/office/drawing/2014/main" id="{193F0FF9-6D71-4BAB-AE2D-8BD9FE3298E4}"/>
              </a:ext>
            </a:extLst>
          </p:cNvPr>
          <p:cNvCxnSpPr>
            <a:cxnSpLocks/>
          </p:cNvCxnSpPr>
          <p:nvPr userDrawn="1"/>
        </p:nvCxnSpPr>
        <p:spPr bwMode="auto">
          <a:xfrm>
            <a:off x="3838578" y="3107291"/>
            <a:ext cx="8353422" cy="0"/>
          </a:xfrm>
          <a:prstGeom prst="line">
            <a:avLst/>
          </a:prstGeom>
          <a:noFill/>
          <a:ln w="12700" cap="flat" cmpd="sng" algn="ctr">
            <a:solidFill>
              <a:schemeClr val="accent2"/>
            </a:solidFill>
            <a:prstDash val="solid"/>
            <a:round/>
            <a:headEnd type="none" w="med" len="med"/>
            <a:tailEnd type="none" w="med" len="med"/>
          </a:ln>
          <a:effectLst/>
        </p:spPr>
      </p:cxnSp>
      <p:sp>
        <p:nvSpPr>
          <p:cNvPr id="12" name="Rectangle 32">
            <a:extLst>
              <a:ext uri="{FF2B5EF4-FFF2-40B4-BE49-F238E27FC236}">
                <a16:creationId xmlns:a16="http://schemas.microsoft.com/office/drawing/2014/main" id="{1154087B-2430-4C8F-8712-4D68B33A0817}"/>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a:solidFill>
                <a:schemeClr val="bg1">
                  <a:lumMod val="75000"/>
                </a:schemeClr>
              </a:solidFill>
            </a:endParaRPr>
          </a:p>
        </p:txBody>
      </p:sp>
      <p:pic>
        <p:nvPicPr>
          <p:cNvPr id="8" name="Graphic 7">
            <a:extLst>
              <a:ext uri="{FF2B5EF4-FFF2-40B4-BE49-F238E27FC236}">
                <a16:creationId xmlns:a16="http://schemas.microsoft.com/office/drawing/2014/main" id="{38C785DE-51CE-F04B-9A35-DFC7BC8E67E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2" name="Slide Number Placeholder 2">
            <a:extLst>
              <a:ext uri="{FF2B5EF4-FFF2-40B4-BE49-F238E27FC236}">
                <a16:creationId xmlns:a16="http://schemas.microsoft.com/office/drawing/2014/main" id="{E7C542B0-92E0-DE23-37BD-A886A54FE35C}"/>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3,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3-38-CA-5851</a:t>
            </a:r>
          </a:p>
        </p:txBody>
      </p:sp>
    </p:spTree>
    <p:extLst>
      <p:ext uri="{BB962C8B-B14F-4D97-AF65-F5344CB8AC3E}">
        <p14:creationId xmlns:p14="http://schemas.microsoft.com/office/powerpoint/2010/main" val="3486602368"/>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nly Footer and Title">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3F4B1E3E-A1FB-459D-9A2B-3267BC9FFBDB}"/>
              </a:ext>
            </a:extLst>
          </p:cNvPr>
          <p:cNvSpPr>
            <a:spLocks noGrp="1" noChangeArrowheads="1"/>
          </p:cNvSpPr>
          <p:nvPr>
            <p:ph type="title" hasCustomPrompt="1"/>
          </p:nvPr>
        </p:nvSpPr>
        <p:spPr bwMode="auto">
          <a:xfrm>
            <a:off x="307975" y="622777"/>
            <a:ext cx="11598275"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b="0">
                <a:latin typeface="+mj-lt"/>
              </a:defRPr>
            </a:lvl1pPr>
          </a:lstStyle>
          <a:p>
            <a:pPr lvl="0"/>
            <a:r>
              <a:rPr lang="en-US"/>
              <a:t>Master title style is 18pt, “Arial Black” font</a:t>
            </a:r>
          </a:p>
        </p:txBody>
      </p:sp>
      <p:sp>
        <p:nvSpPr>
          <p:cNvPr id="6" name="Rectangle 5">
            <a:extLst>
              <a:ext uri="{FF2B5EF4-FFF2-40B4-BE49-F238E27FC236}">
                <a16:creationId xmlns:a16="http://schemas.microsoft.com/office/drawing/2014/main" id="{1B0F89B3-7FF7-40B9-A0AE-6771692D1081}"/>
              </a:ext>
            </a:extLst>
          </p:cNvPr>
          <p:cNvSpPr/>
          <p:nvPr userDrawn="1"/>
        </p:nvSpPr>
        <p:spPr bwMode="auto">
          <a:xfrm>
            <a:off x="0" y="0"/>
            <a:ext cx="161395" cy="1412621"/>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sp>
        <p:nvSpPr>
          <p:cNvPr id="12" name="Rectangle 32">
            <a:extLst>
              <a:ext uri="{FF2B5EF4-FFF2-40B4-BE49-F238E27FC236}">
                <a16:creationId xmlns:a16="http://schemas.microsoft.com/office/drawing/2014/main" id="{703B4A43-4A6D-41EE-9EFB-71967C2BCF3F}"/>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a:solidFill>
                <a:schemeClr val="bg1">
                  <a:lumMod val="75000"/>
                </a:schemeClr>
              </a:solidFill>
            </a:endParaRPr>
          </a:p>
        </p:txBody>
      </p:sp>
      <p:pic>
        <p:nvPicPr>
          <p:cNvPr id="7" name="Graphic 6">
            <a:extLst>
              <a:ext uri="{FF2B5EF4-FFF2-40B4-BE49-F238E27FC236}">
                <a16:creationId xmlns:a16="http://schemas.microsoft.com/office/drawing/2014/main" id="{89132D8C-3517-3F42-9743-E4889DEDB5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2" name="Slide Number Placeholder 2">
            <a:extLst>
              <a:ext uri="{FF2B5EF4-FFF2-40B4-BE49-F238E27FC236}">
                <a16:creationId xmlns:a16="http://schemas.microsoft.com/office/drawing/2014/main" id="{6781F45C-FC1F-0E46-5614-110C48C3FDFC}"/>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3,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3-38-CA-5851</a:t>
            </a:r>
          </a:p>
        </p:txBody>
      </p:sp>
    </p:spTree>
    <p:extLst>
      <p:ext uri="{BB962C8B-B14F-4D97-AF65-F5344CB8AC3E}">
        <p14:creationId xmlns:p14="http://schemas.microsoft.com/office/powerpoint/2010/main" val="3993003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Only Footer and Title (without page no.)">
    <p:spTree>
      <p:nvGrpSpPr>
        <p:cNvPr id="1" name=""/>
        <p:cNvGrpSpPr/>
        <p:nvPr/>
      </p:nvGrpSpPr>
      <p:grpSpPr>
        <a:xfrm>
          <a:off x="0" y="0"/>
          <a:ext cx="0" cy="0"/>
          <a:chOff x="0" y="0"/>
          <a:chExt cx="0" cy="0"/>
        </a:xfrm>
      </p:grpSpPr>
      <p:sp>
        <p:nvSpPr>
          <p:cNvPr id="5" name="Rectangle 21">
            <a:extLst>
              <a:ext uri="{FF2B5EF4-FFF2-40B4-BE49-F238E27FC236}">
                <a16:creationId xmlns:a16="http://schemas.microsoft.com/office/drawing/2014/main" id="{3F4B1E3E-A1FB-459D-9A2B-3267BC9FFBDB}"/>
              </a:ext>
            </a:extLst>
          </p:cNvPr>
          <p:cNvSpPr>
            <a:spLocks noGrp="1" noChangeArrowheads="1"/>
          </p:cNvSpPr>
          <p:nvPr>
            <p:ph type="title" hasCustomPrompt="1"/>
          </p:nvPr>
        </p:nvSpPr>
        <p:spPr bwMode="auto">
          <a:xfrm>
            <a:off x="307975" y="622777"/>
            <a:ext cx="11598275"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b="0">
                <a:latin typeface="+mj-lt"/>
              </a:defRPr>
            </a:lvl1pPr>
          </a:lstStyle>
          <a:p>
            <a:pPr lvl="0"/>
            <a:r>
              <a:rPr lang="en-US"/>
              <a:t>Master title style is 18pt, “Arial Black” font</a:t>
            </a:r>
          </a:p>
        </p:txBody>
      </p:sp>
      <p:sp>
        <p:nvSpPr>
          <p:cNvPr id="6" name="Rectangle 5">
            <a:extLst>
              <a:ext uri="{FF2B5EF4-FFF2-40B4-BE49-F238E27FC236}">
                <a16:creationId xmlns:a16="http://schemas.microsoft.com/office/drawing/2014/main" id="{1B0F89B3-7FF7-40B9-A0AE-6771692D1081}"/>
              </a:ext>
            </a:extLst>
          </p:cNvPr>
          <p:cNvSpPr/>
          <p:nvPr userDrawn="1"/>
        </p:nvSpPr>
        <p:spPr bwMode="auto">
          <a:xfrm>
            <a:off x="0" y="0"/>
            <a:ext cx="161395" cy="1412621"/>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pic>
        <p:nvPicPr>
          <p:cNvPr id="7" name="Graphic 6">
            <a:extLst>
              <a:ext uri="{FF2B5EF4-FFF2-40B4-BE49-F238E27FC236}">
                <a16:creationId xmlns:a16="http://schemas.microsoft.com/office/drawing/2014/main" id="{89132D8C-3517-3F42-9743-E4889DEDB5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297020" y="6472321"/>
            <a:ext cx="903131" cy="395119"/>
          </a:xfrm>
          <a:prstGeom prst="rect">
            <a:avLst/>
          </a:prstGeom>
        </p:spPr>
      </p:pic>
      <p:sp>
        <p:nvSpPr>
          <p:cNvPr id="2" name="Slide Number Placeholder 2">
            <a:extLst>
              <a:ext uri="{FF2B5EF4-FFF2-40B4-BE49-F238E27FC236}">
                <a16:creationId xmlns:a16="http://schemas.microsoft.com/office/drawing/2014/main" id="{B0D420EA-1C2E-914E-B8E5-56EFCA822E8C}"/>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3,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3-38-CA-5851</a:t>
            </a:r>
          </a:p>
        </p:txBody>
      </p:sp>
    </p:spTree>
    <p:extLst>
      <p:ext uri="{BB962C8B-B14F-4D97-AF65-F5344CB8AC3E}">
        <p14:creationId xmlns:p14="http://schemas.microsoft.com/office/powerpoint/2010/main" val="175654477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30A3CC38-9E37-4178-BA9D-CA015776015C}"/>
              </a:ext>
            </a:extLst>
          </p:cNvPr>
          <p:cNvSpPr>
            <a:spLocks noGrp="1"/>
          </p:cNvSpPr>
          <p:nvPr>
            <p:ph idx="1"/>
          </p:nvPr>
        </p:nvSpPr>
        <p:spPr>
          <a:xfrm>
            <a:off x="310896" y="1664208"/>
            <a:ext cx="11595354" cy="4736592"/>
          </a:xfrm>
          <a:prstGeom prst="rect">
            <a:avLst/>
          </a:prstGeom>
        </p:spPr>
        <p:txBody>
          <a:bodyPr/>
          <a:lstStyle>
            <a:lvl1pPr marL="639191" indent="-342900">
              <a:spcBef>
                <a:spcPts val="0"/>
              </a:spcBef>
              <a:spcAft>
                <a:spcPts val="0"/>
              </a:spcAft>
              <a:defRPr lang="en-US" sz="1800" dirty="0" smtClean="0">
                <a:solidFill>
                  <a:schemeClr val="tx1"/>
                </a:solidFill>
                <a:latin typeface="+mn-lt"/>
                <a:ea typeface="+mn-ea"/>
                <a:cs typeface="+mn-cs"/>
              </a:defRPr>
            </a:lvl1pPr>
            <a:lvl2pPr marL="639191" indent="-342900">
              <a:spcBef>
                <a:spcPts val="0"/>
              </a:spcBef>
              <a:spcAft>
                <a:spcPts val="0"/>
              </a:spcAft>
              <a:defRPr lang="en-US" sz="1800" dirty="0" smtClean="0">
                <a:solidFill>
                  <a:schemeClr val="tx1"/>
                </a:solidFill>
                <a:latin typeface="+mn-lt"/>
              </a:defRPr>
            </a:lvl2pPr>
            <a:lvl3pPr marL="639191" indent="-342900">
              <a:spcBef>
                <a:spcPts val="0"/>
              </a:spcBef>
              <a:spcAft>
                <a:spcPts val="0"/>
              </a:spcAft>
              <a:defRPr lang="en-US" sz="1800" dirty="0" smtClean="0">
                <a:solidFill>
                  <a:schemeClr val="tx1"/>
                </a:solidFill>
                <a:latin typeface="+mn-lt"/>
              </a:defRPr>
            </a:lvl3pPr>
            <a:lvl4pPr marL="1222819" indent="-342900">
              <a:spcBef>
                <a:spcPts val="0"/>
              </a:spcBef>
              <a:spcAft>
                <a:spcPts val="0"/>
              </a:spcAft>
              <a:defRPr lang="en-US" sz="1800" dirty="0">
                <a:solidFill>
                  <a:schemeClr val="tx1"/>
                </a:solidFill>
                <a:latin typeface="+mn-lt"/>
              </a:defRPr>
            </a:lvl4pPr>
            <a:lvl5pPr>
              <a:spcBef>
                <a:spcPts val="0"/>
              </a:spcBef>
              <a:spcAft>
                <a:spcPts val="0"/>
              </a:spcAft>
              <a:defRPr/>
            </a:lvl5pPr>
          </a:lstStyle>
          <a:p>
            <a:pPr marL="292608" lvl="0"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noProof="0"/>
              <a:t>Click to edit Master text styles</a:t>
            </a:r>
          </a:p>
          <a:p>
            <a:pPr marL="292608" lvl="1"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noProof="0"/>
              <a:t>Second level</a:t>
            </a:r>
          </a:p>
          <a:p>
            <a:pPr marL="292608" lvl="2"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noProof="0"/>
              <a:t>Third level</a:t>
            </a:r>
          </a:p>
          <a:p>
            <a:pPr marL="292608" lvl="3" indent="-292608" algn="l" rtl="0" eaLnBrk="1" fontAlgn="base" hangingPunct="1">
              <a:spcBef>
                <a:spcPts val="0"/>
              </a:spcBef>
              <a:spcAft>
                <a:spcPts val="0"/>
              </a:spcAft>
              <a:buClr>
                <a:schemeClr val="accent2"/>
              </a:buClr>
              <a:buSzPct val="70000"/>
              <a:buFont typeface="Wingdings" panose="05000000000000000000" pitchFamily="2" charset="2"/>
              <a:buChar char="l"/>
            </a:pPr>
            <a:r>
              <a:rPr lang="en-US" noProof="0"/>
              <a:t>Fourth level</a:t>
            </a:r>
          </a:p>
        </p:txBody>
      </p:sp>
      <p:sp>
        <p:nvSpPr>
          <p:cNvPr id="5" name="Rectangle 21">
            <a:extLst>
              <a:ext uri="{FF2B5EF4-FFF2-40B4-BE49-F238E27FC236}">
                <a16:creationId xmlns:a16="http://schemas.microsoft.com/office/drawing/2014/main" id="{02B89643-FD35-4903-9EC2-633DF01323A5}"/>
              </a:ext>
            </a:extLst>
          </p:cNvPr>
          <p:cNvSpPr>
            <a:spLocks noGrp="1" noChangeArrowheads="1"/>
          </p:cNvSpPr>
          <p:nvPr>
            <p:ph type="title"/>
          </p:nvPr>
        </p:nvSpPr>
        <p:spPr bwMode="auto">
          <a:xfrm>
            <a:off x="307975" y="622777"/>
            <a:ext cx="1159459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Tree>
    <p:extLst>
      <p:ext uri="{BB962C8B-B14F-4D97-AF65-F5344CB8AC3E}">
        <p14:creationId xmlns:p14="http://schemas.microsoft.com/office/powerpoint/2010/main" val="4065459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ffice Slide">
    <p:spTree>
      <p:nvGrpSpPr>
        <p:cNvPr id="1" name=""/>
        <p:cNvGrpSpPr/>
        <p:nvPr/>
      </p:nvGrpSpPr>
      <p:grpSpPr>
        <a:xfrm>
          <a:off x="0" y="0"/>
          <a:ext cx="0" cy="0"/>
          <a:chOff x="0" y="0"/>
          <a:chExt cx="0" cy="0"/>
        </a:xfrm>
      </p:grpSpPr>
      <p:pic>
        <p:nvPicPr>
          <p:cNvPr id="34" name="Picture 33" descr="A person walking down a sidewalk next to a body of water&#10;&#10;Description automatically generated">
            <a:extLst>
              <a:ext uri="{FF2B5EF4-FFF2-40B4-BE49-F238E27FC236}">
                <a16:creationId xmlns:a16="http://schemas.microsoft.com/office/drawing/2014/main" id="{F2B28AA2-9D3A-944B-ADE8-78A010F895F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2" y="0"/>
            <a:ext cx="3621609" cy="6858000"/>
          </a:xfrm>
          <a:prstGeom prst="rect">
            <a:avLst/>
          </a:prstGeom>
        </p:spPr>
      </p:pic>
      <p:sp>
        <p:nvSpPr>
          <p:cNvPr id="35" name="Rectangle 34">
            <a:extLst>
              <a:ext uri="{FF2B5EF4-FFF2-40B4-BE49-F238E27FC236}">
                <a16:creationId xmlns:a16="http://schemas.microsoft.com/office/drawing/2014/main" id="{F67B4DAF-5092-4449-9287-771A29144BF8}"/>
              </a:ext>
            </a:extLst>
          </p:cNvPr>
          <p:cNvSpPr/>
          <p:nvPr userDrawn="1"/>
        </p:nvSpPr>
        <p:spPr bwMode="auto">
          <a:xfrm>
            <a:off x="3496734" y="0"/>
            <a:ext cx="8695266" cy="6858000"/>
          </a:xfrm>
          <a:prstGeom prst="rect">
            <a:avLst/>
          </a:prstGeom>
          <a:solidFill>
            <a:schemeClr val="accent2">
              <a:lumMod val="7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sp>
        <p:nvSpPr>
          <p:cNvPr id="36" name="Rectangle 35">
            <a:extLst>
              <a:ext uri="{FF2B5EF4-FFF2-40B4-BE49-F238E27FC236}">
                <a16:creationId xmlns:a16="http://schemas.microsoft.com/office/drawing/2014/main" id="{D690F4EE-D505-464E-86C9-D92A726D800D}"/>
              </a:ext>
            </a:extLst>
          </p:cNvPr>
          <p:cNvSpPr/>
          <p:nvPr userDrawn="1"/>
        </p:nvSpPr>
        <p:spPr>
          <a:xfrm>
            <a:off x="4004897" y="6054923"/>
            <a:ext cx="7809738" cy="307777"/>
          </a:xfrm>
          <a:prstGeom prst="rect">
            <a:avLst/>
          </a:prstGeom>
        </p:spPr>
        <p:txBody>
          <a:bodyPr wrap="square" lIns="0" tIns="0" rIns="0" bIns="0">
            <a:spAutoFit/>
          </a:bodyPr>
          <a:lstStyle/>
          <a:p>
            <a:pPr marL="0" lvl="1" indent="0" algn="l">
              <a:lnSpc>
                <a:spcPts val="751"/>
              </a:lnSpc>
              <a:spcAft>
                <a:spcPts val="0"/>
              </a:spcAft>
              <a:buNone/>
              <a:defRPr/>
            </a:pPr>
            <a:r>
              <a:rPr lang="en-US" sz="701" i="1">
                <a:solidFill>
                  <a:schemeClr val="accent4"/>
                </a:solidFill>
              </a:rPr>
              <a:t>This document is for informational purposes only, and it is being provided “as is” and “as available” without any warranty of any kind, including any warranties of completeness, adequacy, or fitness for a particular purpose. Everest Group is not a legal or investment adviser; the contents of this document should not be construed as legal, tax, or investment advice. This document should not be used as a substitute for consultation with professional advisors, and Everest Group disclaims liability for any actions or decisions not to act that are taken as a result of any material in this publication.</a:t>
            </a:r>
          </a:p>
        </p:txBody>
      </p:sp>
      <p:sp>
        <p:nvSpPr>
          <p:cNvPr id="37" name="Rectangle 36">
            <a:extLst>
              <a:ext uri="{FF2B5EF4-FFF2-40B4-BE49-F238E27FC236}">
                <a16:creationId xmlns:a16="http://schemas.microsoft.com/office/drawing/2014/main" id="{7FD6F52A-676A-6645-ACC2-D56D3D3F9A85}"/>
              </a:ext>
            </a:extLst>
          </p:cNvPr>
          <p:cNvSpPr/>
          <p:nvPr userDrawn="1"/>
        </p:nvSpPr>
        <p:spPr>
          <a:xfrm>
            <a:off x="7118343" y="3062978"/>
            <a:ext cx="2473806" cy="195438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Dallas (Headquarters)</a:t>
            </a:r>
            <a:endParaRPr kumimoji="0" lang="en-US" sz="1100" b="0"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info@everestgrp.com</a:t>
            </a: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1-214-451-3000</a:t>
            </a:r>
          </a:p>
          <a:p>
            <a:pPr marL="0" marR="0" lvl="0" indent="0" algn="l"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	</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Bangalore</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india@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91-80-61463500 </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endPar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Delhi</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india@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91-124-496-1000</a:t>
            </a:r>
          </a:p>
        </p:txBody>
      </p:sp>
      <p:cxnSp>
        <p:nvCxnSpPr>
          <p:cNvPr id="38" name="Straight Connector 37">
            <a:extLst>
              <a:ext uri="{FF2B5EF4-FFF2-40B4-BE49-F238E27FC236}">
                <a16:creationId xmlns:a16="http://schemas.microsoft.com/office/drawing/2014/main" id="{0E3324ED-875C-8646-89AE-E3149CD639CB}"/>
              </a:ext>
            </a:extLst>
          </p:cNvPr>
          <p:cNvCxnSpPr>
            <a:cxnSpLocks/>
          </p:cNvCxnSpPr>
          <p:nvPr userDrawn="1"/>
        </p:nvCxnSpPr>
        <p:spPr bwMode="auto">
          <a:xfrm>
            <a:off x="6553578" y="3062978"/>
            <a:ext cx="0" cy="2118603"/>
          </a:xfrm>
          <a:prstGeom prst="line">
            <a:avLst/>
          </a:prstGeom>
          <a:noFill/>
          <a:ln w="9525" cap="flat" cmpd="sng" algn="ctr">
            <a:solidFill>
              <a:schemeClr val="accent5"/>
            </a:solidFill>
            <a:prstDash val="solid"/>
            <a:round/>
            <a:headEnd type="none" w="med" len="med"/>
            <a:tailEnd type="none" w="med" len="med"/>
          </a:ln>
          <a:effectLst/>
        </p:spPr>
      </p:cxnSp>
      <p:sp>
        <p:nvSpPr>
          <p:cNvPr id="40" name="Rectangle 39">
            <a:extLst>
              <a:ext uri="{FF2B5EF4-FFF2-40B4-BE49-F238E27FC236}">
                <a16:creationId xmlns:a16="http://schemas.microsoft.com/office/drawing/2014/main" id="{37199E8A-CDC5-3741-8908-4533021E8507}"/>
              </a:ext>
            </a:extLst>
          </p:cNvPr>
          <p:cNvSpPr/>
          <p:nvPr userDrawn="1"/>
        </p:nvSpPr>
        <p:spPr>
          <a:xfrm>
            <a:off x="9362298" y="3062978"/>
            <a:ext cx="2239530" cy="1277273"/>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London</a:t>
            </a:r>
            <a:endParaRPr kumimoji="0" lang="en-US" sz="1100" b="0"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unitedkingdom@everestgrp.com</a:t>
            </a:r>
          </a:p>
          <a:p>
            <a:pPr marL="0" marR="0" lvl="0" indent="0" algn="l"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44-207-129-1318</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endParaRPr kumimoji="0" lang="en-US" sz="1100" b="1" i="0" u="none" strike="noStrike" kern="1200" cap="none" spc="0" normalizeH="0" baseline="0" noProof="0">
              <a:ln>
                <a:noFill/>
              </a:ln>
              <a:solidFill>
                <a:srgbClr val="FFFFFF"/>
              </a:solidFill>
              <a:effectLst/>
              <a:uLnTx/>
              <a:uFillTx/>
              <a:latin typeface="Arial" charset="0"/>
              <a:ea typeface="+mn-ea"/>
              <a:cs typeface="Arial" charset="0"/>
            </a:endParaRP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Toronto</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canada@everestgrp.com</a:t>
            </a:r>
          </a:p>
          <a:p>
            <a:pPr marL="0" marR="0" lvl="0" indent="0" algn="l" defTabSz="914400" rtl="0" eaLnBrk="1" fontAlgn="base" latinLnBrk="0" hangingPunct="1">
              <a:lnSpc>
                <a:spcPct val="100000"/>
              </a:lnSpc>
              <a:spcBef>
                <a:spcPct val="0"/>
              </a:spcBef>
              <a:spcAft>
                <a:spcPct val="0"/>
              </a:spcAft>
              <a:buClr>
                <a:srgbClr val="3333FF"/>
              </a:buClr>
              <a:buSzPct val="60000"/>
              <a:buFont typeface="Wingdings" pitchFamily="2" charset="2"/>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1-416-388-6765</a:t>
            </a:r>
          </a:p>
        </p:txBody>
      </p:sp>
      <p:sp>
        <p:nvSpPr>
          <p:cNvPr id="41" name="Rectangle 40">
            <a:hlinkClick r:id="rId3"/>
            <a:extLst>
              <a:ext uri="{FF2B5EF4-FFF2-40B4-BE49-F238E27FC236}">
                <a16:creationId xmlns:a16="http://schemas.microsoft.com/office/drawing/2014/main" id="{020DD033-02B5-B448-A212-58E6D60E7959}"/>
              </a:ext>
            </a:extLst>
          </p:cNvPr>
          <p:cNvSpPr/>
          <p:nvPr userDrawn="1"/>
        </p:nvSpPr>
        <p:spPr bwMode="auto">
          <a:xfrm>
            <a:off x="7161898" y="3104712"/>
            <a:ext cx="1525280"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43" name="Rectangle 42">
            <a:hlinkClick r:id="rId4"/>
            <a:extLst>
              <a:ext uri="{FF2B5EF4-FFF2-40B4-BE49-F238E27FC236}">
                <a16:creationId xmlns:a16="http://schemas.microsoft.com/office/drawing/2014/main" id="{47F6667F-4668-E049-BB62-B15FB4C1EF1F}"/>
              </a:ext>
            </a:extLst>
          </p:cNvPr>
          <p:cNvSpPr/>
          <p:nvPr userDrawn="1"/>
        </p:nvSpPr>
        <p:spPr bwMode="auto">
          <a:xfrm>
            <a:off x="7161898" y="3782980"/>
            <a:ext cx="1527048"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just"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44" name="Rectangle 43">
            <a:hlinkClick r:id="rId4"/>
            <a:extLst>
              <a:ext uri="{FF2B5EF4-FFF2-40B4-BE49-F238E27FC236}">
                <a16:creationId xmlns:a16="http://schemas.microsoft.com/office/drawing/2014/main" id="{81C459B1-1F62-3D4D-9492-CB5B944A2B0E}"/>
              </a:ext>
            </a:extLst>
          </p:cNvPr>
          <p:cNvSpPr/>
          <p:nvPr userDrawn="1"/>
        </p:nvSpPr>
        <p:spPr bwMode="auto">
          <a:xfrm>
            <a:off x="7161898" y="4445000"/>
            <a:ext cx="1527048"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45" name="Rectangle 44">
            <a:hlinkClick r:id="rId5"/>
            <a:extLst>
              <a:ext uri="{FF2B5EF4-FFF2-40B4-BE49-F238E27FC236}">
                <a16:creationId xmlns:a16="http://schemas.microsoft.com/office/drawing/2014/main" id="{4D40A79D-41E4-9D41-86C1-7084DF8C609A}"/>
              </a:ext>
            </a:extLst>
          </p:cNvPr>
          <p:cNvSpPr/>
          <p:nvPr userDrawn="1"/>
        </p:nvSpPr>
        <p:spPr bwMode="auto">
          <a:xfrm>
            <a:off x="9413780" y="3104712"/>
            <a:ext cx="2066926"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51" name="Rectangle 50">
            <a:hlinkClick r:id="rId6"/>
            <a:extLst>
              <a:ext uri="{FF2B5EF4-FFF2-40B4-BE49-F238E27FC236}">
                <a16:creationId xmlns:a16="http://schemas.microsoft.com/office/drawing/2014/main" id="{15D171CE-CC79-9B4D-BBE7-41C619F12B93}"/>
              </a:ext>
            </a:extLst>
          </p:cNvPr>
          <p:cNvSpPr/>
          <p:nvPr userDrawn="1"/>
        </p:nvSpPr>
        <p:spPr bwMode="auto">
          <a:xfrm>
            <a:off x="9413780" y="3764280"/>
            <a:ext cx="1649996"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52" name="Rectangle 51">
            <a:extLst>
              <a:ext uri="{FF2B5EF4-FFF2-40B4-BE49-F238E27FC236}">
                <a16:creationId xmlns:a16="http://schemas.microsoft.com/office/drawing/2014/main" id="{F3A10E4C-B223-B546-9D97-DFDA9A19D56E}"/>
              </a:ext>
            </a:extLst>
          </p:cNvPr>
          <p:cNvSpPr/>
          <p:nvPr userDrawn="1"/>
        </p:nvSpPr>
        <p:spPr>
          <a:xfrm>
            <a:off x="4004897" y="1549827"/>
            <a:ext cx="7891828" cy="938719"/>
          </a:xfrm>
          <a:prstGeom prst="rect">
            <a:avLst/>
          </a:prstGeom>
        </p:spPr>
        <p:txBody>
          <a:bodyPr wrap="square" lIns="0" rIns="0">
            <a:spAutoFit/>
          </a:bodyPr>
          <a:lstStyle/>
          <a:p>
            <a:pPr marL="0" lvl="0" indent="0">
              <a:buNone/>
            </a:pPr>
            <a:r>
              <a:rPr lang="en-US" sz="1100">
                <a:solidFill>
                  <a:schemeClr val="bg1"/>
                </a:solidFill>
              </a:rPr>
              <a:t>Everest Group is a leading research firm helping business leaders make confident decisions. We guide clients through today’s market challenges and strengthen their strategies by applying contextualized problem-solving to their unique situations. This drives maximized operational and financial performance and transformative experiences. Our deep expertise and tenacious research focused on technology, business processes, and engineering through the lenses of talent, sustainability, and sourcing delivers precise and action-oriented guidance. Find further details and in-depth content at </a:t>
            </a:r>
            <a:r>
              <a:rPr lang="en-US" sz="1100" b="1">
                <a:solidFill>
                  <a:schemeClr val="bg1"/>
                </a:solidFill>
              </a:rPr>
              <a:t>www.everestgrp.com</a:t>
            </a:r>
            <a:r>
              <a:rPr lang="en-US" sz="1100">
                <a:solidFill>
                  <a:schemeClr val="bg1"/>
                </a:solidFill>
              </a:rPr>
              <a:t>.</a:t>
            </a:r>
            <a:endParaRPr lang="en-US" sz="1100" u="none">
              <a:solidFill>
                <a:schemeClr val="bg1"/>
              </a:solidFill>
            </a:endParaRPr>
          </a:p>
        </p:txBody>
      </p:sp>
      <p:sp>
        <p:nvSpPr>
          <p:cNvPr id="53" name="Rectangle 52">
            <a:extLst>
              <a:ext uri="{FF2B5EF4-FFF2-40B4-BE49-F238E27FC236}">
                <a16:creationId xmlns:a16="http://schemas.microsoft.com/office/drawing/2014/main" id="{72508BF0-B0DB-B14D-AB30-5E444FA9649E}"/>
              </a:ext>
            </a:extLst>
          </p:cNvPr>
          <p:cNvSpPr/>
          <p:nvPr userDrawn="1"/>
        </p:nvSpPr>
        <p:spPr>
          <a:xfrm>
            <a:off x="3919172" y="2608840"/>
            <a:ext cx="1699504" cy="338554"/>
          </a:xfrm>
          <a:prstGeom prst="rect">
            <a:avLst/>
          </a:prstGeom>
        </p:spPr>
        <p:txBody>
          <a:bodyPr wrap="none">
            <a:spAutoFit/>
          </a:bodyPr>
          <a:lstStyle/>
          <a:p>
            <a:r>
              <a:rPr lang="en-US" b="1">
                <a:solidFill>
                  <a:srgbClr val="FFFFFF"/>
                </a:solidFill>
                <a:latin typeface="Arial" panose="020B0604020202020204" pitchFamily="34" charset="0"/>
                <a:cs typeface="Arial" panose="020B0604020202020204" pitchFamily="34" charset="0"/>
              </a:rPr>
              <a:t>Stay </a:t>
            </a:r>
            <a:r>
              <a:rPr kumimoji="0" lang="en-US" b="1"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connected</a:t>
            </a:r>
            <a:endParaRPr lang="en-US" b="1" baseline="0">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701E657C-56EE-DB45-89FC-276FD5062C84}"/>
              </a:ext>
            </a:extLst>
          </p:cNvPr>
          <p:cNvSpPr/>
          <p:nvPr userDrawn="1"/>
        </p:nvSpPr>
        <p:spPr>
          <a:xfrm>
            <a:off x="3919172" y="3066153"/>
            <a:ext cx="2225414" cy="2157514"/>
          </a:xfrm>
          <a:prstGeom prst="rect">
            <a:avLst/>
          </a:prstGeom>
        </p:spPr>
        <p:txBody>
          <a:bodyPr wrap="square">
            <a:spAutoFit/>
          </a:bodyPr>
          <a:lstStyle/>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Website</a:t>
            </a:r>
            <a:endParaRPr kumimoji="0" lang="en-US" sz="1100" b="0"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everestgrp.com</a:t>
            </a:r>
          </a:p>
          <a:p>
            <a:pPr marL="0" marR="0" lvl="0" indent="0" defTabSz="914400" rtl="0" eaLnBrk="1" fontAlgn="base" latinLnBrk="0" hangingPunct="1">
              <a:lnSpc>
                <a:spcPct val="100000"/>
              </a:lnSpc>
              <a:spcBef>
                <a:spcPct val="0"/>
              </a:spcBef>
              <a:spcAft>
                <a:spcPct val="0"/>
              </a:spcAft>
              <a:buClr>
                <a:srgbClr val="52B964"/>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	</a:t>
            </a:r>
            <a:endPar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Social Media</a:t>
            </a:r>
          </a:p>
          <a:p>
            <a:pPr marL="0" marR="0" lvl="0" indent="0" defTabSz="914400" rtl="0" eaLnBrk="1" fontAlgn="base" latinLnBrk="0" hangingPunct="1">
              <a:lnSpc>
                <a:spcPct val="130000"/>
              </a:lnSpc>
              <a:spcBef>
                <a:spcPct val="0"/>
              </a:spcBef>
              <a:spcAft>
                <a:spcPct val="0"/>
              </a:spcAft>
              <a:buClr>
                <a:srgbClr val="3333FF"/>
              </a:buClr>
              <a:buSzPct val="60000"/>
              <a:buFontTx/>
              <a:buNone/>
              <a:tabLst>
                <a:tab pos="227013"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	</a:t>
            </a: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a:t>
            </a:r>
            <a:r>
              <a:rPr lang="en-US" sz="1100">
                <a:solidFill>
                  <a:srgbClr val="FFFFFF"/>
                </a:solidFill>
              </a:rPr>
              <a:t>E</a:t>
            </a:r>
            <a:r>
              <a:rPr kumimoji="0" lang="en-US" sz="1100" b="0" i="0" u="none" strike="noStrike" kern="1200" cap="none" spc="0" normalizeH="0" baseline="0" noProof="0" err="1">
                <a:ln>
                  <a:noFill/>
                </a:ln>
                <a:solidFill>
                  <a:srgbClr val="FFFFFF"/>
                </a:solidFill>
                <a:effectLst/>
                <a:uLnTx/>
                <a:uFillTx/>
                <a:latin typeface="Arial" charset="0"/>
                <a:ea typeface="+mn-ea"/>
                <a:cs typeface="Arial" charset="0"/>
              </a:rPr>
              <a:t>verestGroup</a:t>
            </a:r>
            <a:endParaRPr lang="en-US" sz="1100">
              <a:solidFill>
                <a:srgbClr val="FFFFFF"/>
              </a:solidFill>
            </a:endParaRPr>
          </a:p>
          <a:p>
            <a:pPr lvl="0">
              <a:lnSpc>
                <a:spcPct val="130000"/>
              </a:lnSpc>
              <a:buClr>
                <a:srgbClr val="3333FF"/>
              </a:buClr>
              <a:buSzPct val="60000"/>
              <a:tabLst>
                <a:tab pos="227013"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	@</a:t>
            </a:r>
            <a:r>
              <a:rPr lang="en-US" sz="1100">
                <a:solidFill>
                  <a:srgbClr val="FFFFFF"/>
                </a:solidFill>
              </a:rPr>
              <a:t>Everest Group</a:t>
            </a:r>
          </a:p>
          <a:p>
            <a:pPr lvl="0">
              <a:lnSpc>
                <a:spcPct val="130000"/>
              </a:lnSpc>
              <a:buClr>
                <a:srgbClr val="3333FF"/>
              </a:buClr>
              <a:buSzPct val="60000"/>
              <a:tabLst>
                <a:tab pos="227013"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	@</a:t>
            </a:r>
            <a:r>
              <a:rPr lang="en-US" sz="1100">
                <a:solidFill>
                  <a:srgbClr val="FFFFFF"/>
                </a:solidFill>
              </a:rPr>
              <a:t>Everest Group</a:t>
            </a:r>
          </a:p>
          <a:p>
            <a:pPr>
              <a:lnSpc>
                <a:spcPct val="130000"/>
              </a:lnSpc>
              <a:buClr>
                <a:srgbClr val="3333FF"/>
              </a:buClr>
              <a:buSzPct val="60000"/>
              <a:tabLst>
                <a:tab pos="227013" algn="l"/>
              </a:tabLst>
              <a:defRPr/>
            </a:pPr>
            <a:r>
              <a:rPr lang="en-US" sz="1100">
                <a:solidFill>
                  <a:srgbClr val="FFFFFF"/>
                </a:solidFill>
              </a:rPr>
              <a:t>  	@Everest Group</a:t>
            </a:r>
          </a:p>
          <a:p>
            <a:pPr lvl="0">
              <a:buClr>
                <a:srgbClr val="3333FF"/>
              </a:buClr>
              <a:buSzPct val="60000"/>
              <a:tabLst>
                <a:tab pos="171450" algn="l"/>
              </a:tabLst>
              <a:defRPr/>
            </a:pPr>
            <a:endParaRPr kumimoji="0" lang="en-US" sz="1100" b="0" i="0" u="none" strike="noStrike" kern="1200" cap="none" spc="0" normalizeH="0" baseline="0" noProof="0">
              <a:ln>
                <a:noFill/>
              </a:ln>
              <a:solidFill>
                <a:srgbClr val="FFFFFF"/>
              </a:solidFill>
              <a:effectLst/>
              <a:uLnTx/>
              <a:uFillTx/>
              <a:latin typeface="Arial" charset="0"/>
              <a:ea typeface="+mn-ea"/>
              <a:cs typeface="Arial" charset="0"/>
            </a:endParaRP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1" i="0" u="none" strike="noStrike" kern="1200" cap="none" spc="0" normalizeH="0" baseline="0" noProof="0">
                <a:ln>
                  <a:noFill/>
                </a:ln>
                <a:solidFill>
                  <a:srgbClr val="005A8C">
                    <a:lumMod val="40000"/>
                    <a:lumOff val="60000"/>
                  </a:srgbClr>
                </a:solidFill>
                <a:effectLst/>
                <a:uLnTx/>
                <a:uFillTx/>
                <a:latin typeface="Arial" charset="0"/>
                <a:ea typeface="+mn-ea"/>
                <a:cs typeface="Arial" charset="0"/>
              </a:rPr>
              <a:t>Blog</a:t>
            </a:r>
          </a:p>
          <a:p>
            <a:pPr marL="0" marR="0" lvl="0" indent="0" defTabSz="914400" rtl="0" eaLnBrk="1" fontAlgn="base" latinLnBrk="0" hangingPunct="1">
              <a:lnSpc>
                <a:spcPct val="100000"/>
              </a:lnSpc>
              <a:spcBef>
                <a:spcPct val="0"/>
              </a:spcBef>
              <a:spcAft>
                <a:spcPct val="0"/>
              </a:spcAft>
              <a:buClr>
                <a:srgbClr val="3333FF"/>
              </a:buClr>
              <a:buSzPct val="60000"/>
              <a:buFontTx/>
              <a:buNone/>
              <a:tabLst>
                <a:tab pos="117475" algn="l"/>
                <a:tab pos="971550" algn="l"/>
              </a:tabLst>
              <a:defRPr/>
            </a:pPr>
            <a:r>
              <a:rPr kumimoji="0" lang="en-US" sz="1100" b="0" i="0" u="none" strike="noStrike" kern="1200" cap="none" spc="0" normalizeH="0" baseline="0" noProof="0">
                <a:ln>
                  <a:noFill/>
                </a:ln>
                <a:solidFill>
                  <a:srgbClr val="FFFFFF"/>
                </a:solidFill>
                <a:effectLst/>
                <a:uLnTx/>
                <a:uFillTx/>
                <a:latin typeface="Arial" charset="0"/>
                <a:ea typeface="+mn-ea"/>
                <a:cs typeface="Arial" charset="0"/>
              </a:rPr>
              <a:t>everestgrp.com/blog</a:t>
            </a:r>
          </a:p>
        </p:txBody>
      </p:sp>
      <p:sp>
        <p:nvSpPr>
          <p:cNvPr id="55" name="Rectangle 54">
            <a:hlinkClick r:id="rId7"/>
            <a:extLst>
              <a:ext uri="{FF2B5EF4-FFF2-40B4-BE49-F238E27FC236}">
                <a16:creationId xmlns:a16="http://schemas.microsoft.com/office/drawing/2014/main" id="{32048E40-C1C8-5443-AA0B-41235EEBDB7C}"/>
              </a:ext>
            </a:extLst>
          </p:cNvPr>
          <p:cNvSpPr/>
          <p:nvPr userDrawn="1"/>
        </p:nvSpPr>
        <p:spPr bwMode="auto">
          <a:xfrm>
            <a:off x="3952875" y="3107887"/>
            <a:ext cx="1066800"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56" name="Rectangle 55">
            <a:hlinkClick r:id="rId8"/>
            <a:extLst>
              <a:ext uri="{FF2B5EF4-FFF2-40B4-BE49-F238E27FC236}">
                <a16:creationId xmlns:a16="http://schemas.microsoft.com/office/drawing/2014/main" id="{1196FC80-DB44-AF4D-A64A-27C5AAEB6641}"/>
              </a:ext>
            </a:extLst>
          </p:cNvPr>
          <p:cNvSpPr/>
          <p:nvPr userDrawn="1"/>
        </p:nvSpPr>
        <p:spPr bwMode="auto">
          <a:xfrm>
            <a:off x="3952874" y="4834924"/>
            <a:ext cx="1362075" cy="3466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57" name="Rectangle 56">
            <a:hlinkClick r:id="rId9"/>
            <a:extLst>
              <a:ext uri="{FF2B5EF4-FFF2-40B4-BE49-F238E27FC236}">
                <a16:creationId xmlns:a16="http://schemas.microsoft.com/office/drawing/2014/main" id="{1015F8B1-CEFD-0D4F-9963-A1B8269D9271}"/>
              </a:ext>
            </a:extLst>
          </p:cNvPr>
          <p:cNvSpPr/>
          <p:nvPr userDrawn="1"/>
        </p:nvSpPr>
        <p:spPr bwMode="auto">
          <a:xfrm>
            <a:off x="3983490" y="4479131"/>
            <a:ext cx="1325880"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64" name="Rectangle 63">
            <a:hlinkClick r:id="rId10"/>
            <a:extLst>
              <a:ext uri="{FF2B5EF4-FFF2-40B4-BE49-F238E27FC236}">
                <a16:creationId xmlns:a16="http://schemas.microsoft.com/office/drawing/2014/main" id="{C249DB12-2832-8941-A2BC-0428CB3D00DC}"/>
              </a:ext>
            </a:extLst>
          </p:cNvPr>
          <p:cNvSpPr/>
          <p:nvPr userDrawn="1"/>
        </p:nvSpPr>
        <p:spPr bwMode="auto">
          <a:xfrm>
            <a:off x="3983490" y="4040981"/>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pic>
        <p:nvPicPr>
          <p:cNvPr id="67" name="Graphic 66">
            <a:extLst>
              <a:ext uri="{FF2B5EF4-FFF2-40B4-BE49-F238E27FC236}">
                <a16:creationId xmlns:a16="http://schemas.microsoft.com/office/drawing/2014/main" id="{C655B676-4477-074F-B034-DF8362D7492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4005358" y="3812380"/>
            <a:ext cx="183261" cy="183261"/>
          </a:xfrm>
          <a:prstGeom prst="rect">
            <a:avLst/>
          </a:prstGeom>
        </p:spPr>
      </p:pic>
      <p:sp>
        <p:nvSpPr>
          <p:cNvPr id="68" name="Rectangle 67">
            <a:hlinkClick r:id="rId13"/>
            <a:extLst>
              <a:ext uri="{FF2B5EF4-FFF2-40B4-BE49-F238E27FC236}">
                <a16:creationId xmlns:a16="http://schemas.microsoft.com/office/drawing/2014/main" id="{5D3DB39F-47E3-324F-A95F-6D1980BEC87F}"/>
              </a:ext>
            </a:extLst>
          </p:cNvPr>
          <p:cNvSpPr/>
          <p:nvPr userDrawn="1"/>
        </p:nvSpPr>
        <p:spPr bwMode="auto">
          <a:xfrm>
            <a:off x="3983490" y="3821906"/>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pic>
        <p:nvPicPr>
          <p:cNvPr id="69" name="Graphic 68">
            <a:extLst>
              <a:ext uri="{FF2B5EF4-FFF2-40B4-BE49-F238E27FC236}">
                <a16:creationId xmlns:a16="http://schemas.microsoft.com/office/drawing/2014/main" id="{91A92EC5-FD24-9240-8014-45AA2CDDF3C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993339" y="4019550"/>
            <a:ext cx="209549" cy="209549"/>
          </a:xfrm>
          <a:prstGeom prst="rect">
            <a:avLst/>
          </a:prstGeom>
        </p:spPr>
      </p:pic>
      <p:pic>
        <p:nvPicPr>
          <p:cNvPr id="70" name="Graphic 69">
            <a:extLst>
              <a:ext uri="{FF2B5EF4-FFF2-40B4-BE49-F238E27FC236}">
                <a16:creationId xmlns:a16="http://schemas.microsoft.com/office/drawing/2014/main" id="{FFEE200C-2D66-5E46-B1E5-0274554E461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17169" y="4265772"/>
            <a:ext cx="164306" cy="164306"/>
          </a:xfrm>
          <a:prstGeom prst="rect">
            <a:avLst/>
          </a:prstGeom>
        </p:spPr>
      </p:pic>
      <p:sp>
        <p:nvSpPr>
          <p:cNvPr id="73" name="Rectangle 72">
            <a:hlinkClick r:id="rId18"/>
            <a:extLst>
              <a:ext uri="{FF2B5EF4-FFF2-40B4-BE49-F238E27FC236}">
                <a16:creationId xmlns:a16="http://schemas.microsoft.com/office/drawing/2014/main" id="{722687BD-4ABB-4B4A-9F41-1F509BDD8E7F}"/>
              </a:ext>
            </a:extLst>
          </p:cNvPr>
          <p:cNvSpPr/>
          <p:nvPr userDrawn="1"/>
        </p:nvSpPr>
        <p:spPr bwMode="auto">
          <a:xfrm>
            <a:off x="3983490" y="4260056"/>
            <a:ext cx="1321935" cy="161925"/>
          </a:xfrm>
          <a:prstGeom prst="rect">
            <a:avLst/>
          </a:prstGeom>
          <a:noFill/>
          <a:ln w="317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pic>
        <p:nvPicPr>
          <p:cNvPr id="75" name="Graphic 74">
            <a:extLst>
              <a:ext uri="{FF2B5EF4-FFF2-40B4-BE49-F238E27FC236}">
                <a16:creationId xmlns:a16="http://schemas.microsoft.com/office/drawing/2014/main" id="{1EC4E5BE-4BD5-8D42-867A-F4D2FDA98DE4}"/>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4019550" y="4478306"/>
            <a:ext cx="164306" cy="164306"/>
          </a:xfrm>
          <a:prstGeom prst="rect">
            <a:avLst/>
          </a:prstGeom>
        </p:spPr>
      </p:pic>
      <p:pic>
        <p:nvPicPr>
          <p:cNvPr id="77" name="Graphic 76">
            <a:extLst>
              <a:ext uri="{FF2B5EF4-FFF2-40B4-BE49-F238E27FC236}">
                <a16:creationId xmlns:a16="http://schemas.microsoft.com/office/drawing/2014/main" id="{CFCED573-F066-3746-A68C-0D9489B78DED}"/>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574257" y="416719"/>
            <a:ext cx="2101437" cy="919771"/>
          </a:xfrm>
          <a:prstGeom prst="rect">
            <a:avLst/>
          </a:prstGeom>
        </p:spPr>
      </p:pic>
      <p:sp>
        <p:nvSpPr>
          <p:cNvPr id="78" name="Rectangle 77">
            <a:hlinkClick r:id="rId7"/>
            <a:extLst>
              <a:ext uri="{FF2B5EF4-FFF2-40B4-BE49-F238E27FC236}">
                <a16:creationId xmlns:a16="http://schemas.microsoft.com/office/drawing/2014/main" id="{58557211-CAA8-C446-95EE-71D60631FC77}"/>
              </a:ext>
            </a:extLst>
          </p:cNvPr>
          <p:cNvSpPr/>
          <p:nvPr userDrawn="1"/>
        </p:nvSpPr>
        <p:spPr bwMode="auto">
          <a:xfrm>
            <a:off x="7421978" y="2265710"/>
            <a:ext cx="1473200" cy="21348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5125" marR="0" indent="-305125" algn="l" defTabSz="915373"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002" b="0" i="0" u="none" strike="noStrike" cap="none" normalizeH="0" baseline="0">
              <a:ln>
                <a:noFill/>
              </a:ln>
              <a:solidFill>
                <a:schemeClr val="tx1"/>
              </a:solidFill>
              <a:effectLst/>
              <a:latin typeface="Arial" charset="0"/>
            </a:endParaRPr>
          </a:p>
        </p:txBody>
      </p:sp>
      <p:sp>
        <p:nvSpPr>
          <p:cNvPr id="2" name="Rectangle 1">
            <a:hlinkClick r:id="rId23"/>
            <a:extLst>
              <a:ext uri="{FF2B5EF4-FFF2-40B4-BE49-F238E27FC236}">
                <a16:creationId xmlns:a16="http://schemas.microsoft.com/office/drawing/2014/main" id="{BB76AF82-CA84-7326-2D09-16B3417A6493}"/>
              </a:ext>
            </a:extLst>
          </p:cNvPr>
          <p:cNvSpPr/>
          <p:nvPr userDrawn="1"/>
        </p:nvSpPr>
        <p:spPr bwMode="auto">
          <a:xfrm>
            <a:off x="9533823" y="2265710"/>
            <a:ext cx="1473200" cy="174294"/>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87984034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nvPr>
        </p:nvGraphicFramePr>
        <p:xfrm>
          <a:off x="1591" y="1594"/>
          <a:ext cx="1587" cy="1587"/>
        </p:xfrm>
        <a:graphic>
          <a:graphicData uri="http://schemas.openxmlformats.org/presentationml/2006/ole">
            <mc:AlternateContent xmlns:mc="http://schemas.openxmlformats.org/markup-compatibility/2006">
              <mc:Choice xmlns:v="urn:schemas-microsoft-com:vml" Requires="v">
                <p:oleObj name="think-cell Slide" r:id="rId11" imgW="216" imgH="216" progId="TCLayout.ActiveDocument.1">
                  <p:embed/>
                </p:oleObj>
              </mc:Choice>
              <mc:Fallback>
                <p:oleObj name="think-cell Slide" r:id="rId11" imgW="216" imgH="216" progId="TCLayout.ActiveDocument.1">
                  <p:embed/>
                  <p:pic>
                    <p:nvPicPr>
                      <p:cNvPr id="3" name="Object 2" hidden="1"/>
                      <p:cNvPicPr/>
                      <p:nvPr/>
                    </p:nvPicPr>
                    <p:blipFill>
                      <a:blip r:embed="rId12"/>
                      <a:stretch>
                        <a:fillRect/>
                      </a:stretch>
                    </p:blipFill>
                    <p:spPr>
                      <a:xfrm>
                        <a:off x="1591" y="1594"/>
                        <a:ext cx="1587" cy="1587"/>
                      </a:xfrm>
                      <a:prstGeom prst="rect">
                        <a:avLst/>
                      </a:prstGeom>
                    </p:spPr>
                  </p:pic>
                </p:oleObj>
              </mc:Fallback>
            </mc:AlternateContent>
          </a:graphicData>
        </a:graphic>
      </p:graphicFrame>
      <p:sp>
        <p:nvSpPr>
          <p:cNvPr id="18" name="Slide Number Placeholder 2">
            <a:extLst>
              <a:ext uri="{FF2B5EF4-FFF2-40B4-BE49-F238E27FC236}">
                <a16:creationId xmlns:a16="http://schemas.microsoft.com/office/drawing/2014/main" id="{1D16FCDF-3375-46BB-91AD-1FE9E1A5D591}"/>
              </a:ext>
            </a:extLst>
          </p:cNvPr>
          <p:cNvSpPr txBox="1">
            <a:spLocks/>
          </p:cNvSpPr>
          <p:nvPr userDrawn="1"/>
        </p:nvSpPr>
        <p:spPr>
          <a:xfrm>
            <a:off x="1314448" y="6605585"/>
            <a:ext cx="4321176" cy="165765"/>
          </a:xfrm>
          <a:prstGeom prst="rect">
            <a:avLst/>
          </a:prstGeom>
        </p:spPr>
        <p:txBody>
          <a:bodyPr lIns="0" tIns="0" rIns="0" bIns="0" anchor="ctr"/>
          <a:lstStyle>
            <a:defPPr>
              <a:defRPr lang="en-US"/>
            </a:defPPr>
            <a:lvl1pPr algn="ctr" rtl="0" fontAlgn="base">
              <a:spcBef>
                <a:spcPct val="0"/>
              </a:spcBef>
              <a:spcAft>
                <a:spcPct val="0"/>
              </a:spcAft>
              <a:defRPr sz="800" kern="1200">
                <a:solidFill>
                  <a:schemeClr val="bg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a:lstStyle>
          <a:p>
            <a:pPr algn="l"/>
            <a:r>
              <a:rPr lang="en-US" sz="700" dirty="0">
                <a:solidFill>
                  <a:schemeClr val="bg1">
                    <a:lumMod val="65000"/>
                  </a:schemeClr>
                </a:solidFill>
              </a:rPr>
              <a:t>Proprietary &amp; Confidential. © 2023, Everest Global, Inc.</a:t>
            </a:r>
            <a:r>
              <a:rPr lang="en-IN" sz="700" dirty="0">
                <a:solidFill>
                  <a:schemeClr val="bg1">
                    <a:lumMod val="65000"/>
                  </a:schemeClr>
                </a:solidFill>
              </a:rPr>
              <a:t> </a:t>
            </a:r>
            <a:r>
              <a:rPr lang="en-IN" sz="700" dirty="0">
                <a:solidFill>
                  <a:schemeClr val="bg1">
                    <a:lumMod val="75000"/>
                  </a:schemeClr>
                </a:solidFill>
              </a:rPr>
              <a:t>| </a:t>
            </a:r>
            <a:r>
              <a:rPr lang="en-IN" sz="700" dirty="0">
                <a:solidFill>
                  <a:schemeClr val="bg1">
                    <a:lumMod val="65000"/>
                  </a:schemeClr>
                </a:solidFill>
              </a:rPr>
              <a:t>EGR-2023-38-CA-5851</a:t>
            </a:r>
          </a:p>
        </p:txBody>
      </p:sp>
      <p:sp>
        <p:nvSpPr>
          <p:cNvPr id="27" name="Rectangle 21">
            <a:extLst>
              <a:ext uri="{FF2B5EF4-FFF2-40B4-BE49-F238E27FC236}">
                <a16:creationId xmlns:a16="http://schemas.microsoft.com/office/drawing/2014/main" id="{2DDEC6A6-5FD2-46B6-BDBD-88ED631CB867}"/>
              </a:ext>
            </a:extLst>
          </p:cNvPr>
          <p:cNvSpPr txBox="1">
            <a:spLocks noChangeArrowheads="1"/>
          </p:cNvSpPr>
          <p:nvPr userDrawn="1"/>
        </p:nvSpPr>
        <p:spPr bwMode="auto">
          <a:xfrm>
            <a:off x="307975" y="305294"/>
            <a:ext cx="11612880" cy="1615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lang="en-US" sz="1800" b="1" smtClean="0">
                <a:solidFill>
                  <a:schemeClr val="accent2"/>
                </a:solidFill>
                <a:latin typeface="+mn-lt"/>
                <a:ea typeface="+mj-ea"/>
                <a:cs typeface="+mj-cs"/>
              </a:defRPr>
            </a:lvl1pPr>
            <a:lvl2pPr algn="l" rtl="0" eaLnBrk="1" fontAlgn="base" hangingPunct="1">
              <a:spcBef>
                <a:spcPct val="0"/>
              </a:spcBef>
              <a:spcAft>
                <a:spcPct val="0"/>
              </a:spcAft>
              <a:defRPr sz="2002">
                <a:solidFill>
                  <a:srgbClr val="3333FF"/>
                </a:solidFill>
                <a:latin typeface="Arial Black" pitchFamily="34" charset="0"/>
              </a:defRPr>
            </a:lvl2pPr>
            <a:lvl3pPr algn="l" rtl="0" eaLnBrk="1" fontAlgn="base" hangingPunct="1">
              <a:spcBef>
                <a:spcPct val="0"/>
              </a:spcBef>
              <a:spcAft>
                <a:spcPct val="0"/>
              </a:spcAft>
              <a:defRPr sz="2002">
                <a:solidFill>
                  <a:srgbClr val="3333FF"/>
                </a:solidFill>
                <a:latin typeface="Arial Black" pitchFamily="34" charset="0"/>
              </a:defRPr>
            </a:lvl3pPr>
            <a:lvl4pPr algn="l" rtl="0" eaLnBrk="1" fontAlgn="base" hangingPunct="1">
              <a:spcBef>
                <a:spcPct val="0"/>
              </a:spcBef>
              <a:spcAft>
                <a:spcPct val="0"/>
              </a:spcAft>
              <a:defRPr sz="2002">
                <a:solidFill>
                  <a:srgbClr val="3333FF"/>
                </a:solidFill>
                <a:latin typeface="Arial Black" pitchFamily="34" charset="0"/>
              </a:defRPr>
            </a:lvl4pPr>
            <a:lvl5pPr algn="l" rtl="0" eaLnBrk="1" fontAlgn="base" hangingPunct="1">
              <a:spcBef>
                <a:spcPct val="0"/>
              </a:spcBef>
              <a:spcAft>
                <a:spcPct val="0"/>
              </a:spcAft>
              <a:defRPr sz="2002">
                <a:solidFill>
                  <a:srgbClr val="3333FF"/>
                </a:solidFill>
                <a:latin typeface="Arial Black" pitchFamily="34" charset="0"/>
              </a:defRPr>
            </a:lvl5pPr>
            <a:lvl6pPr marL="457686" algn="l" rtl="0" eaLnBrk="1" fontAlgn="base" hangingPunct="1">
              <a:spcBef>
                <a:spcPct val="0"/>
              </a:spcBef>
              <a:spcAft>
                <a:spcPct val="0"/>
              </a:spcAft>
              <a:defRPr sz="2002">
                <a:solidFill>
                  <a:srgbClr val="3333FF"/>
                </a:solidFill>
                <a:latin typeface="Arial Black" pitchFamily="34" charset="0"/>
              </a:defRPr>
            </a:lvl6pPr>
            <a:lvl7pPr marL="915373" algn="l" rtl="0" eaLnBrk="1" fontAlgn="base" hangingPunct="1">
              <a:spcBef>
                <a:spcPct val="0"/>
              </a:spcBef>
              <a:spcAft>
                <a:spcPct val="0"/>
              </a:spcAft>
              <a:defRPr sz="2002">
                <a:solidFill>
                  <a:srgbClr val="3333FF"/>
                </a:solidFill>
                <a:latin typeface="Arial Black" pitchFamily="34" charset="0"/>
              </a:defRPr>
            </a:lvl7pPr>
            <a:lvl8pPr marL="1373061" algn="l" rtl="0" eaLnBrk="1" fontAlgn="base" hangingPunct="1">
              <a:spcBef>
                <a:spcPct val="0"/>
              </a:spcBef>
              <a:spcAft>
                <a:spcPct val="0"/>
              </a:spcAft>
              <a:defRPr sz="2002">
                <a:solidFill>
                  <a:srgbClr val="3333FF"/>
                </a:solidFill>
                <a:latin typeface="Arial Black" pitchFamily="34" charset="0"/>
              </a:defRPr>
            </a:lvl8pPr>
            <a:lvl9pPr marL="1830747" algn="l" rtl="0" eaLnBrk="1" fontAlgn="base" hangingPunct="1">
              <a:spcBef>
                <a:spcPct val="0"/>
              </a:spcBef>
              <a:spcAft>
                <a:spcPct val="0"/>
              </a:spcAft>
              <a:defRPr sz="2002">
                <a:solidFill>
                  <a:srgbClr val="3333FF"/>
                </a:solidFill>
                <a:latin typeface="Arial Black" pitchFamily="34" charset="0"/>
              </a:defRPr>
            </a:lvl9pPr>
          </a:lstStyle>
          <a:p>
            <a:pPr algn="l" rtl="0" fontAlgn="base">
              <a:spcBef>
                <a:spcPts val="0"/>
              </a:spcBef>
              <a:spcAft>
                <a:spcPts val="0"/>
              </a:spcAft>
              <a:defRPr/>
            </a:pPr>
            <a:r>
              <a:rPr lang="en-US" sz="1050" b="0" kern="1200" dirty="0">
                <a:solidFill>
                  <a:schemeClr val="bg1">
                    <a:lumMod val="75000"/>
                  </a:schemeClr>
                </a:solidFill>
                <a:latin typeface="Arial" charset="0"/>
                <a:ea typeface="+mn-ea"/>
                <a:cs typeface="Arial" charset="0"/>
              </a:rPr>
              <a:t>Unlocking the Power of Hybrid Workforce – Process Orchestration State of the Market Report 2023</a:t>
            </a:r>
          </a:p>
        </p:txBody>
      </p:sp>
      <p:sp>
        <p:nvSpPr>
          <p:cNvPr id="9" name="Rectangle 22">
            <a:extLst>
              <a:ext uri="{FF2B5EF4-FFF2-40B4-BE49-F238E27FC236}">
                <a16:creationId xmlns:a16="http://schemas.microsoft.com/office/drawing/2014/main" id="{02868FAE-42DB-44ED-B9A0-49CDF8CC7D44}"/>
              </a:ext>
            </a:extLst>
          </p:cNvPr>
          <p:cNvSpPr>
            <a:spLocks noGrp="1" noChangeArrowheads="1"/>
          </p:cNvSpPr>
          <p:nvPr>
            <p:ph type="body" idx="1"/>
          </p:nvPr>
        </p:nvSpPr>
        <p:spPr bwMode="auto">
          <a:xfrm>
            <a:off x="307974" y="1664208"/>
            <a:ext cx="11597513" cy="47365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Plain text</a:t>
            </a:r>
          </a:p>
          <a:p>
            <a:pPr lvl="1"/>
            <a:r>
              <a:rPr lang="en-US" kern="0"/>
              <a:t>Level 1 in font size 18</a:t>
            </a:r>
          </a:p>
          <a:p>
            <a:pPr lvl="2"/>
            <a:r>
              <a:rPr lang="en-US" kern="0"/>
              <a:t>Level 2 in font size 18</a:t>
            </a:r>
          </a:p>
          <a:p>
            <a:pPr lvl="3"/>
            <a:r>
              <a:rPr lang="en-US" kern="0"/>
              <a:t>Level 3 in font size 18</a:t>
            </a:r>
          </a:p>
          <a:p>
            <a:pPr lvl="4"/>
            <a:r>
              <a:rPr lang="en-US" kern="0"/>
              <a:t>Level 4 in font size 18</a:t>
            </a:r>
          </a:p>
          <a:p>
            <a:pPr lvl="4"/>
            <a:endParaRPr lang="en-US" kern="0"/>
          </a:p>
        </p:txBody>
      </p:sp>
      <p:sp>
        <p:nvSpPr>
          <p:cNvPr id="11" name="Rectangle 32">
            <a:extLst>
              <a:ext uri="{FF2B5EF4-FFF2-40B4-BE49-F238E27FC236}">
                <a16:creationId xmlns:a16="http://schemas.microsoft.com/office/drawing/2014/main" id="{E9474923-D520-45E8-A2AF-EA5FED2233EF}"/>
              </a:ext>
            </a:extLst>
          </p:cNvPr>
          <p:cNvSpPr txBox="1">
            <a:spLocks noChangeArrowheads="1"/>
          </p:cNvSpPr>
          <p:nvPr userDrawn="1"/>
        </p:nvSpPr>
        <p:spPr bwMode="auto">
          <a:xfrm>
            <a:off x="9061453" y="6613151"/>
            <a:ext cx="2844800" cy="142347"/>
          </a:xfrm>
          <a:prstGeom prst="rect">
            <a:avLst/>
          </a:prstGeom>
          <a:noFill/>
          <a:ln w="9525">
            <a:noFill/>
            <a:miter lim="800000"/>
            <a:headEnd/>
            <a:tailEnd/>
          </a:ln>
        </p:spPr>
        <p:txBody>
          <a:bodyPr lIns="0" tIns="0" rIns="0" bIns="0">
            <a:spAutoFit/>
          </a:bodyPr>
          <a:lstStyle>
            <a:lvl1pPr algn="r">
              <a:buClrTx/>
              <a:buSzTx/>
              <a:buFontTx/>
              <a:buNone/>
              <a:defRPr sz="1000">
                <a:cs typeface="+mn-cs"/>
              </a:defRPr>
            </a:lvl1pPr>
          </a:lstStyle>
          <a:p>
            <a:pPr>
              <a:spcBef>
                <a:spcPts val="0"/>
              </a:spcBef>
              <a:spcAft>
                <a:spcPts val="0"/>
              </a:spcAft>
              <a:defRPr/>
            </a:pPr>
            <a:fld id="{0F7304F5-D5AC-49FE-A6F7-0AE71E4843C3}" type="slidenum">
              <a:rPr lang="en-US" sz="901" b="0" smtClean="0">
                <a:solidFill>
                  <a:schemeClr val="bg1">
                    <a:lumMod val="75000"/>
                  </a:schemeClr>
                </a:solidFill>
              </a:rPr>
              <a:pPr>
                <a:spcBef>
                  <a:spcPts val="0"/>
                </a:spcBef>
                <a:spcAft>
                  <a:spcPts val="0"/>
                </a:spcAft>
                <a:defRPr/>
              </a:pPr>
              <a:t>‹#›</a:t>
            </a:fld>
            <a:endParaRPr lang="en-US" sz="901" b="0">
              <a:solidFill>
                <a:schemeClr val="bg1">
                  <a:lumMod val="75000"/>
                </a:schemeClr>
              </a:solidFill>
            </a:endParaRPr>
          </a:p>
        </p:txBody>
      </p:sp>
      <p:sp>
        <p:nvSpPr>
          <p:cNvPr id="12" name="Rectangle 11">
            <a:extLst>
              <a:ext uri="{FF2B5EF4-FFF2-40B4-BE49-F238E27FC236}">
                <a16:creationId xmlns:a16="http://schemas.microsoft.com/office/drawing/2014/main" id="{EA639A92-C5AB-40AC-BA9F-FB7741E1A3BF}"/>
              </a:ext>
            </a:extLst>
          </p:cNvPr>
          <p:cNvSpPr/>
          <p:nvPr userDrawn="1"/>
        </p:nvSpPr>
        <p:spPr bwMode="auto">
          <a:xfrm>
            <a:off x="-321" y="0"/>
            <a:ext cx="161395" cy="1414367"/>
          </a:xfrm>
          <a:prstGeom prst="rect">
            <a:avLst/>
          </a:prstGeom>
          <a:gradFill>
            <a:gsLst>
              <a:gs pos="7000">
                <a:schemeClr val="accent2"/>
              </a:gs>
              <a:gs pos="100000">
                <a:schemeClr val="accent5"/>
              </a:gs>
            </a:gsLst>
            <a:lin ang="5400000" scaled="1"/>
          </a:gra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sp>
        <p:nvSpPr>
          <p:cNvPr id="16" name="Rectangle 21">
            <a:extLst>
              <a:ext uri="{FF2B5EF4-FFF2-40B4-BE49-F238E27FC236}">
                <a16:creationId xmlns:a16="http://schemas.microsoft.com/office/drawing/2014/main" id="{5094D469-B92B-480A-BBDB-1B8B6AAF9C8C}"/>
              </a:ext>
            </a:extLst>
          </p:cNvPr>
          <p:cNvSpPr>
            <a:spLocks noGrp="1" noChangeArrowheads="1"/>
          </p:cNvSpPr>
          <p:nvPr>
            <p:ph type="title"/>
          </p:nvPr>
        </p:nvSpPr>
        <p:spPr bwMode="auto">
          <a:xfrm>
            <a:off x="307975" y="622777"/>
            <a:ext cx="11594592" cy="2769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Master title style is 18pt, “Arial Black” font</a:t>
            </a:r>
          </a:p>
        </p:txBody>
      </p:sp>
      <p:pic>
        <p:nvPicPr>
          <p:cNvPr id="13" name="Graphic 12">
            <a:extLst>
              <a:ext uri="{FF2B5EF4-FFF2-40B4-BE49-F238E27FC236}">
                <a16:creationId xmlns:a16="http://schemas.microsoft.com/office/drawing/2014/main" id="{5D7E66FD-F122-C24F-B2A1-CEB5ED85DE50}"/>
              </a:ext>
            </a:extLst>
          </p:cNvPr>
          <p:cNvPicPr>
            <a:picLocks noChangeAspect="1"/>
          </p:cNvPicPr>
          <p:nvPr userDrawn="1"/>
        </p:nvPicPr>
        <p:blipFill>
          <a:blip r:embed="rId13">
            <a:extLst>
              <a:ext uri="{96DAC541-7B7A-43D3-8B79-37D633B846F1}">
                <asvg:svgBlip xmlns:asvg="http://schemas.microsoft.com/office/drawing/2016/SVG/main" r:embed="rId14"/>
              </a:ext>
            </a:extLst>
          </a:blip>
          <a:srcRect/>
          <a:stretch/>
        </p:blipFill>
        <p:spPr>
          <a:xfrm>
            <a:off x="297020" y="6472321"/>
            <a:ext cx="903131" cy="395119"/>
          </a:xfrm>
          <a:prstGeom prst="rect">
            <a:avLst/>
          </a:prstGeom>
        </p:spPr>
      </p:pic>
    </p:spTree>
    <p:extLst>
      <p:ext uri="{BB962C8B-B14F-4D97-AF65-F5344CB8AC3E}">
        <p14:creationId xmlns:p14="http://schemas.microsoft.com/office/powerpoint/2010/main" val="1230176099"/>
      </p:ext>
    </p:extLst>
  </p:cSld>
  <p:clrMap bg1="lt1" tx1="dk1" bg2="lt2" tx2="dk2" accent1="accent1" accent2="accent2" accent3="accent3" accent4="accent4" accent5="accent5" accent6="accent6" hlink="hlink" folHlink="folHlink"/>
  <p:sldLayoutIdLst>
    <p:sldLayoutId id="2147484122" r:id="rId1"/>
    <p:sldLayoutId id="2147483960" r:id="rId2"/>
    <p:sldLayoutId id="2147483961" r:id="rId3"/>
    <p:sldLayoutId id="2147483959" r:id="rId4"/>
    <p:sldLayoutId id="2147483932" r:id="rId5"/>
    <p:sldLayoutId id="2147484118" r:id="rId6"/>
    <p:sldLayoutId id="2147484123" r:id="rId7"/>
    <p:sldLayoutId id="2147484121" r:id="rId8"/>
  </p:sldLayoutIdLst>
  <p:txStyles>
    <p:titleStyle>
      <a:lvl1pPr algn="l" rtl="0" eaLnBrk="1" fontAlgn="base" hangingPunct="1">
        <a:spcBef>
          <a:spcPct val="0"/>
        </a:spcBef>
        <a:spcAft>
          <a:spcPct val="0"/>
        </a:spcAft>
        <a:defRPr lang="en-US" sz="1800" b="0" smtClean="0">
          <a:solidFill>
            <a:schemeClr val="accent2"/>
          </a:solidFill>
          <a:latin typeface="+mj-lt"/>
          <a:ea typeface="+mj-ea"/>
          <a:cs typeface="+mj-cs"/>
        </a:defRPr>
      </a:lvl1pPr>
      <a:lvl2pPr algn="l" rtl="0" eaLnBrk="1" fontAlgn="base" hangingPunct="1">
        <a:spcBef>
          <a:spcPct val="0"/>
        </a:spcBef>
        <a:spcAft>
          <a:spcPct val="0"/>
        </a:spcAft>
        <a:defRPr sz="2002">
          <a:solidFill>
            <a:srgbClr val="3333FF"/>
          </a:solidFill>
          <a:latin typeface="Arial Black" pitchFamily="34" charset="0"/>
        </a:defRPr>
      </a:lvl2pPr>
      <a:lvl3pPr algn="l" rtl="0" eaLnBrk="1" fontAlgn="base" hangingPunct="1">
        <a:spcBef>
          <a:spcPct val="0"/>
        </a:spcBef>
        <a:spcAft>
          <a:spcPct val="0"/>
        </a:spcAft>
        <a:defRPr sz="2002">
          <a:solidFill>
            <a:srgbClr val="3333FF"/>
          </a:solidFill>
          <a:latin typeface="Arial Black" pitchFamily="34" charset="0"/>
        </a:defRPr>
      </a:lvl3pPr>
      <a:lvl4pPr algn="l" rtl="0" eaLnBrk="1" fontAlgn="base" hangingPunct="1">
        <a:spcBef>
          <a:spcPct val="0"/>
        </a:spcBef>
        <a:spcAft>
          <a:spcPct val="0"/>
        </a:spcAft>
        <a:defRPr sz="2002">
          <a:solidFill>
            <a:srgbClr val="3333FF"/>
          </a:solidFill>
          <a:latin typeface="Arial Black" pitchFamily="34" charset="0"/>
        </a:defRPr>
      </a:lvl4pPr>
      <a:lvl5pPr algn="l" rtl="0" eaLnBrk="1" fontAlgn="base" hangingPunct="1">
        <a:spcBef>
          <a:spcPct val="0"/>
        </a:spcBef>
        <a:spcAft>
          <a:spcPct val="0"/>
        </a:spcAft>
        <a:defRPr sz="2002">
          <a:solidFill>
            <a:srgbClr val="3333FF"/>
          </a:solidFill>
          <a:latin typeface="Arial Black" pitchFamily="34" charset="0"/>
        </a:defRPr>
      </a:lvl5pPr>
      <a:lvl6pPr marL="457686" algn="l" rtl="0" eaLnBrk="1" fontAlgn="base" hangingPunct="1">
        <a:spcBef>
          <a:spcPct val="0"/>
        </a:spcBef>
        <a:spcAft>
          <a:spcPct val="0"/>
        </a:spcAft>
        <a:defRPr sz="2002">
          <a:solidFill>
            <a:srgbClr val="3333FF"/>
          </a:solidFill>
          <a:latin typeface="Arial Black" pitchFamily="34" charset="0"/>
        </a:defRPr>
      </a:lvl6pPr>
      <a:lvl7pPr marL="915373" algn="l" rtl="0" eaLnBrk="1" fontAlgn="base" hangingPunct="1">
        <a:spcBef>
          <a:spcPct val="0"/>
        </a:spcBef>
        <a:spcAft>
          <a:spcPct val="0"/>
        </a:spcAft>
        <a:defRPr sz="2002">
          <a:solidFill>
            <a:srgbClr val="3333FF"/>
          </a:solidFill>
          <a:latin typeface="Arial Black" pitchFamily="34" charset="0"/>
        </a:defRPr>
      </a:lvl7pPr>
      <a:lvl8pPr marL="1373061" algn="l" rtl="0" eaLnBrk="1" fontAlgn="base" hangingPunct="1">
        <a:spcBef>
          <a:spcPct val="0"/>
        </a:spcBef>
        <a:spcAft>
          <a:spcPct val="0"/>
        </a:spcAft>
        <a:defRPr sz="2002">
          <a:solidFill>
            <a:srgbClr val="3333FF"/>
          </a:solidFill>
          <a:latin typeface="Arial Black" pitchFamily="34" charset="0"/>
        </a:defRPr>
      </a:lvl8pPr>
      <a:lvl9pPr marL="1830747" algn="l" rtl="0" eaLnBrk="1" fontAlgn="base" hangingPunct="1">
        <a:spcBef>
          <a:spcPct val="0"/>
        </a:spcBef>
        <a:spcAft>
          <a:spcPct val="0"/>
        </a:spcAft>
        <a:defRPr sz="2002">
          <a:solidFill>
            <a:srgbClr val="3333FF"/>
          </a:solidFill>
          <a:latin typeface="Arial Black" pitchFamily="34" charset="0"/>
        </a:defRPr>
      </a:lvl9pPr>
    </p:titleStyle>
    <p:bodyStyle>
      <a:lvl1pPr marL="0" indent="0" algn="l" rtl="0" eaLnBrk="1" fontAlgn="base" hangingPunct="1">
        <a:spcBef>
          <a:spcPct val="0"/>
        </a:spcBef>
        <a:spcAft>
          <a:spcPct val="0"/>
        </a:spcAft>
        <a:buClr>
          <a:schemeClr val="accent2"/>
        </a:buClr>
        <a:buSzPct val="70000"/>
        <a:buFont typeface="Wingdings" panose="05000000000000000000" pitchFamily="2" charset="2"/>
        <a:buNone/>
        <a:defRPr sz="1803">
          <a:solidFill>
            <a:schemeClr val="tx1"/>
          </a:solidFill>
          <a:latin typeface="+mn-lt"/>
          <a:ea typeface="+mn-ea"/>
          <a:cs typeface="+mn-cs"/>
        </a:defRPr>
      </a:lvl1pPr>
      <a:lvl2pPr marL="228600" indent="-228600" algn="l" rtl="0" eaLnBrk="1" fontAlgn="base" hangingPunct="1">
        <a:spcBef>
          <a:spcPct val="0"/>
        </a:spcBef>
        <a:spcAft>
          <a:spcPct val="0"/>
        </a:spcAft>
        <a:buClr>
          <a:schemeClr val="accent2"/>
        </a:buClr>
        <a:buSzPct val="70000"/>
        <a:buFont typeface="Wingdings" panose="05000000000000000000" pitchFamily="2" charset="2"/>
        <a:buChar char="l"/>
        <a:defRPr sz="1803">
          <a:solidFill>
            <a:schemeClr val="tx1"/>
          </a:solidFill>
          <a:latin typeface="+mn-lt"/>
        </a:defRPr>
      </a:lvl2pPr>
      <a:lvl3pPr marL="457200" indent="-228600" algn="l" rtl="0" eaLnBrk="1" fontAlgn="base" hangingPunct="1">
        <a:spcBef>
          <a:spcPct val="0"/>
        </a:spcBef>
        <a:spcAft>
          <a:spcPct val="0"/>
        </a:spcAft>
        <a:buClr>
          <a:schemeClr val="bg2"/>
        </a:buClr>
        <a:buSzPct val="100000"/>
        <a:buFont typeface="Arial" panose="020B0604020202020204" pitchFamily="34" charset="0"/>
        <a:buChar char="–"/>
        <a:defRPr sz="1803">
          <a:solidFill>
            <a:schemeClr val="tx1"/>
          </a:solidFill>
          <a:latin typeface="+mn-lt"/>
        </a:defRPr>
      </a:lvl3pPr>
      <a:lvl4pPr marL="685800" indent="-228600" algn="l" rtl="0" eaLnBrk="1" fontAlgn="base" hangingPunct="1">
        <a:spcBef>
          <a:spcPct val="0"/>
        </a:spcBef>
        <a:spcAft>
          <a:spcPct val="0"/>
        </a:spcAft>
        <a:buClr>
          <a:schemeClr val="accent5"/>
        </a:buClr>
        <a:buSzPct val="55000"/>
        <a:buFont typeface="Wingdings" panose="05000000000000000000" pitchFamily="2" charset="2"/>
        <a:buChar char="u"/>
        <a:defRPr sz="1803">
          <a:solidFill>
            <a:schemeClr val="tx1"/>
          </a:solidFill>
          <a:latin typeface="+mn-lt"/>
        </a:defRPr>
      </a:lvl4pPr>
      <a:lvl5pPr marL="914400" indent="-228600" algn="l" rtl="0" eaLnBrk="1" fontAlgn="base" hangingPunct="1">
        <a:spcBef>
          <a:spcPct val="0"/>
        </a:spcBef>
        <a:spcAft>
          <a:spcPct val="0"/>
        </a:spcAft>
        <a:buClr>
          <a:schemeClr val="tx1"/>
        </a:buClr>
        <a:buSzPct val="70000"/>
        <a:buFont typeface="Courier New" pitchFamily="49" charset="0"/>
        <a:buChar char="o"/>
        <a:defRPr sz="1803">
          <a:solidFill>
            <a:schemeClr val="tx1"/>
          </a:solidFill>
          <a:latin typeface="+mn-lt"/>
        </a:defRPr>
      </a:lvl5pPr>
      <a:lvl6pPr marL="1369883" indent="-227255" algn="l" rtl="0" eaLnBrk="1" fontAlgn="base" hangingPunct="1">
        <a:spcBef>
          <a:spcPct val="0"/>
        </a:spcBef>
        <a:spcAft>
          <a:spcPct val="0"/>
        </a:spcAft>
        <a:buClr>
          <a:srgbClr val="3DA7A7"/>
        </a:buClr>
        <a:buChar char="•"/>
        <a:defRPr sz="1602">
          <a:solidFill>
            <a:schemeClr val="tx1"/>
          </a:solidFill>
          <a:latin typeface="+mn-lt"/>
        </a:defRPr>
      </a:lvl6pPr>
      <a:lvl7pPr marL="1827569" indent="-227255" algn="l" rtl="0" eaLnBrk="1" fontAlgn="base" hangingPunct="1">
        <a:spcBef>
          <a:spcPct val="0"/>
        </a:spcBef>
        <a:spcAft>
          <a:spcPct val="0"/>
        </a:spcAft>
        <a:buClr>
          <a:srgbClr val="3DA7A7"/>
        </a:buClr>
        <a:buChar char="•"/>
        <a:defRPr sz="1602">
          <a:solidFill>
            <a:schemeClr val="tx1"/>
          </a:solidFill>
          <a:latin typeface="+mn-lt"/>
        </a:defRPr>
      </a:lvl7pPr>
      <a:lvl8pPr marL="2285256" indent="-227255" algn="l" rtl="0" eaLnBrk="1" fontAlgn="base" hangingPunct="1">
        <a:spcBef>
          <a:spcPct val="0"/>
        </a:spcBef>
        <a:spcAft>
          <a:spcPct val="0"/>
        </a:spcAft>
        <a:buClr>
          <a:srgbClr val="3DA7A7"/>
        </a:buClr>
        <a:buChar char="•"/>
        <a:defRPr sz="1602">
          <a:solidFill>
            <a:schemeClr val="tx1"/>
          </a:solidFill>
          <a:latin typeface="+mn-lt"/>
        </a:defRPr>
      </a:lvl8pPr>
      <a:lvl9pPr marL="2742942" indent="-227255" algn="l" rtl="0" eaLnBrk="1" fontAlgn="base" hangingPunct="1">
        <a:spcBef>
          <a:spcPct val="0"/>
        </a:spcBef>
        <a:spcAft>
          <a:spcPct val="0"/>
        </a:spcAft>
        <a:buClr>
          <a:srgbClr val="3DA7A7"/>
        </a:buClr>
        <a:buChar char="•"/>
        <a:defRPr sz="1602">
          <a:solidFill>
            <a:schemeClr val="tx1"/>
          </a:solidFill>
          <a:latin typeface="+mn-lt"/>
        </a:defRPr>
      </a:lvl9pPr>
    </p:bodyStyle>
    <p:otherStyle>
      <a:defPPr>
        <a:defRPr lang="en-US"/>
      </a:defPPr>
      <a:lvl1pPr marL="0" algn="l" defTabSz="915373" rtl="0" eaLnBrk="1" latinLnBrk="0" hangingPunct="1">
        <a:defRPr sz="1803" kern="1200">
          <a:solidFill>
            <a:schemeClr val="tx1"/>
          </a:solidFill>
          <a:latin typeface="+mn-lt"/>
          <a:ea typeface="+mn-ea"/>
          <a:cs typeface="+mn-cs"/>
        </a:defRPr>
      </a:lvl1pPr>
      <a:lvl2pPr marL="457686" algn="l" defTabSz="915373" rtl="0" eaLnBrk="1" latinLnBrk="0" hangingPunct="1">
        <a:defRPr sz="1803" kern="1200">
          <a:solidFill>
            <a:schemeClr val="tx1"/>
          </a:solidFill>
          <a:latin typeface="+mn-lt"/>
          <a:ea typeface="+mn-ea"/>
          <a:cs typeface="+mn-cs"/>
        </a:defRPr>
      </a:lvl2pPr>
      <a:lvl3pPr marL="915373" algn="l" defTabSz="915373" rtl="0" eaLnBrk="1" latinLnBrk="0" hangingPunct="1">
        <a:defRPr sz="1803" kern="1200">
          <a:solidFill>
            <a:schemeClr val="tx1"/>
          </a:solidFill>
          <a:latin typeface="+mn-lt"/>
          <a:ea typeface="+mn-ea"/>
          <a:cs typeface="+mn-cs"/>
        </a:defRPr>
      </a:lvl3pPr>
      <a:lvl4pPr marL="1373061" algn="l" defTabSz="915373" rtl="0" eaLnBrk="1" latinLnBrk="0" hangingPunct="1">
        <a:defRPr sz="1803" kern="1200">
          <a:solidFill>
            <a:schemeClr val="tx1"/>
          </a:solidFill>
          <a:latin typeface="+mn-lt"/>
          <a:ea typeface="+mn-ea"/>
          <a:cs typeface="+mn-cs"/>
        </a:defRPr>
      </a:lvl4pPr>
      <a:lvl5pPr marL="1830747" algn="l" defTabSz="915373" rtl="0" eaLnBrk="1" latinLnBrk="0" hangingPunct="1">
        <a:defRPr sz="1803" kern="1200">
          <a:solidFill>
            <a:schemeClr val="tx1"/>
          </a:solidFill>
          <a:latin typeface="+mn-lt"/>
          <a:ea typeface="+mn-ea"/>
          <a:cs typeface="+mn-cs"/>
        </a:defRPr>
      </a:lvl5pPr>
      <a:lvl6pPr marL="2288434" algn="l" defTabSz="915373" rtl="0" eaLnBrk="1" latinLnBrk="0" hangingPunct="1">
        <a:defRPr sz="1803" kern="1200">
          <a:solidFill>
            <a:schemeClr val="tx1"/>
          </a:solidFill>
          <a:latin typeface="+mn-lt"/>
          <a:ea typeface="+mn-ea"/>
          <a:cs typeface="+mn-cs"/>
        </a:defRPr>
      </a:lvl6pPr>
      <a:lvl7pPr marL="2746120" algn="l" defTabSz="915373" rtl="0" eaLnBrk="1" latinLnBrk="0" hangingPunct="1">
        <a:defRPr sz="1803" kern="1200">
          <a:solidFill>
            <a:schemeClr val="tx1"/>
          </a:solidFill>
          <a:latin typeface="+mn-lt"/>
          <a:ea typeface="+mn-ea"/>
          <a:cs typeface="+mn-cs"/>
        </a:defRPr>
      </a:lvl7pPr>
      <a:lvl8pPr marL="3203808" algn="l" defTabSz="915373" rtl="0" eaLnBrk="1" latinLnBrk="0" hangingPunct="1">
        <a:defRPr sz="1803" kern="1200">
          <a:solidFill>
            <a:schemeClr val="tx1"/>
          </a:solidFill>
          <a:latin typeface="+mn-lt"/>
          <a:ea typeface="+mn-ea"/>
          <a:cs typeface="+mn-cs"/>
        </a:defRPr>
      </a:lvl8pPr>
      <a:lvl9pPr marL="3661495" algn="l" defTabSz="915373" rtl="0" eaLnBrk="1" latinLnBrk="0" hangingPunct="1">
        <a:defRPr sz="180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4">
          <p15:clr>
            <a:srgbClr val="F26B43"/>
          </p15:clr>
        </p15:guide>
        <p15:guide id="2" pos="7500">
          <p15:clr>
            <a:srgbClr val="F26B43"/>
          </p15:clr>
        </p15:guide>
        <p15:guide id="7" orient="horz" pos="1044" userDrawn="1">
          <p15:clr>
            <a:srgbClr val="F26B43"/>
          </p15:clr>
        </p15:guide>
        <p15:guide id="8" orient="horz" pos="4032">
          <p15:clr>
            <a:srgbClr val="F26B43"/>
          </p15:clr>
        </p15:guide>
        <p15:guide id="9" orient="horz" pos="3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hyperlink" Target="https://www2.everestgrp.com/reports?Cat0=841" TargetMode="Externa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hyperlink" Target="https://www.everestgrp.com/custom-decision-support/" TargetMode="External"/><Relationship Id="rId5" Type="http://schemas.openxmlformats.org/officeDocument/2006/relationships/hyperlink" Target="mailto:info@everestgrp.com" TargetMode="External"/><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hyperlink" Target="mailto:amardeep.modi@everestgrp.com" TargetMode="External"/><Relationship Id="rId7" Type="http://schemas.openxmlformats.org/officeDocument/2006/relationships/hyperlink" Target="mailto:varun.jain@everestgrp.com"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mailto:santhosh.kumar@everestgrp.com" TargetMode="External"/><Relationship Id="rId5" Type="http://schemas.openxmlformats.org/officeDocument/2006/relationships/hyperlink" Target="mailto:samikshya.meher@everestgrp.com" TargetMode="External"/><Relationship Id="rId4" Type="http://schemas.openxmlformats.org/officeDocument/2006/relationships/hyperlink" Target="mailto:jonty.padia@everestgrp.com"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jpeg"/><Relationship Id="rId18" Type="http://schemas.openxmlformats.org/officeDocument/2006/relationships/image" Target="../media/image32.png"/><Relationship Id="rId3" Type="http://schemas.openxmlformats.org/officeDocument/2006/relationships/image" Target="../media/image17.png"/><Relationship Id="rId21" Type="http://schemas.openxmlformats.org/officeDocument/2006/relationships/image" Target="../media/image35.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 Type="http://schemas.openxmlformats.org/officeDocument/2006/relationships/notesSlide" Target="../notesSlides/notesSlide4.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slideLayout" Target="../slideLayouts/slideLayout7.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png"/><Relationship Id="rId19" Type="http://schemas.openxmlformats.org/officeDocument/2006/relationships/image" Target="../media/image33.jpe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png"/><Relationship Id="rId18" Type="http://schemas.openxmlformats.org/officeDocument/2006/relationships/image" Target="../media/image48.png"/><Relationship Id="rId3" Type="http://schemas.openxmlformats.org/officeDocument/2006/relationships/chart" Target="../charts/chart1.xml"/><Relationship Id="rId21" Type="http://schemas.openxmlformats.org/officeDocument/2006/relationships/image" Target="../media/image26.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png"/><Relationship Id="rId2" Type="http://schemas.openxmlformats.org/officeDocument/2006/relationships/notesSlide" Target="../notesSlides/notesSlide6.xml"/><Relationship Id="rId16" Type="http://schemas.openxmlformats.org/officeDocument/2006/relationships/image" Target="../media/image46.png"/><Relationship Id="rId20" Type="http://schemas.openxmlformats.org/officeDocument/2006/relationships/image" Target="../media/image49.png"/><Relationship Id="rId1" Type="http://schemas.openxmlformats.org/officeDocument/2006/relationships/slideLayout" Target="../slideLayouts/slideLayout7.xml"/><Relationship Id="rId6" Type="http://schemas.openxmlformats.org/officeDocument/2006/relationships/image" Target="../media/image36.png"/><Relationship Id="rId11" Type="http://schemas.openxmlformats.org/officeDocument/2006/relationships/image" Target="../media/image41.jpeg"/><Relationship Id="rId24" Type="http://schemas.openxmlformats.org/officeDocument/2006/relationships/chart" Target="../charts/chart4.xml"/><Relationship Id="rId5" Type="http://schemas.openxmlformats.org/officeDocument/2006/relationships/chart" Target="../charts/chart3.xml"/><Relationship Id="rId15" Type="http://schemas.openxmlformats.org/officeDocument/2006/relationships/image" Target="../media/image45.png"/><Relationship Id="rId23" Type="http://schemas.openxmlformats.org/officeDocument/2006/relationships/image" Target="../media/image51.png"/><Relationship Id="rId10" Type="http://schemas.openxmlformats.org/officeDocument/2006/relationships/image" Target="../media/image40.jpeg"/><Relationship Id="rId19" Type="http://schemas.openxmlformats.org/officeDocument/2006/relationships/image" Target="../media/image34.png"/><Relationship Id="rId4" Type="http://schemas.openxmlformats.org/officeDocument/2006/relationships/chart" Target="../charts/chart2.xml"/><Relationship Id="rId9" Type="http://schemas.openxmlformats.org/officeDocument/2006/relationships/image" Target="../media/image39.jpeg"/><Relationship Id="rId14" Type="http://schemas.openxmlformats.org/officeDocument/2006/relationships/image" Target="../media/image44.png"/><Relationship Id="rId22" Type="http://schemas.openxmlformats.org/officeDocument/2006/relationships/image" Target="../media/image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5ACF04-1A22-7C10-A7DB-792E4E9974D1}"/>
              </a:ext>
            </a:extLst>
          </p:cNvPr>
          <p:cNvSpPr/>
          <p:nvPr/>
        </p:nvSpPr>
        <p:spPr>
          <a:xfrm>
            <a:off x="609598" y="1662021"/>
            <a:ext cx="11296652" cy="1031051"/>
          </a:xfrm>
          <a:prstGeom prst="rect">
            <a:avLst/>
          </a:prstGeom>
        </p:spPr>
        <p:txBody>
          <a:bodyPr wrap="square" lIns="0" tIns="0" rIns="0" bIns="0" anchor="b">
            <a:spAutoFit/>
          </a:bodyPr>
          <a:lstStyle/>
          <a:p>
            <a:pPr defTabSz="915373" fontAlgn="auto">
              <a:spcBef>
                <a:spcPts val="0"/>
              </a:spcBef>
              <a:spcAft>
                <a:spcPts val="600"/>
              </a:spcAft>
              <a:defRPr/>
            </a:pPr>
            <a:r>
              <a:rPr lang="en-US" sz="2200" dirty="0">
                <a:solidFill>
                  <a:schemeClr val="accent2"/>
                </a:solidFill>
                <a:latin typeface="+mj-lt"/>
                <a:cs typeface="+mn-cs"/>
              </a:rPr>
              <a:t>Unlocking the Power of Hybrid Workforce – Process Orchestration State of the Market 2023</a:t>
            </a:r>
          </a:p>
          <a:p>
            <a:pPr defTabSz="915373" fontAlgn="auto">
              <a:spcBef>
                <a:spcPts val="0"/>
              </a:spcBef>
              <a:spcAft>
                <a:spcPts val="0"/>
              </a:spcAft>
              <a:defRPr/>
            </a:pPr>
            <a:r>
              <a:rPr lang="en-US" sz="1800" dirty="0">
                <a:solidFill>
                  <a:schemeClr val="accent5">
                    <a:lumMod val="60000"/>
                    <a:lumOff val="40000"/>
                  </a:schemeClr>
                </a:solidFill>
              </a:rPr>
              <a:t>February 2023: Complimentary Abstract / Table of Contents</a:t>
            </a:r>
          </a:p>
        </p:txBody>
      </p:sp>
    </p:spTree>
    <p:extLst>
      <p:ext uri="{BB962C8B-B14F-4D97-AF65-F5344CB8AC3E}">
        <p14:creationId xmlns:p14="http://schemas.microsoft.com/office/powerpoint/2010/main" val="38292313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DF8164-BC6B-4F94-9991-067D9A0661BE}"/>
              </a:ext>
            </a:extLst>
          </p:cNvPr>
          <p:cNvSpPr>
            <a:spLocks noGrp="1"/>
          </p:cNvSpPr>
          <p:nvPr>
            <p:ph type="title"/>
          </p:nvPr>
        </p:nvSpPr>
        <p:spPr>
          <a:xfrm>
            <a:off x="307975" y="622777"/>
            <a:ext cx="11612880" cy="553998"/>
          </a:xfrm>
        </p:spPr>
        <p:txBody>
          <a:bodyPr/>
          <a:lstStyle/>
          <a:p>
            <a:r>
              <a:rPr lang="en-US"/>
              <a:t>Research calendar</a:t>
            </a:r>
            <a:br>
              <a:rPr lang="en-US"/>
            </a:br>
            <a:r>
              <a:rPr lang="en-US" b="0">
                <a:latin typeface="+mn-lt"/>
              </a:rPr>
              <a:t>Service Optimization Technologies (SOT)</a:t>
            </a:r>
            <a:endParaRPr lang="en-US">
              <a:highlight>
                <a:srgbClr val="FFFF00"/>
              </a:highlight>
              <a:latin typeface="+mn-lt"/>
            </a:endParaRPr>
          </a:p>
        </p:txBody>
      </p:sp>
      <p:grpSp>
        <p:nvGrpSpPr>
          <p:cNvPr id="20" name="Group 19">
            <a:extLst>
              <a:ext uri="{FF2B5EF4-FFF2-40B4-BE49-F238E27FC236}">
                <a16:creationId xmlns:a16="http://schemas.microsoft.com/office/drawing/2014/main" id="{8E635982-890B-4368-968B-F6FA113BC76B}"/>
              </a:ext>
            </a:extLst>
          </p:cNvPr>
          <p:cNvGrpSpPr/>
          <p:nvPr/>
        </p:nvGrpSpPr>
        <p:grpSpPr>
          <a:xfrm>
            <a:off x="9142455" y="1409257"/>
            <a:ext cx="2763032" cy="138643"/>
            <a:chOff x="6168926" y="1360605"/>
            <a:chExt cx="2760155" cy="138498"/>
          </a:xfrm>
        </p:grpSpPr>
        <p:grpSp>
          <p:nvGrpSpPr>
            <p:cNvPr id="21" name="Group 20">
              <a:extLst>
                <a:ext uri="{FF2B5EF4-FFF2-40B4-BE49-F238E27FC236}">
                  <a16:creationId xmlns:a16="http://schemas.microsoft.com/office/drawing/2014/main" id="{B127E5E2-0CD0-44E0-9614-5D44B8ECEA5F}"/>
                </a:ext>
              </a:extLst>
            </p:cNvPr>
            <p:cNvGrpSpPr/>
            <p:nvPr/>
          </p:nvGrpSpPr>
          <p:grpSpPr>
            <a:xfrm>
              <a:off x="7072001" y="1360605"/>
              <a:ext cx="675559" cy="138498"/>
              <a:chOff x="7072001" y="1360605"/>
              <a:chExt cx="675559" cy="138498"/>
            </a:xfrm>
          </p:grpSpPr>
          <p:sp>
            <p:nvSpPr>
              <p:cNvPr id="27" name="KMA1D1FEAF">
                <a:extLst>
                  <a:ext uri="{FF2B5EF4-FFF2-40B4-BE49-F238E27FC236}">
                    <a16:creationId xmlns:a16="http://schemas.microsoft.com/office/drawing/2014/main" id="{14873824-FD6C-4AA7-9EA7-D1E84CBE8374}"/>
                  </a:ext>
                </a:extLst>
              </p:cNvPr>
              <p:cNvSpPr>
                <a:spLocks noChangeArrowheads="1"/>
              </p:cNvSpPr>
              <p:nvPr>
                <p:custDataLst>
                  <p:tags r:id="rId3"/>
                </p:custDataLst>
              </p:nvPr>
            </p:nvSpPr>
            <p:spPr bwMode="gray">
              <a:xfrm>
                <a:off x="7072001" y="1371600"/>
                <a:ext cx="205775" cy="119447"/>
              </a:xfrm>
              <a:prstGeom prst="rect">
                <a:avLst/>
              </a:prstGeom>
              <a:solidFill>
                <a:schemeClr val="bg1">
                  <a:lumMod val="65000"/>
                </a:schemeClr>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28" name="TextBox 27">
                <a:extLst>
                  <a:ext uri="{FF2B5EF4-FFF2-40B4-BE49-F238E27FC236}">
                    <a16:creationId xmlns:a16="http://schemas.microsoft.com/office/drawing/2014/main" id="{654E2CFB-5C2B-44BA-9B81-9CFBB6B80F49}"/>
                  </a:ext>
                </a:extLst>
              </p:cNvPr>
              <p:cNvSpPr txBox="1"/>
              <p:nvPr/>
            </p:nvSpPr>
            <p:spPr bwMode="gray">
              <a:xfrm>
                <a:off x="7324367" y="1360605"/>
                <a:ext cx="423193" cy="138498"/>
              </a:xfrm>
              <a:prstGeom prst="rect">
                <a:avLst/>
              </a:prstGeom>
              <a:noFill/>
            </p:spPr>
            <p:txBody>
              <a:bodyPr wrap="none" lIns="0" tIns="0" rIns="0" bIns="0" rtlCol="0">
                <a:spAutoFit/>
              </a:bodyPr>
              <a:lstStyle/>
              <a:p>
                <a:pPr>
                  <a:spcBef>
                    <a:spcPts val="901"/>
                  </a:spcBef>
                  <a:spcAft>
                    <a:spcPts val="0"/>
                  </a:spcAft>
                </a:pPr>
                <a:r>
                  <a:rPr lang="en-US" sz="901">
                    <a:latin typeface="+mn-lt"/>
                  </a:rPr>
                  <a:t>Planned</a:t>
                </a:r>
              </a:p>
            </p:txBody>
          </p:sp>
        </p:grpSp>
        <p:grpSp>
          <p:nvGrpSpPr>
            <p:cNvPr id="22" name="Group 21">
              <a:extLst>
                <a:ext uri="{FF2B5EF4-FFF2-40B4-BE49-F238E27FC236}">
                  <a16:creationId xmlns:a16="http://schemas.microsoft.com/office/drawing/2014/main" id="{72AE72FF-C777-410B-AC0D-5F87DFBDCA4D}"/>
                </a:ext>
              </a:extLst>
            </p:cNvPr>
            <p:cNvGrpSpPr/>
            <p:nvPr/>
          </p:nvGrpSpPr>
          <p:grpSpPr>
            <a:xfrm>
              <a:off x="6168926" y="1360605"/>
              <a:ext cx="747485" cy="138498"/>
              <a:chOff x="6168926" y="1360605"/>
              <a:chExt cx="747485" cy="138498"/>
            </a:xfrm>
          </p:grpSpPr>
          <p:sp>
            <p:nvSpPr>
              <p:cNvPr id="25" name="KMA1D1FEAF">
                <a:extLst>
                  <a:ext uri="{FF2B5EF4-FFF2-40B4-BE49-F238E27FC236}">
                    <a16:creationId xmlns:a16="http://schemas.microsoft.com/office/drawing/2014/main" id="{2924577A-F479-4D49-8C52-70471B913943}"/>
                  </a:ext>
                </a:extLst>
              </p:cNvPr>
              <p:cNvSpPr>
                <a:spLocks noChangeArrowheads="1"/>
              </p:cNvSpPr>
              <p:nvPr>
                <p:custDataLst>
                  <p:tags r:id="rId2"/>
                </p:custDataLst>
              </p:nvPr>
            </p:nvSpPr>
            <p:spPr bwMode="gray">
              <a:xfrm>
                <a:off x="6168926" y="1371600"/>
                <a:ext cx="205775" cy="119447"/>
              </a:xfrm>
              <a:prstGeom prst="rect">
                <a:avLst/>
              </a:prstGeom>
              <a:solidFill>
                <a:schemeClr val="accent2"/>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26" name="TextBox 25">
                <a:extLst>
                  <a:ext uri="{FF2B5EF4-FFF2-40B4-BE49-F238E27FC236}">
                    <a16:creationId xmlns:a16="http://schemas.microsoft.com/office/drawing/2014/main" id="{88C11A34-58F1-4457-A1B4-2BE7AB11D57E}"/>
                  </a:ext>
                </a:extLst>
              </p:cNvPr>
              <p:cNvSpPr txBox="1"/>
              <p:nvPr/>
            </p:nvSpPr>
            <p:spPr bwMode="gray">
              <a:xfrm>
                <a:off x="6409862" y="1360605"/>
                <a:ext cx="506549" cy="138498"/>
              </a:xfrm>
              <a:prstGeom prst="rect">
                <a:avLst/>
              </a:prstGeom>
              <a:noFill/>
            </p:spPr>
            <p:txBody>
              <a:bodyPr wrap="none" lIns="0" tIns="0" rIns="0" bIns="0" rtlCol="0">
                <a:spAutoFit/>
              </a:bodyPr>
              <a:lstStyle/>
              <a:p>
                <a:pPr>
                  <a:spcBef>
                    <a:spcPts val="901"/>
                  </a:spcBef>
                  <a:spcAft>
                    <a:spcPts val="0"/>
                  </a:spcAft>
                </a:pPr>
                <a:r>
                  <a:rPr lang="en-US" sz="901">
                    <a:latin typeface="+mn-lt"/>
                  </a:rPr>
                  <a:t>Published</a:t>
                </a:r>
              </a:p>
            </p:txBody>
          </p:sp>
        </p:grpSp>
        <p:sp>
          <p:nvSpPr>
            <p:cNvPr id="23" name="KMA1D1FEAF">
              <a:extLst>
                <a:ext uri="{FF2B5EF4-FFF2-40B4-BE49-F238E27FC236}">
                  <a16:creationId xmlns:a16="http://schemas.microsoft.com/office/drawing/2014/main" id="{A6CF8528-EB99-4682-8880-7FA61D51EE9B}"/>
                </a:ext>
              </a:extLst>
            </p:cNvPr>
            <p:cNvSpPr>
              <a:spLocks noChangeArrowheads="1"/>
            </p:cNvSpPr>
            <p:nvPr>
              <p:custDataLst>
                <p:tags r:id="rId1"/>
              </p:custDataLst>
            </p:nvPr>
          </p:nvSpPr>
          <p:spPr bwMode="gray">
            <a:xfrm>
              <a:off x="7883531" y="1373941"/>
              <a:ext cx="205775" cy="118748"/>
            </a:xfrm>
            <a:prstGeom prst="rect">
              <a:avLst/>
            </a:prstGeom>
            <a:solidFill>
              <a:schemeClr val="tx1"/>
            </a:solidFill>
            <a:ln w="9525">
              <a:noFill/>
              <a:prstDash val="dash"/>
              <a:miter lim="800000"/>
              <a:headEnd/>
              <a:tailEnd/>
            </a:ln>
            <a:effectLst/>
          </p:spPr>
          <p:txBody>
            <a:bodyPr wrap="square" lIns="45768" tIns="45762" rIns="45768" bIns="45762">
              <a:noAutofit/>
            </a:bodyPr>
            <a:lstStyle/>
            <a:p>
              <a:pPr fontAlgn="auto">
                <a:spcBef>
                  <a:spcPts val="901"/>
                </a:spcBef>
                <a:spcAft>
                  <a:spcPts val="0"/>
                </a:spcAft>
                <a:buClr>
                  <a:srgbClr val="0000FF"/>
                </a:buClr>
                <a:buSzPct val="60000"/>
              </a:pPr>
              <a:endParaRPr lang="en-US" sz="1101" b="1" kern="0">
                <a:latin typeface="+mn-lt"/>
              </a:endParaRPr>
            </a:p>
          </p:txBody>
        </p:sp>
        <p:sp>
          <p:nvSpPr>
            <p:cNvPr id="24" name="TextBox 23">
              <a:extLst>
                <a:ext uri="{FF2B5EF4-FFF2-40B4-BE49-F238E27FC236}">
                  <a16:creationId xmlns:a16="http://schemas.microsoft.com/office/drawing/2014/main" id="{E7009BBD-CA47-4A90-A5C5-221DDC99B705}"/>
                </a:ext>
              </a:extLst>
            </p:cNvPr>
            <p:cNvSpPr txBox="1"/>
            <p:nvPr/>
          </p:nvSpPr>
          <p:spPr bwMode="gray">
            <a:xfrm>
              <a:off x="8133992" y="1360605"/>
              <a:ext cx="795089" cy="138498"/>
            </a:xfrm>
            <a:prstGeom prst="rect">
              <a:avLst/>
            </a:prstGeom>
            <a:noFill/>
          </p:spPr>
          <p:txBody>
            <a:bodyPr wrap="none" lIns="0" tIns="0" rIns="0" bIns="0" rtlCol="0">
              <a:spAutoFit/>
            </a:bodyPr>
            <a:lstStyle/>
            <a:p>
              <a:pPr>
                <a:spcBef>
                  <a:spcPts val="901"/>
                </a:spcBef>
                <a:spcAft>
                  <a:spcPts val="0"/>
                </a:spcAft>
              </a:pPr>
              <a:r>
                <a:rPr lang="en-US" sz="901">
                  <a:latin typeface="+mn-lt"/>
                </a:rPr>
                <a:t>Current release</a:t>
              </a:r>
            </a:p>
          </p:txBody>
        </p:sp>
      </p:grpSp>
      <p:sp>
        <p:nvSpPr>
          <p:cNvPr id="18" name="Text Box 12">
            <a:extLst>
              <a:ext uri="{FF2B5EF4-FFF2-40B4-BE49-F238E27FC236}">
                <a16:creationId xmlns:a16="http://schemas.microsoft.com/office/drawing/2014/main" id="{D626C4F4-5D6F-4B02-A59D-3D3511603D98}"/>
              </a:ext>
            </a:extLst>
          </p:cNvPr>
          <p:cNvSpPr txBox="1">
            <a:spLocks noChangeArrowheads="1"/>
          </p:cNvSpPr>
          <p:nvPr/>
        </p:nvSpPr>
        <p:spPr bwMode="gray">
          <a:xfrm>
            <a:off x="307975" y="6287214"/>
            <a:ext cx="1161288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b">
            <a:spAutoFit/>
          </a:bodyPr>
          <a:lstStyle>
            <a:defPPr>
              <a:defRPr lang="en-US"/>
            </a:defPPr>
            <a:lvl1pPr marL="356616" lvl="0" indent="-356616" eaLnBrk="1" hangingPunct="1">
              <a:buClr>
                <a:srgbClr val="005A8C"/>
              </a:buClr>
              <a:buSzPct val="60000"/>
              <a:tabLst>
                <a:tab pos="246888" algn="r"/>
              </a:tabLst>
              <a:defRPr kumimoji="0" sz="800" b="0" i="0" u="none" strike="noStrike" cap="none" spc="0" normalizeH="0" baseline="0">
                <a:ln>
                  <a:noFill/>
                </a:ln>
                <a:solidFill>
                  <a:srgbClr val="FF0000"/>
                </a:solidFill>
                <a:effectLst/>
                <a:uLnTx/>
                <a:uFillTx/>
              </a:defRPr>
            </a:lvl1pPr>
            <a:lvl2pPr marL="742950" indent="-285750" eaLnBrk="0" hangingPunct="0">
              <a:tabLst>
                <a:tab pos="519113" algn="r"/>
              </a:tabLst>
            </a:lvl2pPr>
            <a:lvl3pPr marL="1143000" indent="-228600" eaLnBrk="0" hangingPunct="0">
              <a:tabLst>
                <a:tab pos="519113" algn="r"/>
              </a:tabLst>
            </a:lvl3pPr>
            <a:lvl4pPr marL="1600200" indent="-228600" eaLnBrk="0" hangingPunct="0">
              <a:tabLst>
                <a:tab pos="519113" algn="r"/>
              </a:tabLst>
            </a:lvl4pPr>
            <a:lvl5pPr marL="2057400" indent="-228600" eaLnBrk="0" hangingPunct="0">
              <a:tabLst>
                <a:tab pos="519113" algn="r"/>
              </a:tabLst>
            </a:lvl5pPr>
            <a:lvl6pPr marL="2514600" indent="-228600" eaLnBrk="0" fontAlgn="base" hangingPunct="0">
              <a:spcBef>
                <a:spcPct val="0"/>
              </a:spcBef>
              <a:spcAft>
                <a:spcPct val="0"/>
              </a:spcAft>
              <a:tabLst>
                <a:tab pos="519113" algn="r"/>
              </a:tabLst>
            </a:lvl6pPr>
            <a:lvl7pPr marL="2971800" indent="-228600" eaLnBrk="0" fontAlgn="base" hangingPunct="0">
              <a:spcBef>
                <a:spcPct val="0"/>
              </a:spcBef>
              <a:spcAft>
                <a:spcPct val="0"/>
              </a:spcAft>
              <a:tabLst>
                <a:tab pos="519113" algn="r"/>
              </a:tabLst>
            </a:lvl7pPr>
            <a:lvl8pPr marL="3429000" indent="-228600" eaLnBrk="0" fontAlgn="base" hangingPunct="0">
              <a:spcBef>
                <a:spcPct val="0"/>
              </a:spcBef>
              <a:spcAft>
                <a:spcPct val="0"/>
              </a:spcAft>
              <a:tabLst>
                <a:tab pos="519113" algn="r"/>
              </a:tabLst>
            </a:lvl8pPr>
            <a:lvl9pPr marL="3886200" indent="-228600" eaLnBrk="0" fontAlgn="base" hangingPunct="0">
              <a:spcBef>
                <a:spcPct val="0"/>
              </a:spcBef>
              <a:spcAft>
                <a:spcPct val="0"/>
              </a:spcAft>
              <a:tabLst>
                <a:tab pos="519113" algn="r"/>
              </a:tabLst>
            </a:lvl9pPr>
          </a:lstStyle>
          <a:p>
            <a:pPr marL="355600" indent="-366713" defTabSz="228600">
              <a:tabLst/>
            </a:pPr>
            <a:r>
              <a:rPr lang="en-US" dirty="0">
                <a:solidFill>
                  <a:schemeClr val="tx1"/>
                </a:solidFill>
              </a:rPr>
              <a:t>Note:	</a:t>
            </a:r>
            <a:r>
              <a:rPr lang="en-US" dirty="0">
                <a:solidFill>
                  <a:schemeClr val="tx1"/>
                </a:solidFill>
                <a:hlinkClick r:id="rId5"/>
              </a:rPr>
              <a:t>Click</a:t>
            </a:r>
            <a:r>
              <a:rPr lang="en-US" dirty="0">
                <a:solidFill>
                  <a:schemeClr val="tx1"/>
                </a:solidFill>
              </a:rPr>
              <a:t> to see </a:t>
            </a:r>
            <a:r>
              <a:rPr lang="en-US" sz="801" dirty="0">
                <a:solidFill>
                  <a:schemeClr val="tx1"/>
                </a:solidFill>
              </a:rPr>
              <a:t>a list of all of our published Service Optimization Technologies (SOT) reports</a:t>
            </a:r>
            <a:endParaRPr lang="en-US" dirty="0">
              <a:solidFill>
                <a:schemeClr val="tx1"/>
              </a:solidFill>
            </a:endParaRPr>
          </a:p>
        </p:txBody>
      </p:sp>
      <p:graphicFrame>
        <p:nvGraphicFramePr>
          <p:cNvPr id="15" name="Table 33">
            <a:extLst>
              <a:ext uri="{FF2B5EF4-FFF2-40B4-BE49-F238E27FC236}">
                <a16:creationId xmlns:a16="http://schemas.microsoft.com/office/drawing/2014/main" id="{AAA21BB5-AD41-4749-800C-4F131719DCC5}"/>
              </a:ext>
            </a:extLst>
          </p:cNvPr>
          <p:cNvGraphicFramePr>
            <a:graphicFrameLocks noGrp="1"/>
          </p:cNvGraphicFramePr>
          <p:nvPr>
            <p:extLst>
              <p:ext uri="{D42A27DB-BD31-4B8C-83A1-F6EECF244321}">
                <p14:modId xmlns:p14="http://schemas.microsoft.com/office/powerpoint/2010/main" val="1604515630"/>
              </p:ext>
            </p:extLst>
          </p:nvPr>
        </p:nvGraphicFramePr>
        <p:xfrm>
          <a:off x="-12482" y="1657350"/>
          <a:ext cx="12204482" cy="4437888"/>
        </p:xfrm>
        <a:graphic>
          <a:graphicData uri="http://schemas.openxmlformats.org/drawingml/2006/table">
            <a:tbl>
              <a:tblPr>
                <a:tableStyleId>{5C22544A-7EE6-4342-B048-85BDC9FD1C3A}</a:tableStyleId>
              </a:tblPr>
              <a:tblGrid>
                <a:gridCol w="10733491">
                  <a:extLst>
                    <a:ext uri="{9D8B030D-6E8A-4147-A177-3AD203B41FA5}">
                      <a16:colId xmlns:a16="http://schemas.microsoft.com/office/drawing/2014/main" val="1697316569"/>
                    </a:ext>
                  </a:extLst>
                </a:gridCol>
                <a:gridCol w="1470991">
                  <a:extLst>
                    <a:ext uri="{9D8B030D-6E8A-4147-A177-3AD203B41FA5}">
                      <a16:colId xmlns:a16="http://schemas.microsoft.com/office/drawing/2014/main" val="2481023271"/>
                    </a:ext>
                  </a:extLst>
                </a:gridCol>
              </a:tblGrid>
              <a:tr h="25782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noProof="0">
                          <a:solidFill>
                            <a:srgbClr val="FFFFFF"/>
                          </a:solidFill>
                          <a:latin typeface="+mn-lt"/>
                        </a:rPr>
                        <a:t>Reports title</a:t>
                      </a:r>
                      <a:endParaRPr lang="en-US" sz="1050" noProof="0"/>
                    </a:p>
                  </a:txBody>
                  <a:tcPr marL="310896" marR="182880" marT="54864" marB="54864" anchor="ctr">
                    <a:lnL w="6350" cap="flat" cmpd="sng" algn="ctr">
                      <a:solidFill>
                        <a:schemeClr val="accent2"/>
                      </a:solidFill>
                      <a:prstDash val="solid"/>
                      <a:round/>
                      <a:headEnd type="none" w="med" len="med"/>
                      <a:tailEnd type="none" w="med" len="med"/>
                    </a:lnL>
                    <a:lnR w="3175" cap="flat" cmpd="sng" algn="ctr">
                      <a:solidFill>
                        <a:schemeClr val="bg1"/>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noProof="0">
                          <a:solidFill>
                            <a:srgbClr val="FFFFFF"/>
                          </a:solidFill>
                          <a:latin typeface="+mn-lt"/>
                        </a:rPr>
                        <a:t>Release date</a:t>
                      </a:r>
                      <a:endParaRPr lang="en-US" sz="1050" noProof="0"/>
                    </a:p>
                  </a:txBody>
                  <a:tcPr marL="0" marR="274320" marT="54864" marB="54864" anchor="ctr">
                    <a:lnL w="3175" cap="flat" cmpd="sng" algn="ctr">
                      <a:solidFill>
                        <a:schemeClr val="bg1"/>
                      </a:solidFill>
                      <a:prstDash val="solid"/>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accent2"/>
                    </a:solidFill>
                  </a:tcPr>
                </a:tc>
                <a:extLst>
                  <a:ext uri="{0D108BD9-81ED-4DB2-BD59-A6C34878D82A}">
                    <a16:rowId xmlns:a16="http://schemas.microsoft.com/office/drawing/2014/main" val="3480351584"/>
                  </a:ext>
                </a:extLst>
              </a:tr>
              <a:tr h="257821">
                <a:tc>
                  <a:txBody>
                    <a:bodyPr/>
                    <a:lstStyle/>
                    <a:p>
                      <a:pPr marL="0" algn="l" defTabSz="915373" rtl="0" eaLnBrk="1" latinLnBrk="0" hangingPunct="1">
                        <a:lnSpc>
                          <a:spcPct val="100000"/>
                        </a:lnSpc>
                      </a:pPr>
                      <a:r>
                        <a:rPr lang="en-US" sz="1100" u="none" kern="1200" baseline="0">
                          <a:solidFill>
                            <a:schemeClr val="accent2"/>
                          </a:solidFill>
                          <a:uFill>
                            <a:solidFill>
                              <a:schemeClr val="bg1"/>
                            </a:solidFill>
                          </a:uFill>
                          <a:latin typeface="+mn-lt"/>
                          <a:ea typeface="+mn-ea"/>
                          <a:cs typeface="+mn-cs"/>
                        </a:rPr>
                        <a:t>Conversational AI – Technology Provider Landscape with Products PEAK Matrix</a:t>
                      </a:r>
                      <a:r>
                        <a:rPr lang="en-US" sz="1100" u="none" kern="1200" baseline="30000">
                          <a:solidFill>
                            <a:schemeClr val="accent2"/>
                          </a:solidFill>
                          <a:uFill>
                            <a:solidFill>
                              <a:schemeClr val="bg1"/>
                            </a:solidFill>
                          </a:uFill>
                          <a:latin typeface="+mn-lt"/>
                          <a:ea typeface="+mn-ea"/>
                          <a:cs typeface="+mn-cs"/>
                        </a:rPr>
                        <a:t>®</a:t>
                      </a:r>
                      <a:r>
                        <a:rPr lang="en-US" sz="1100" u="none" kern="1200" baseline="0">
                          <a:solidFill>
                            <a:schemeClr val="accent2"/>
                          </a:solidFill>
                          <a:uFill>
                            <a:solidFill>
                              <a:schemeClr val="bg1"/>
                            </a:solidFill>
                          </a:uFill>
                          <a:latin typeface="+mn-lt"/>
                          <a:ea typeface="+mn-ea"/>
                          <a:cs typeface="+mn-cs"/>
                        </a:rPr>
                        <a:t> Assessment 2022</a:t>
                      </a:r>
                      <a:endParaRPr lang="en-IN" sz="1100" u="none" kern="1200" baseline="0">
                        <a:solidFill>
                          <a:schemeClr val="accent2"/>
                        </a:solidFill>
                        <a:uFill>
                          <a:solidFill>
                            <a:schemeClr val="bg1"/>
                          </a:solidFill>
                        </a:uFill>
                        <a:latin typeface="+mn-lt"/>
                        <a:ea typeface="+mn-ea"/>
                        <a:cs typeface="+mn-cs"/>
                      </a:endParaRPr>
                    </a:p>
                  </a:txBody>
                  <a:tcPr marL="310896"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US" sz="1100" noProof="0">
                          <a:solidFill>
                            <a:schemeClr val="accent2"/>
                          </a:solidFill>
                          <a:latin typeface="+mn-lt"/>
                        </a:rPr>
                        <a:t>September 2022</a:t>
                      </a:r>
                      <a:endParaRPr lang="en-US" sz="1100" noProof="0">
                        <a:solidFill>
                          <a:schemeClr val="accent2"/>
                        </a:solidFill>
                      </a:endParaRPr>
                    </a:p>
                  </a:txBody>
                  <a:tcPr marL="0" marR="274320" marT="54864" marB="54864"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654377"/>
                  </a:ext>
                </a:extLst>
              </a:tr>
              <a:tr h="257821">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b="0" kern="1200">
                          <a:solidFill>
                            <a:schemeClr val="accent2"/>
                          </a:solidFill>
                          <a:latin typeface="+mn-lt"/>
                          <a:ea typeface="+mn-ea"/>
                          <a:cs typeface="+mn-cs"/>
                        </a:rPr>
                        <a:t>Take an Analytical Approach to Improve Processes – Process Mining State of the Market Report 2022</a:t>
                      </a:r>
                    </a:p>
                  </a:txBody>
                  <a:tcPr marL="310896" marR="18288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kumimoji="0" lang="en-US" sz="1100" b="0" i="0" u="none" strike="noStrike" kern="1200" cap="none" spc="0" normalizeH="0" baseline="0" noProof="0">
                          <a:ln>
                            <a:noFill/>
                          </a:ln>
                          <a:solidFill>
                            <a:schemeClr val="accent2"/>
                          </a:solidFill>
                          <a:effectLst/>
                          <a:uLnTx/>
                          <a:uFillTx/>
                          <a:latin typeface="Arial"/>
                          <a:ea typeface="+mn-ea"/>
                          <a:cs typeface="Arial" charset="0"/>
                        </a:rPr>
                        <a:t>September 2022</a:t>
                      </a:r>
                      <a:endParaRPr lang="en-US" sz="1100" noProof="0">
                        <a:solidFill>
                          <a:schemeClr val="accent2"/>
                        </a:solidFill>
                      </a:endParaRP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4788234"/>
                  </a:ext>
                </a:extLst>
              </a:tr>
              <a:tr h="257821">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b="0" kern="1200">
                          <a:solidFill>
                            <a:schemeClr val="accent2"/>
                          </a:solidFill>
                          <a:latin typeface="+mn-lt"/>
                          <a:ea typeface="+mn-ea"/>
                          <a:cs typeface="+mn-cs"/>
                        </a:rPr>
                        <a:t>Visualizing Business Operations at a Micro Level – Task Mining State of the Market Report 2022</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noProof="0">
                          <a:solidFill>
                            <a:schemeClr val="accent2"/>
                          </a:solidFill>
                          <a:latin typeface="+mn-lt"/>
                        </a:rPr>
                        <a:t>October 2022</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6915705"/>
                  </a:ext>
                </a:extLst>
              </a:tr>
              <a:tr h="257821">
                <a:tc>
                  <a:txBody>
                    <a:bodyPr/>
                    <a:lstStyle/>
                    <a:p>
                      <a:pPr>
                        <a:lnSpc>
                          <a:spcPct val="100000"/>
                        </a:lnSpc>
                      </a:pPr>
                      <a:r>
                        <a:rPr lang="en-US" sz="1100" b="0" kern="1200">
                          <a:solidFill>
                            <a:schemeClr val="accent2"/>
                          </a:solidFill>
                          <a:latin typeface="+mn-lt"/>
                          <a:ea typeface="+mn-ea"/>
                          <a:cs typeface="+mn-cs"/>
                        </a:rPr>
                        <a:t>Robotic Process Automation (RPA) – Technology Provider Landscape with PEAK Matrix</a:t>
                      </a:r>
                      <a:r>
                        <a:rPr lang="en-US" sz="1100" b="0" kern="1200" baseline="30000">
                          <a:solidFill>
                            <a:schemeClr val="accent2"/>
                          </a:solidFill>
                          <a:latin typeface="+mn-lt"/>
                          <a:ea typeface="+mn-ea"/>
                          <a:cs typeface="+mn-cs"/>
                        </a:rPr>
                        <a:t>®</a:t>
                      </a:r>
                      <a:r>
                        <a:rPr lang="en-US" sz="1100" b="0" kern="1200">
                          <a:solidFill>
                            <a:schemeClr val="accent2"/>
                          </a:solidFill>
                          <a:latin typeface="+mn-lt"/>
                          <a:ea typeface="+mn-ea"/>
                          <a:cs typeface="+mn-cs"/>
                        </a:rPr>
                        <a:t> Assessment 2023</a:t>
                      </a:r>
                    </a:p>
                  </a:txBody>
                  <a:tcPr marL="310896" marR="18288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lang="en-US" sz="1100" noProof="0">
                          <a:solidFill>
                            <a:schemeClr val="accent2"/>
                          </a:solidFill>
                          <a:latin typeface="+mn-lt"/>
                        </a:rPr>
                        <a:t>October 2022</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4460490"/>
                  </a:ext>
                </a:extLst>
              </a:tr>
              <a:tr h="257821">
                <a:tc>
                  <a:txBody>
                    <a:bodyPr/>
                    <a:lstStyle/>
                    <a:p>
                      <a:pPr>
                        <a:lnSpc>
                          <a:spcPct val="100000"/>
                        </a:lnSpc>
                      </a:pPr>
                      <a:r>
                        <a:rPr lang="en-US" sz="1100">
                          <a:solidFill>
                            <a:schemeClr val="accent2"/>
                          </a:solidFill>
                          <a:latin typeface="+mn-lt"/>
                        </a:rPr>
                        <a:t>Scaling Automation Across the Enterprise</a:t>
                      </a:r>
                      <a:endParaRPr lang="en-IN" sz="1100" baseline="30000">
                        <a:solidFill>
                          <a:schemeClr val="accent2"/>
                        </a:solidFill>
                        <a:latin typeface="+mn-lt"/>
                      </a:endParaRP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algn="r">
                        <a:lnSpc>
                          <a:spcPct val="100000"/>
                        </a:lnSpc>
                      </a:pPr>
                      <a:r>
                        <a:rPr kumimoji="0" lang="en-US" sz="1100" b="0" i="0" u="none" strike="noStrike" kern="1200" cap="none" spc="0" normalizeH="0" baseline="0" noProof="0">
                          <a:ln>
                            <a:noFill/>
                          </a:ln>
                          <a:solidFill>
                            <a:schemeClr val="accent2"/>
                          </a:solidFill>
                          <a:effectLst/>
                          <a:uLnTx/>
                          <a:uFillTx/>
                          <a:latin typeface="+mn-lt"/>
                          <a:ea typeface="+mn-ea"/>
                          <a:cs typeface="Arial" charset="0"/>
                        </a:rPr>
                        <a:t>October 2022</a:t>
                      </a:r>
                      <a:endParaRPr lang="en-US" sz="1100" noProof="0">
                        <a:solidFill>
                          <a:schemeClr val="accent2"/>
                        </a:solidFill>
                        <a:latin typeface="+mn-lt"/>
                      </a:endParaRP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145401"/>
                  </a:ext>
                </a:extLst>
              </a:tr>
              <a:tr h="257821">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IN" sz="1100" kern="1200">
                          <a:solidFill>
                            <a:schemeClr val="accent2"/>
                          </a:solidFill>
                          <a:latin typeface="+mn-lt"/>
                          <a:ea typeface="+mn-ea"/>
                          <a:cs typeface="+mn-cs"/>
                        </a:rPr>
                        <a:t>E</a:t>
                      </a:r>
                      <a:r>
                        <a:rPr lang="en-US" sz="1100" kern="1200" err="1">
                          <a:solidFill>
                            <a:schemeClr val="accent2"/>
                          </a:solidFill>
                          <a:latin typeface="+mn-lt"/>
                          <a:ea typeface="+mn-ea"/>
                          <a:cs typeface="+mn-cs"/>
                        </a:rPr>
                        <a:t>nterprise</a:t>
                      </a:r>
                      <a:r>
                        <a:rPr lang="en-US" sz="1100" kern="1200">
                          <a:solidFill>
                            <a:schemeClr val="accent2"/>
                          </a:solidFill>
                          <a:latin typeface="+mn-lt"/>
                          <a:ea typeface="+mn-ea"/>
                          <a:cs typeface="+mn-cs"/>
                        </a:rPr>
                        <a:t> Automation Playbook</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0" i="0" u="none" strike="noStrike" kern="1200" cap="none" spc="0" normalizeH="0" baseline="0" noProof="0">
                          <a:ln>
                            <a:noFill/>
                          </a:ln>
                          <a:solidFill>
                            <a:schemeClr val="accent2"/>
                          </a:solidFill>
                          <a:effectLst/>
                          <a:uLnTx/>
                          <a:uFillTx/>
                          <a:latin typeface="Arial"/>
                          <a:ea typeface="+mn-ea"/>
                          <a:cs typeface="Arial" charset="0"/>
                        </a:rPr>
                        <a:t>November 2022</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1319261"/>
                  </a:ext>
                </a:extLst>
              </a:tr>
              <a:tr h="257821">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b="0">
                          <a:solidFill>
                            <a:schemeClr val="accent2"/>
                          </a:solidFill>
                          <a:latin typeface="+mn-lt"/>
                        </a:rPr>
                        <a:t>The Importance of Process Optimization in System Transformation</a:t>
                      </a:r>
                      <a:endParaRPr lang="en-IN" sz="1100" b="0">
                        <a:solidFill>
                          <a:schemeClr val="accent2"/>
                        </a:solidFill>
                      </a:endParaRP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0" i="0" u="none" strike="noStrike" kern="1200" cap="none" spc="0" normalizeH="0" baseline="0" noProof="0">
                          <a:ln>
                            <a:noFill/>
                          </a:ln>
                          <a:solidFill>
                            <a:schemeClr val="accent2"/>
                          </a:solidFill>
                          <a:effectLst/>
                          <a:uLnTx/>
                          <a:uFillTx/>
                          <a:latin typeface="Arial"/>
                          <a:ea typeface="+mn-ea"/>
                          <a:cs typeface="Arial" charset="0"/>
                        </a:rPr>
                        <a:t>November 2022</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4580529"/>
                  </a:ext>
                </a:extLst>
              </a:tr>
              <a:tr h="257821">
                <a:tc>
                  <a:txBody>
                    <a:bodyPr/>
                    <a:lstStyle/>
                    <a:p>
                      <a:pPr marL="0" algn="l" defTabSz="915373" rtl="0" eaLnBrk="1" latinLnBrk="0" hangingPunct="1">
                        <a:lnSpc>
                          <a:spcPct val="100000"/>
                        </a:lnSpc>
                      </a:pPr>
                      <a:r>
                        <a:rPr lang="en-US" sz="1100" b="0" kern="1200">
                          <a:solidFill>
                            <a:schemeClr val="accent2"/>
                          </a:solidFill>
                          <a:latin typeface="+mn-lt"/>
                          <a:ea typeface="+mn-ea"/>
                          <a:cs typeface="+mn-cs"/>
                        </a:rPr>
                        <a:t>Process Orchestration – Technology Provider Landscape with Products PEAK Matrix</a:t>
                      </a:r>
                      <a:r>
                        <a:rPr lang="en-US" sz="1100" b="0" kern="1200" baseline="30000">
                          <a:solidFill>
                            <a:schemeClr val="accent2"/>
                          </a:solidFill>
                          <a:latin typeface="+mn-lt"/>
                          <a:ea typeface="+mn-ea"/>
                          <a:cs typeface="+mn-cs"/>
                        </a:rPr>
                        <a:t>®</a:t>
                      </a:r>
                      <a:r>
                        <a:rPr lang="en-US" sz="1100" b="0" kern="1200">
                          <a:solidFill>
                            <a:schemeClr val="accent2"/>
                          </a:solidFill>
                          <a:latin typeface="+mn-lt"/>
                          <a:ea typeface="+mn-ea"/>
                          <a:cs typeface="+mn-cs"/>
                        </a:rPr>
                        <a:t> Assessment 2023</a:t>
                      </a:r>
                    </a:p>
                  </a:txBody>
                  <a:tcPr marL="310896" marR="18288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0" i="0" u="none" strike="noStrike" kern="1200" cap="none" spc="0" normalizeH="0" baseline="0" noProof="0">
                          <a:ln>
                            <a:noFill/>
                          </a:ln>
                          <a:solidFill>
                            <a:schemeClr val="accent2"/>
                          </a:solidFill>
                          <a:effectLst/>
                          <a:uLnTx/>
                          <a:uFillTx/>
                          <a:latin typeface="Arial"/>
                          <a:ea typeface="+mn-ea"/>
                          <a:cs typeface="Arial" charset="0"/>
                        </a:rPr>
                        <a:t>November 2022</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9079991"/>
                  </a:ext>
                </a:extLst>
              </a:tr>
              <a:tr h="257821">
                <a:tc>
                  <a:txBody>
                    <a:bodyPr/>
                    <a:lstStyle/>
                    <a:p>
                      <a:pPr>
                        <a:lnSpc>
                          <a:spcPct val="100000"/>
                        </a:lnSpc>
                      </a:pPr>
                      <a:r>
                        <a:rPr lang="en-US" sz="1100" b="0" kern="1200">
                          <a:solidFill>
                            <a:schemeClr val="accent2"/>
                          </a:solidFill>
                          <a:latin typeface="+mn-lt"/>
                          <a:ea typeface="+mn-ea"/>
                          <a:cs typeface="+mn-cs"/>
                        </a:rPr>
                        <a:t>The Evolution of Process Mining: Game-changing Innovations and Future Outlook</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0" i="0" u="none" strike="noStrike" kern="1200" cap="none" spc="0" normalizeH="0" baseline="0" noProof="0">
                          <a:ln>
                            <a:noFill/>
                          </a:ln>
                          <a:solidFill>
                            <a:srgbClr val="005A8C"/>
                          </a:solidFill>
                          <a:effectLst/>
                          <a:uLnTx/>
                          <a:uFillTx/>
                          <a:latin typeface="Arial"/>
                          <a:ea typeface="+mn-ea"/>
                          <a:cs typeface="Arial" charset="0"/>
                        </a:rPr>
                        <a:t>November 2022</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8980805"/>
                  </a:ext>
                </a:extLst>
              </a:tr>
              <a:tr h="257821">
                <a:tc>
                  <a:txBody>
                    <a:bodyPr/>
                    <a:lstStyle/>
                    <a:p>
                      <a:pPr>
                        <a:lnSpc>
                          <a:spcPct val="100000"/>
                        </a:lnSpc>
                      </a:pPr>
                      <a:r>
                        <a:rPr lang="en-US" sz="1100" b="0">
                          <a:solidFill>
                            <a:schemeClr val="accent2"/>
                          </a:solidFill>
                        </a:rPr>
                        <a:t>Process Orchestration – Technology Provider Compendium 2023</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0" i="0" u="none" strike="noStrike" kern="1200" cap="none" spc="0" normalizeH="0" baseline="0" noProof="0">
                          <a:ln>
                            <a:noFill/>
                          </a:ln>
                          <a:solidFill>
                            <a:schemeClr val="accent2"/>
                          </a:solidFill>
                          <a:effectLst/>
                          <a:uLnTx/>
                          <a:uFillTx/>
                          <a:latin typeface="Arial"/>
                          <a:ea typeface="+mn-ea"/>
                          <a:cs typeface="Arial" charset="0"/>
                        </a:rPr>
                        <a:t>December 2022</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2449604"/>
                  </a:ext>
                </a:extLst>
              </a:tr>
              <a:tr h="257821">
                <a:tc>
                  <a:txBody>
                    <a:bodyPr/>
                    <a:lstStyle/>
                    <a:p>
                      <a:pPr marL="0" algn="l" defTabSz="915373" rtl="0" eaLnBrk="1" latinLnBrk="0" hangingPunct="1">
                        <a:lnSpc>
                          <a:spcPct val="100000"/>
                        </a:lnSpc>
                      </a:pPr>
                      <a:r>
                        <a:rPr lang="en-US" sz="1100" b="0" kern="1200">
                          <a:solidFill>
                            <a:schemeClr val="accent2"/>
                          </a:solidFill>
                          <a:latin typeface="+mn-lt"/>
                          <a:ea typeface="+mn-ea"/>
                          <a:cs typeface="+mn-cs"/>
                        </a:rPr>
                        <a:t>The Rise of Smart Digital Workers – Robotic Process Automation (RPA) State of the Market Report 2023</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5373"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100" b="0" kern="1200" noProof="0">
                          <a:solidFill>
                            <a:schemeClr val="accent2"/>
                          </a:solidFill>
                          <a:latin typeface="+mn-lt"/>
                          <a:ea typeface="+mn-ea"/>
                          <a:cs typeface="+mn-cs"/>
                        </a:rPr>
                        <a:t>January 2023</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2336644"/>
                  </a:ext>
                </a:extLst>
              </a:tr>
              <a:tr h="257821">
                <a:tc>
                  <a:txBody>
                    <a:bodyPr/>
                    <a:lstStyle/>
                    <a:p>
                      <a:pPr>
                        <a:lnSpc>
                          <a:spcPct val="100000"/>
                        </a:lnSpc>
                      </a:pPr>
                      <a:r>
                        <a:rPr lang="en-US" sz="1100" b="1" dirty="0">
                          <a:solidFill>
                            <a:schemeClr val="tx1"/>
                          </a:solidFill>
                        </a:rPr>
                        <a:t>Unlocking the Power of Hybrid Workforce – Process Orchestration State of the Market 2023</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1" i="0" u="none" strike="noStrike" kern="1200" cap="none" spc="0" normalizeH="0" baseline="0" noProof="0">
                          <a:ln>
                            <a:noFill/>
                          </a:ln>
                          <a:solidFill>
                            <a:schemeClr val="tx1"/>
                          </a:solidFill>
                          <a:effectLst/>
                          <a:uLnTx/>
                          <a:uFillTx/>
                          <a:latin typeface="+mn-lt"/>
                          <a:ea typeface="+mn-ea"/>
                          <a:cs typeface="Arial" charset="0"/>
                        </a:rPr>
                        <a:t>February </a:t>
                      </a:r>
                      <a:r>
                        <a:rPr kumimoji="0" lang="en-US" sz="1100" b="1" i="0" u="none" strike="noStrike" kern="1200" cap="none" spc="0" normalizeH="0" baseline="0" noProof="0">
                          <a:ln>
                            <a:noFill/>
                          </a:ln>
                          <a:solidFill>
                            <a:schemeClr val="tx1"/>
                          </a:solidFill>
                          <a:effectLst/>
                          <a:uLnTx/>
                          <a:uFillTx/>
                          <a:latin typeface="Arial"/>
                          <a:ea typeface="+mn-ea"/>
                          <a:cs typeface="Arial" charset="0"/>
                        </a:rPr>
                        <a:t>2023</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9852748"/>
                  </a:ext>
                </a:extLst>
              </a:tr>
              <a:tr h="257821">
                <a:tc>
                  <a:txBody>
                    <a:bodyPr/>
                    <a:lstStyle/>
                    <a:p>
                      <a:pPr>
                        <a:lnSpc>
                          <a:spcPct val="100000"/>
                        </a:lnSpc>
                      </a:pPr>
                      <a:r>
                        <a:rPr lang="en-US" sz="1100" kern="1200">
                          <a:solidFill>
                            <a:schemeClr val="bg1">
                              <a:lumMod val="65000"/>
                            </a:schemeClr>
                          </a:solidFill>
                          <a:latin typeface="+mn-lt"/>
                          <a:ea typeface="+mn-ea"/>
                          <a:cs typeface="+mn-cs"/>
                        </a:rPr>
                        <a:t>Intelligent Process Automation (IPA) – Solution Provider Landscape with PEAK Matrix</a:t>
                      </a:r>
                      <a:r>
                        <a:rPr lang="en-US" sz="1100" kern="1200" baseline="30000">
                          <a:solidFill>
                            <a:schemeClr val="bg1">
                              <a:lumMod val="65000"/>
                            </a:schemeClr>
                          </a:solidFill>
                          <a:latin typeface="+mn-lt"/>
                          <a:ea typeface="+mn-ea"/>
                          <a:cs typeface="+mn-cs"/>
                        </a:rPr>
                        <a:t>®</a:t>
                      </a:r>
                      <a:r>
                        <a:rPr lang="en-US" sz="1100" kern="1200">
                          <a:solidFill>
                            <a:schemeClr val="bg1">
                              <a:lumMod val="65000"/>
                            </a:schemeClr>
                          </a:solidFill>
                          <a:latin typeface="+mn-lt"/>
                          <a:ea typeface="+mn-ea"/>
                          <a:cs typeface="+mn-cs"/>
                        </a:rPr>
                        <a:t> Assessment 2023</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0" i="0" u="none" strike="noStrike" kern="1200" cap="none" spc="0" normalizeH="0" baseline="0" noProof="0">
                          <a:ln>
                            <a:noFill/>
                          </a:ln>
                          <a:solidFill>
                            <a:prstClr val="white">
                              <a:lumMod val="65000"/>
                            </a:prstClr>
                          </a:solidFill>
                          <a:effectLst/>
                          <a:uLnTx/>
                          <a:uFillTx/>
                          <a:latin typeface="Arial"/>
                          <a:ea typeface="+mn-ea"/>
                          <a:cs typeface="Arial" charset="0"/>
                        </a:rPr>
                        <a:t>Q1 2023</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650422"/>
                  </a:ext>
                </a:extLst>
              </a:tr>
              <a:tr h="257821">
                <a:tc>
                  <a:txBody>
                    <a:bodyPr/>
                    <a:lstStyle/>
                    <a:p>
                      <a:pPr marL="0" algn="l" defTabSz="915373" rtl="0" eaLnBrk="1" latinLnBrk="0" hangingPunct="1">
                        <a:lnSpc>
                          <a:spcPct val="100000"/>
                        </a:lnSpc>
                      </a:pPr>
                      <a:r>
                        <a:rPr lang="en-US" sz="1100" kern="1200">
                          <a:solidFill>
                            <a:schemeClr val="bg1">
                              <a:lumMod val="65000"/>
                            </a:schemeClr>
                          </a:solidFill>
                          <a:latin typeface="+mn-lt"/>
                          <a:ea typeface="+mn-ea"/>
                          <a:cs typeface="+mn-cs"/>
                        </a:rPr>
                        <a:t>Complex Semi-structured Document Processing Using IDP</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0" i="0" u="none" strike="noStrike" kern="1200" cap="none" spc="0" normalizeH="0" baseline="0" noProof="0">
                          <a:ln>
                            <a:noFill/>
                          </a:ln>
                          <a:solidFill>
                            <a:prstClr val="white">
                              <a:lumMod val="65000"/>
                            </a:prstClr>
                          </a:solidFill>
                          <a:effectLst/>
                          <a:uLnTx/>
                          <a:uFillTx/>
                          <a:latin typeface="Arial"/>
                          <a:ea typeface="+mn-ea"/>
                          <a:cs typeface="Arial" charset="0"/>
                        </a:rPr>
                        <a:t>Q1 2023</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2091358"/>
                  </a:ext>
                </a:extLst>
              </a:tr>
              <a:tr h="257821">
                <a:tc>
                  <a:txBody>
                    <a:bodyPr/>
                    <a:lstStyle/>
                    <a:p>
                      <a:pPr>
                        <a:lnSpc>
                          <a:spcPct val="100000"/>
                        </a:lnSpc>
                      </a:pPr>
                      <a:r>
                        <a:rPr lang="en-US" sz="1100" kern="1200">
                          <a:solidFill>
                            <a:schemeClr val="bg1">
                              <a:lumMod val="65000"/>
                            </a:schemeClr>
                          </a:solidFill>
                          <a:latin typeface="+mn-lt"/>
                          <a:ea typeface="+mn-ea"/>
                          <a:cs typeface="+mn-cs"/>
                        </a:rPr>
                        <a:t>Intelligent Automation – How Much is Your Dollar Worth?</a:t>
                      </a:r>
                    </a:p>
                  </a:txBody>
                  <a:tcPr marL="310896" marT="0" marB="0" anchor="ctr">
                    <a:lnL w="12700" cmpd="sng">
                      <a:noFill/>
                    </a:lnL>
                    <a:lnR w="12700" cmpd="sng">
                      <a:noFill/>
                    </a:lnR>
                    <a:lnT w="6350" cap="flat" cmpd="sng" algn="ctr">
                      <a:solidFill>
                        <a:schemeClr val="bg1">
                          <a:lumMod val="75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kumimoji="0" lang="en-US" sz="1100" b="0" i="0" u="none" strike="noStrike" kern="1200" cap="none" spc="0" normalizeH="0" baseline="0" noProof="0" dirty="0">
                          <a:ln>
                            <a:noFill/>
                          </a:ln>
                          <a:solidFill>
                            <a:schemeClr val="bg1">
                              <a:lumMod val="65000"/>
                            </a:schemeClr>
                          </a:solidFill>
                          <a:effectLst/>
                          <a:uLnTx/>
                          <a:uFillTx/>
                          <a:latin typeface="Arial"/>
                          <a:ea typeface="+mn-ea"/>
                          <a:cs typeface="Arial" charset="0"/>
                        </a:rPr>
                        <a:t>Q1 2023</a:t>
                      </a:r>
                    </a:p>
                  </a:txBody>
                  <a:tcPr marL="0" marR="274320" marT="54864" marB="54864" anchor="ctr">
                    <a:lnL w="12700" cmpd="sng">
                      <a:noFill/>
                    </a:lnL>
                    <a:lnR w="12700" cmpd="sng">
                      <a:noFill/>
                    </a:lnR>
                    <a:lnT w="6350" cap="flat" cmpd="sng" algn="ctr">
                      <a:solidFill>
                        <a:schemeClr val="bg1">
                          <a:lumMod val="75000"/>
                        </a:schemeClr>
                      </a:solidFill>
                      <a:prstDash val="dash"/>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299363"/>
                  </a:ext>
                </a:extLst>
              </a:tr>
            </a:tbl>
          </a:graphicData>
        </a:graphic>
      </p:graphicFrame>
    </p:spTree>
    <p:extLst>
      <p:ext uri="{BB962C8B-B14F-4D97-AF65-F5344CB8AC3E}">
        <p14:creationId xmlns:p14="http://schemas.microsoft.com/office/powerpoint/2010/main" val="4007656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48026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C248B55-0857-40EE-8465-E21C4B9D3BBD}"/>
              </a:ext>
            </a:extLst>
          </p:cNvPr>
          <p:cNvSpPr>
            <a:spLocks noGrp="1"/>
          </p:cNvSpPr>
          <p:nvPr>
            <p:ph type="title"/>
          </p:nvPr>
        </p:nvSpPr>
        <p:spPr/>
        <p:txBody>
          <a:bodyPr/>
          <a:lstStyle/>
          <a:p>
            <a:r>
              <a:rPr lang="en-US"/>
              <a:t>Our research offerings</a:t>
            </a:r>
          </a:p>
        </p:txBody>
      </p:sp>
      <p:sp>
        <p:nvSpPr>
          <p:cNvPr id="6" name="Rectangle 5">
            <a:extLst>
              <a:ext uri="{FF2B5EF4-FFF2-40B4-BE49-F238E27FC236}">
                <a16:creationId xmlns:a16="http://schemas.microsoft.com/office/drawing/2014/main" id="{0B806A78-F541-C74F-6127-F36927DF170E}"/>
              </a:ext>
            </a:extLst>
          </p:cNvPr>
          <p:cNvSpPr/>
          <p:nvPr/>
        </p:nvSpPr>
        <p:spPr bwMode="auto">
          <a:xfrm>
            <a:off x="0" y="1604113"/>
            <a:ext cx="12192000" cy="491017"/>
          </a:xfrm>
          <a:prstGeom prst="rect">
            <a:avLst/>
          </a:prstGeom>
          <a:solidFill>
            <a:schemeClr val="accent4">
              <a:lumMod val="20000"/>
              <a:lumOff val="80000"/>
              <a:alpha val="43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indent="-304800">
              <a:buClr>
                <a:schemeClr val="accent1"/>
              </a:buClr>
              <a:buSzPct val="60000"/>
            </a:pPr>
            <a:endParaRPr lang="en-US"/>
          </a:p>
        </p:txBody>
      </p:sp>
      <p:graphicFrame>
        <p:nvGraphicFramePr>
          <p:cNvPr id="9" name="Table 8">
            <a:extLst>
              <a:ext uri="{FF2B5EF4-FFF2-40B4-BE49-F238E27FC236}">
                <a16:creationId xmlns:a16="http://schemas.microsoft.com/office/drawing/2014/main" id="{45AAD1A4-C4D9-897D-D592-AD5F5515CB13}"/>
              </a:ext>
            </a:extLst>
          </p:cNvPr>
          <p:cNvGraphicFramePr>
            <a:graphicFrameLocks noGrp="1"/>
          </p:cNvGraphicFramePr>
          <p:nvPr>
            <p:extLst>
              <p:ext uri="{D42A27DB-BD31-4B8C-83A1-F6EECF244321}">
                <p14:modId xmlns:p14="http://schemas.microsoft.com/office/powerpoint/2010/main" val="2477319622"/>
              </p:ext>
            </p:extLst>
          </p:nvPr>
        </p:nvGraphicFramePr>
        <p:xfrm>
          <a:off x="304798" y="1629566"/>
          <a:ext cx="7258756" cy="440046"/>
        </p:xfrm>
        <a:graphic>
          <a:graphicData uri="http://schemas.openxmlformats.org/drawingml/2006/table">
            <a:tbl>
              <a:tblPr firstRow="1" bandRow="1">
                <a:tableStyleId>{5C22544A-7EE6-4342-B048-85BDC9FD1C3A}</a:tableStyleId>
              </a:tblPr>
              <a:tblGrid>
                <a:gridCol w="7258756">
                  <a:extLst>
                    <a:ext uri="{9D8B030D-6E8A-4147-A177-3AD203B41FA5}">
                      <a16:colId xmlns:a16="http://schemas.microsoft.com/office/drawing/2014/main" val="1532193756"/>
                    </a:ext>
                  </a:extLst>
                </a:gridCol>
              </a:tblGrid>
              <a:tr h="0">
                <a:tc>
                  <a:txBody>
                    <a:bodyPr/>
                    <a:lstStyle/>
                    <a:p>
                      <a:pPr marL="0" marR="0" lvl="1" indent="0" algn="l" defTabSz="914400" rtl="0" eaLnBrk="1" fontAlgn="base" latinLnBrk="0" hangingPunct="1">
                        <a:lnSpc>
                          <a:spcPts val="1540"/>
                        </a:lnSpc>
                        <a:spcBef>
                          <a:spcPts val="0"/>
                        </a:spcBef>
                        <a:spcAft>
                          <a:spcPts val="0"/>
                        </a:spcAft>
                        <a:buClr>
                          <a:srgbClr val="005A8C"/>
                        </a:buClr>
                        <a:buSzPct val="70000"/>
                        <a:buFont typeface="Wingdings" panose="05000000000000000000" pitchFamily="2" charset="2"/>
                        <a:buNone/>
                        <a:tabLst/>
                        <a:defRPr/>
                      </a:pPr>
                      <a:r>
                        <a:rPr kumimoji="0" lang="en-US" sz="1200" b="0" i="0" u="none" strike="noStrike" kern="1200" cap="none" spc="0" normalizeH="0" baseline="0" noProof="0" dirty="0">
                          <a:ln>
                            <a:noFill/>
                          </a:ln>
                          <a:solidFill>
                            <a:schemeClr val="tx1"/>
                          </a:solidFill>
                          <a:effectLst/>
                          <a:uLnTx/>
                          <a:uFillTx/>
                          <a:latin typeface="+mn-lt"/>
                          <a:ea typeface="+mn-ea"/>
                          <a:cs typeface="Arial" charset="0"/>
                        </a:rPr>
                        <a:t>This report is included in the following research program(s): </a:t>
                      </a:r>
                    </a:p>
                    <a:p>
                      <a:pPr marL="0" marR="0" lvl="1" indent="0" algn="l" defTabSz="914400" rtl="0" eaLnBrk="1" fontAlgn="base" latinLnBrk="0" hangingPunct="1">
                        <a:lnSpc>
                          <a:spcPts val="1540"/>
                        </a:lnSpc>
                        <a:spcBef>
                          <a:spcPts val="0"/>
                        </a:spcBef>
                        <a:spcAft>
                          <a:spcPts val="0"/>
                        </a:spcAft>
                        <a:buClr>
                          <a:srgbClr val="005A8C"/>
                        </a:buClr>
                        <a:buSzPct val="70000"/>
                        <a:buFont typeface="Wingdings" panose="05000000000000000000" pitchFamily="2" charset="2"/>
                        <a:buNone/>
                        <a:tabLst/>
                        <a:defRPr/>
                      </a:pPr>
                      <a:r>
                        <a:rPr kumimoji="0" lang="en-US" sz="1200" b="0" i="0" u="none" strike="noStrike" kern="1200" cap="none" spc="0" normalizeH="0" baseline="0" noProof="0" dirty="0">
                          <a:ln>
                            <a:noFill/>
                          </a:ln>
                          <a:solidFill>
                            <a:schemeClr val="accent5"/>
                          </a:solidFill>
                          <a:effectLst/>
                          <a:uLnTx/>
                          <a:uFillTx/>
                          <a:latin typeface="+mn-lt"/>
                          <a:ea typeface="+mn-ea"/>
                          <a:cs typeface="Arial" charset="0"/>
                        </a:rPr>
                        <a:t>Service Optimization Technologies, Process Orchestration</a:t>
                      </a:r>
                    </a:p>
                  </a:txBody>
                  <a:tcPr marL="0" marR="90000" marT="36000" marB="36000">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6208746"/>
                  </a:ext>
                </a:extLst>
              </a:tr>
            </a:tbl>
          </a:graphicData>
        </a:graphic>
      </p:graphicFrame>
      <p:graphicFrame>
        <p:nvGraphicFramePr>
          <p:cNvPr id="10" name="Table 9">
            <a:extLst>
              <a:ext uri="{FF2B5EF4-FFF2-40B4-BE49-F238E27FC236}">
                <a16:creationId xmlns:a16="http://schemas.microsoft.com/office/drawing/2014/main" id="{004EA53E-7221-5360-C3E2-14FFFB02E702}"/>
              </a:ext>
            </a:extLst>
          </p:cNvPr>
          <p:cNvGraphicFramePr>
            <a:graphicFrameLocks noGrp="1"/>
          </p:cNvGraphicFramePr>
          <p:nvPr/>
        </p:nvGraphicFramePr>
        <p:xfrm>
          <a:off x="9440730" y="2103096"/>
          <a:ext cx="2450948" cy="1073312"/>
        </p:xfrm>
        <a:graphic>
          <a:graphicData uri="http://schemas.openxmlformats.org/drawingml/2006/table">
            <a:tbl>
              <a:tblPr firstRow="1" bandRow="1">
                <a:tableStyleId>{5C22544A-7EE6-4342-B048-85BDC9FD1C3A}</a:tableStyleId>
              </a:tblPr>
              <a:tblGrid>
                <a:gridCol w="2450948">
                  <a:extLst>
                    <a:ext uri="{9D8B030D-6E8A-4147-A177-3AD203B41FA5}">
                      <a16:colId xmlns:a16="http://schemas.microsoft.com/office/drawing/2014/main" val="1532193756"/>
                    </a:ext>
                  </a:extLst>
                </a:gridCol>
              </a:tblGrid>
              <a:tr h="509376">
                <a:tc>
                  <a:txBody>
                    <a:bodyPr/>
                    <a:lstStyle/>
                    <a:p>
                      <a:pPr marL="0" marR="0" lvl="1" indent="0" algn="l" defTabSz="914400" rtl="0" eaLnBrk="1" fontAlgn="base" latinLnBrk="0" hangingPunct="1">
                        <a:lnSpc>
                          <a:spcPct val="117000"/>
                        </a:lnSpc>
                        <a:spcBef>
                          <a:spcPts val="300"/>
                        </a:spcBef>
                        <a:spcAft>
                          <a:spcPts val="0"/>
                        </a:spcAft>
                        <a:buClr>
                          <a:srgbClr val="005A8C"/>
                        </a:buClr>
                        <a:buSzPct val="70000"/>
                        <a:buFont typeface="Wingdings" panose="05000000000000000000" pitchFamily="2" charset="2"/>
                        <a:buNone/>
                        <a:tabLst/>
                        <a:defRPr/>
                      </a:pPr>
                      <a:r>
                        <a:rPr kumimoji="0" lang="en-US" sz="1050" b="0" i="0" u="none" strike="noStrike" kern="1200" cap="none" spc="-10" normalizeH="0" baseline="0" noProof="0">
                          <a:ln>
                            <a:noFill/>
                          </a:ln>
                          <a:solidFill>
                            <a:schemeClr val="bg1">
                              <a:lumMod val="65000"/>
                            </a:schemeClr>
                          </a:solidFill>
                          <a:effectLst/>
                          <a:uLnTx/>
                          <a:uFillTx/>
                          <a:latin typeface="+mn-lt"/>
                          <a:ea typeface="+mn-ea"/>
                          <a:cs typeface="Arial" charset="0"/>
                        </a:rPr>
                        <a:t>If you want to learn whether your organization has a membership agreement or request information on pricing and membership options, please contact us at </a:t>
                      </a:r>
                      <a:r>
                        <a:rPr kumimoji="0" lang="en-US" sz="1050" b="1" i="0" u="none" strike="noStrike" kern="1200" cap="none" spc="-10" normalizeH="0" baseline="0" noProof="0">
                          <a:ln>
                            <a:noFill/>
                          </a:ln>
                          <a:solidFill>
                            <a:schemeClr val="bg1">
                              <a:lumMod val="65000"/>
                            </a:schemeClr>
                          </a:solidFill>
                          <a:effectLst/>
                          <a:uLnTx/>
                          <a:uFillTx/>
                          <a:latin typeface="+mn-lt"/>
                          <a:ea typeface="+mn-ea"/>
                          <a:cs typeface="Arial" charset="0"/>
                          <a:hlinkClick r:id="rId5"/>
                        </a:rPr>
                        <a:t>info@everestgrp.com</a:t>
                      </a:r>
                      <a:endParaRPr kumimoji="0" lang="en-US" sz="1050" b="1" i="0" u="none" strike="noStrike" kern="1200" cap="none" spc="-10" normalizeH="0" baseline="0" noProof="0">
                        <a:ln>
                          <a:noFill/>
                        </a:ln>
                        <a:solidFill>
                          <a:schemeClr val="bg1">
                            <a:lumMod val="65000"/>
                          </a:schemeClr>
                        </a:solidFill>
                        <a:effectLst/>
                        <a:uLnTx/>
                        <a:uFillTx/>
                        <a:latin typeface="+mn-lt"/>
                        <a:ea typeface="+mn-ea"/>
                        <a:cs typeface="Arial" charset="0"/>
                      </a:endParaRPr>
                    </a:p>
                  </a:txBody>
                  <a:tcPr marL="0" marR="91535" marT="108000" marB="45768"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16208746"/>
                  </a:ext>
                </a:extLst>
              </a:tr>
            </a:tbl>
          </a:graphicData>
        </a:graphic>
      </p:graphicFrame>
      <p:grpSp>
        <p:nvGrpSpPr>
          <p:cNvPr id="11" name="Group 10">
            <a:extLst>
              <a:ext uri="{FF2B5EF4-FFF2-40B4-BE49-F238E27FC236}">
                <a16:creationId xmlns:a16="http://schemas.microsoft.com/office/drawing/2014/main" id="{C4E2D4C6-4868-8C53-7B28-64268C87F1BC}"/>
              </a:ext>
            </a:extLst>
          </p:cNvPr>
          <p:cNvGrpSpPr/>
          <p:nvPr/>
        </p:nvGrpSpPr>
        <p:grpSpPr>
          <a:xfrm>
            <a:off x="9440730" y="3429000"/>
            <a:ext cx="2464149" cy="3429000"/>
            <a:chOff x="9062356" y="3429000"/>
            <a:chExt cx="3006184" cy="3429000"/>
          </a:xfrm>
        </p:grpSpPr>
        <p:sp>
          <p:nvSpPr>
            <p:cNvPr id="12" name="Rectangle 11">
              <a:extLst>
                <a:ext uri="{FF2B5EF4-FFF2-40B4-BE49-F238E27FC236}">
                  <a16:creationId xmlns:a16="http://schemas.microsoft.com/office/drawing/2014/main" id="{EEBEBF30-70EB-192E-5B28-271E6781B5F5}"/>
                </a:ext>
              </a:extLst>
            </p:cNvPr>
            <p:cNvSpPr/>
            <p:nvPr/>
          </p:nvSpPr>
          <p:spPr bwMode="auto">
            <a:xfrm>
              <a:off x="9065926" y="3429000"/>
              <a:ext cx="3001970" cy="3429000"/>
            </a:xfrm>
            <a:prstGeom prst="rect">
              <a:avLst/>
            </a:prstGeom>
            <a:solidFill>
              <a:schemeClr val="accent4">
                <a:lumMod val="20000"/>
                <a:lumOff val="80000"/>
                <a:alpha val="43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
          <p:nvSpPr>
            <p:cNvPr id="13" name="Rectangle 12">
              <a:extLst>
                <a:ext uri="{FF2B5EF4-FFF2-40B4-BE49-F238E27FC236}">
                  <a16:creationId xmlns:a16="http://schemas.microsoft.com/office/drawing/2014/main" id="{533A5E7E-B965-DC5B-DFD5-15C5792CE13D}"/>
                </a:ext>
              </a:extLst>
            </p:cNvPr>
            <p:cNvSpPr/>
            <p:nvPr/>
          </p:nvSpPr>
          <p:spPr>
            <a:xfrm>
              <a:off x="9062356" y="4062884"/>
              <a:ext cx="3006184" cy="276999"/>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a:solidFill>
                    <a:schemeClr val="accent4">
                      <a:lumMod val="50000"/>
                    </a:schemeClr>
                  </a:solidFill>
                  <a:latin typeface="Arial"/>
                </a:rPr>
                <a:t>Benchmarking</a:t>
              </a:r>
            </a:p>
          </p:txBody>
        </p:sp>
        <p:sp>
          <p:nvSpPr>
            <p:cNvPr id="14" name="Rectangle 13">
              <a:extLst>
                <a:ext uri="{FF2B5EF4-FFF2-40B4-BE49-F238E27FC236}">
                  <a16:creationId xmlns:a16="http://schemas.microsoft.com/office/drawing/2014/main" id="{8F5AA437-08E7-06C3-92F9-3E8A4AB7D3FE}"/>
                </a:ext>
              </a:extLst>
            </p:cNvPr>
            <p:cNvSpPr/>
            <p:nvPr/>
          </p:nvSpPr>
          <p:spPr>
            <a:xfrm>
              <a:off x="9062356" y="4737204"/>
              <a:ext cx="3001971" cy="276999"/>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a:solidFill>
                    <a:schemeClr val="accent4">
                      <a:lumMod val="50000"/>
                    </a:schemeClr>
                  </a:solidFill>
                  <a:latin typeface="Arial"/>
                </a:rPr>
                <a:t>Peer analysis</a:t>
              </a:r>
            </a:p>
          </p:txBody>
        </p:sp>
        <p:sp>
          <p:nvSpPr>
            <p:cNvPr id="15" name="Rectangle 14">
              <a:extLst>
                <a:ext uri="{FF2B5EF4-FFF2-40B4-BE49-F238E27FC236}">
                  <a16:creationId xmlns:a16="http://schemas.microsoft.com/office/drawing/2014/main" id="{46620664-5585-8736-6D46-880F28F8D977}"/>
                </a:ext>
              </a:extLst>
            </p:cNvPr>
            <p:cNvSpPr/>
            <p:nvPr/>
          </p:nvSpPr>
          <p:spPr>
            <a:xfrm>
              <a:off x="9062356" y="5074364"/>
              <a:ext cx="3001971" cy="276999"/>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a:solidFill>
                    <a:schemeClr val="accent4">
                      <a:lumMod val="50000"/>
                    </a:schemeClr>
                  </a:solidFill>
                  <a:latin typeface="Arial"/>
                </a:rPr>
                <a:t>Market intelligence</a:t>
              </a:r>
            </a:p>
          </p:txBody>
        </p:sp>
        <p:sp>
          <p:nvSpPr>
            <p:cNvPr id="16" name="Rectangle 15">
              <a:extLst>
                <a:ext uri="{FF2B5EF4-FFF2-40B4-BE49-F238E27FC236}">
                  <a16:creationId xmlns:a16="http://schemas.microsoft.com/office/drawing/2014/main" id="{4530EB4D-1EF9-A676-3BE8-9602E9376B7E}"/>
                </a:ext>
              </a:extLst>
            </p:cNvPr>
            <p:cNvSpPr/>
            <p:nvPr/>
          </p:nvSpPr>
          <p:spPr>
            <a:xfrm>
              <a:off x="9062356" y="4400044"/>
              <a:ext cx="3006184" cy="276999"/>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a:solidFill>
                    <a:schemeClr val="accent4">
                      <a:lumMod val="50000"/>
                    </a:schemeClr>
                  </a:solidFill>
                  <a:latin typeface="Arial"/>
                </a:rPr>
                <a:t>Contract assessment</a:t>
              </a:r>
            </a:p>
          </p:txBody>
        </p:sp>
        <p:sp>
          <p:nvSpPr>
            <p:cNvPr id="17" name="Rectangle 16">
              <a:extLst>
                <a:ext uri="{FF2B5EF4-FFF2-40B4-BE49-F238E27FC236}">
                  <a16:creationId xmlns:a16="http://schemas.microsoft.com/office/drawing/2014/main" id="{AAE71CE6-8905-A6E0-A60A-EFD9BD76C043}"/>
                </a:ext>
              </a:extLst>
            </p:cNvPr>
            <p:cNvSpPr/>
            <p:nvPr/>
          </p:nvSpPr>
          <p:spPr>
            <a:xfrm>
              <a:off x="9062356" y="5933350"/>
              <a:ext cx="3001971" cy="461665"/>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a:solidFill>
                    <a:schemeClr val="accent4">
                      <a:lumMod val="50000"/>
                    </a:schemeClr>
                  </a:solidFill>
                  <a:latin typeface="Arial"/>
                </a:rPr>
                <a:t>Locations: costs, skills, </a:t>
              </a:r>
              <a:br>
                <a:rPr lang="en-US" sz="1200">
                  <a:solidFill>
                    <a:schemeClr val="accent4">
                      <a:lumMod val="50000"/>
                    </a:schemeClr>
                  </a:solidFill>
                  <a:latin typeface="Arial"/>
                </a:rPr>
              </a:br>
              <a:r>
                <a:rPr lang="en-US" sz="1200">
                  <a:solidFill>
                    <a:schemeClr val="accent4">
                      <a:lumMod val="50000"/>
                    </a:schemeClr>
                  </a:solidFill>
                  <a:latin typeface="Arial"/>
                </a:rPr>
                <a:t>sustainability, portfolios</a:t>
              </a:r>
            </a:p>
          </p:txBody>
        </p:sp>
        <p:grpSp>
          <p:nvGrpSpPr>
            <p:cNvPr id="18" name="Group 17">
              <a:extLst>
                <a:ext uri="{FF2B5EF4-FFF2-40B4-BE49-F238E27FC236}">
                  <a16:creationId xmlns:a16="http://schemas.microsoft.com/office/drawing/2014/main" id="{051DBC94-16EE-959A-8CD3-B973172E3244}"/>
                </a:ext>
              </a:extLst>
            </p:cNvPr>
            <p:cNvGrpSpPr/>
            <p:nvPr/>
          </p:nvGrpSpPr>
          <p:grpSpPr>
            <a:xfrm>
              <a:off x="9065925" y="3511657"/>
              <a:ext cx="3001971" cy="491017"/>
              <a:chOff x="8668919" y="3404317"/>
              <a:chExt cx="3001971" cy="491017"/>
            </a:xfrm>
          </p:grpSpPr>
          <p:sp>
            <p:nvSpPr>
              <p:cNvPr id="20" name="Rectangle 19">
                <a:extLst>
                  <a:ext uri="{FF2B5EF4-FFF2-40B4-BE49-F238E27FC236}">
                    <a16:creationId xmlns:a16="http://schemas.microsoft.com/office/drawing/2014/main" id="{FABBD446-7561-2AFE-A802-0135F9326A9E}"/>
                  </a:ext>
                </a:extLst>
              </p:cNvPr>
              <p:cNvSpPr/>
              <p:nvPr/>
            </p:nvSpPr>
            <p:spPr bwMode="auto">
              <a:xfrm>
                <a:off x="8668919" y="3404317"/>
                <a:ext cx="3001971" cy="491017"/>
              </a:xfrm>
              <a:prstGeom prst="rect">
                <a:avLst/>
              </a:prstGeom>
              <a:solidFill>
                <a:schemeClr val="accent4">
                  <a:lumMod val="20000"/>
                  <a:lumOff val="80000"/>
                  <a:alpha val="7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
            <p:nvSpPr>
              <p:cNvPr id="21" name="Rectangle 20">
                <a:extLst>
                  <a:ext uri="{FF2B5EF4-FFF2-40B4-BE49-F238E27FC236}">
                    <a16:creationId xmlns:a16="http://schemas.microsoft.com/office/drawing/2014/main" id="{5B5D21A0-9D1F-454C-8EFB-4F781E7299BA}"/>
                  </a:ext>
                </a:extLst>
              </p:cNvPr>
              <p:cNvSpPr/>
              <p:nvPr/>
            </p:nvSpPr>
            <p:spPr>
              <a:xfrm>
                <a:off x="8668919" y="3411298"/>
                <a:ext cx="1682430" cy="230832"/>
              </a:xfrm>
              <a:prstGeom prst="rect">
                <a:avLst/>
              </a:prstGeom>
            </p:spPr>
            <p:txBody>
              <a:bodyPr wrap="none" lIns="108000">
                <a:spAutoFit/>
              </a:bodyPr>
              <a:lstStyle/>
              <a:p>
                <a:r>
                  <a:rPr lang="en-US" sz="900">
                    <a:solidFill>
                      <a:schemeClr val="accent6"/>
                    </a:solidFill>
                  </a:rPr>
                  <a:t>Learn more about our </a:t>
                </a:r>
              </a:p>
            </p:txBody>
          </p:sp>
          <p:sp>
            <p:nvSpPr>
              <p:cNvPr id="22" name="Rectangle 21">
                <a:extLst>
                  <a:ext uri="{FF2B5EF4-FFF2-40B4-BE49-F238E27FC236}">
                    <a16:creationId xmlns:a16="http://schemas.microsoft.com/office/drawing/2014/main" id="{3E11B57B-84DD-5EF5-58F3-5B38F9F0CDA0}"/>
                  </a:ext>
                </a:extLst>
              </p:cNvPr>
              <p:cNvSpPr/>
              <p:nvPr/>
            </p:nvSpPr>
            <p:spPr>
              <a:xfrm>
                <a:off x="8742980" y="3553401"/>
                <a:ext cx="2912450" cy="307777"/>
              </a:xfrm>
              <a:prstGeom prst="rect">
                <a:avLst/>
              </a:prstGeom>
            </p:spPr>
            <p:txBody>
              <a:bodyPr wrap="none" lIns="36000">
                <a:spAutoFit/>
              </a:bodyPr>
              <a:lstStyle/>
              <a:p>
                <a:r>
                  <a:rPr lang="en-US" sz="1400">
                    <a:solidFill>
                      <a:schemeClr val="accent6"/>
                    </a:solidFill>
                  </a:rPr>
                  <a:t>custom research capabilities</a:t>
                </a:r>
              </a:p>
            </p:txBody>
          </p:sp>
        </p:grpSp>
        <p:sp>
          <p:nvSpPr>
            <p:cNvPr id="19" name="Rectangle 18">
              <a:extLst>
                <a:ext uri="{FF2B5EF4-FFF2-40B4-BE49-F238E27FC236}">
                  <a16:creationId xmlns:a16="http://schemas.microsoft.com/office/drawing/2014/main" id="{C395D1B6-0A8F-CE9C-3897-2D012255C6A7}"/>
                </a:ext>
              </a:extLst>
            </p:cNvPr>
            <p:cNvSpPr/>
            <p:nvPr/>
          </p:nvSpPr>
          <p:spPr>
            <a:xfrm>
              <a:off x="9062356" y="5411524"/>
              <a:ext cx="3006184" cy="461665"/>
            </a:xfrm>
            <a:prstGeom prst="rect">
              <a:avLst/>
            </a:prstGeom>
            <a:solidFill>
              <a:schemeClr val="accent4">
                <a:lumMod val="20000"/>
                <a:lumOff val="80000"/>
                <a:alpha val="75000"/>
              </a:schemeClr>
            </a:solidFill>
          </p:spPr>
          <p:txBody>
            <a:bodyPr wrap="square" lIns="108000">
              <a:spAutoFit/>
            </a:bodyPr>
            <a:lstStyle/>
            <a:p>
              <a:pPr lvl="0">
                <a:spcBef>
                  <a:spcPts val="602"/>
                </a:spcBef>
                <a:spcAft>
                  <a:spcPts val="0"/>
                </a:spcAft>
                <a:buClr>
                  <a:srgbClr val="005A8C"/>
                </a:buClr>
                <a:buSzPct val="70000"/>
                <a:defRPr/>
              </a:pPr>
              <a:r>
                <a:rPr lang="en-US" sz="1200">
                  <a:solidFill>
                    <a:schemeClr val="accent4">
                      <a:lumMod val="50000"/>
                    </a:schemeClr>
                  </a:solidFill>
                  <a:latin typeface="Arial"/>
                </a:rPr>
                <a:t>Tracking: providers, locations, risk, technologies</a:t>
              </a:r>
            </a:p>
          </p:txBody>
        </p:sp>
      </p:grpSp>
      <p:sp>
        <p:nvSpPr>
          <p:cNvPr id="27" name="Rectangle 26">
            <a:hlinkClick r:id="rId6"/>
            <a:extLst>
              <a:ext uri="{FF2B5EF4-FFF2-40B4-BE49-F238E27FC236}">
                <a16:creationId xmlns:a16="http://schemas.microsoft.com/office/drawing/2014/main" id="{AF247FF2-4CBF-5FF5-B490-6C0EDF009EC6}"/>
              </a:ext>
            </a:extLst>
          </p:cNvPr>
          <p:cNvSpPr/>
          <p:nvPr/>
        </p:nvSpPr>
        <p:spPr bwMode="auto">
          <a:xfrm>
            <a:off x="9440730" y="3518638"/>
            <a:ext cx="2450948" cy="44988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graphicFrame>
        <p:nvGraphicFramePr>
          <p:cNvPr id="28" name="Table 27">
            <a:extLst>
              <a:ext uri="{FF2B5EF4-FFF2-40B4-BE49-F238E27FC236}">
                <a16:creationId xmlns:a16="http://schemas.microsoft.com/office/drawing/2014/main" id="{2FD1B26F-D885-AE88-2636-C8E2D759F4E9}"/>
              </a:ext>
            </a:extLst>
          </p:cNvPr>
          <p:cNvGraphicFramePr>
            <a:graphicFrameLocks noGrp="1"/>
          </p:cNvGraphicFramePr>
          <p:nvPr>
            <p:extLst>
              <p:ext uri="{D42A27DB-BD31-4B8C-83A1-F6EECF244321}">
                <p14:modId xmlns:p14="http://schemas.microsoft.com/office/powerpoint/2010/main" val="945216156"/>
              </p:ext>
            </p:extLst>
          </p:nvPr>
        </p:nvGraphicFramePr>
        <p:xfrm>
          <a:off x="-2" y="2102887"/>
          <a:ext cx="9431048" cy="4352279"/>
        </p:xfrm>
        <a:graphic>
          <a:graphicData uri="http://schemas.openxmlformats.org/drawingml/2006/table">
            <a:tbl>
              <a:tblPr firstRow="1" bandRow="1">
                <a:tableStyleId>{5C22544A-7EE6-4342-B048-85BDC9FD1C3A}</a:tableStyleId>
              </a:tblPr>
              <a:tblGrid>
                <a:gridCol w="3601041">
                  <a:extLst>
                    <a:ext uri="{9D8B030D-6E8A-4147-A177-3AD203B41FA5}">
                      <a16:colId xmlns:a16="http://schemas.microsoft.com/office/drawing/2014/main" val="3503517894"/>
                    </a:ext>
                  </a:extLst>
                </a:gridCol>
                <a:gridCol w="3223967">
                  <a:extLst>
                    <a:ext uri="{9D8B030D-6E8A-4147-A177-3AD203B41FA5}">
                      <a16:colId xmlns:a16="http://schemas.microsoft.com/office/drawing/2014/main" val="4247411151"/>
                    </a:ext>
                  </a:extLst>
                </a:gridCol>
                <a:gridCol w="2606040">
                  <a:extLst>
                    <a:ext uri="{9D8B030D-6E8A-4147-A177-3AD203B41FA5}">
                      <a16:colId xmlns:a16="http://schemas.microsoft.com/office/drawing/2014/main" val="2396625214"/>
                    </a:ext>
                  </a:extLst>
                </a:gridCol>
              </a:tblGrid>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Amazon Web Services (AWS)</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Exponential Technologies</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Microsoft Azure Membership Program </a:t>
                      </a:r>
                    </a:p>
                  </a:txBody>
                  <a:tcPr marL="54864"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5083443"/>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Application Services</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Finance and Accounting</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Modern Application Development (MAD) </a:t>
                      </a:r>
                    </a:p>
                  </a:txBody>
                  <a:tcPr marL="54864"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015909"/>
                  </a:ext>
                </a:extLst>
              </a:tr>
              <a:tr h="181017">
                <a:tc>
                  <a:txBody>
                    <a:bodyPr/>
                    <a:lstStyle/>
                    <a:p>
                      <a:pPr marL="118872" marR="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Artificial Intelligence (AI)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Financial Services Technology (FinTech)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Mortgage Operations </a:t>
                      </a:r>
                    </a:p>
                  </a:txBody>
                  <a:tcPr marL="54864"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2863562"/>
                  </a:ext>
                </a:extLst>
              </a:tr>
              <a:tr h="188888">
                <a:tc>
                  <a:txBody>
                    <a:bodyPr/>
                    <a:lstStyle/>
                    <a:p>
                      <a:pPr marL="118872" marR="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Asset and Wealth Management</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GBS Talent Excellence</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rPr>
                        <a:t>Multi-country Payroll </a:t>
                      </a:r>
                    </a:p>
                  </a:txBody>
                  <a:tcPr marL="54864"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97437621"/>
                  </a:ext>
                </a:extLst>
              </a:tr>
              <a:tr h="181017">
                <a:tc>
                  <a:txBody>
                    <a:bodyPr/>
                    <a:lstStyle/>
                    <a:p>
                      <a:pPr marL="118872" indent="-118872">
                        <a:buClr>
                          <a:schemeClr val="accent2"/>
                        </a:buClr>
                        <a:buSzPct val="70000"/>
                        <a:buFont typeface="Arial" panose="020B0604020202020204" pitchFamily="34" charset="0"/>
                        <a:buChar char="►"/>
                      </a:pPr>
                      <a:r>
                        <a:rPr lang="en-IN" sz="850" b="0">
                          <a:solidFill>
                            <a:schemeClr val="tx1"/>
                          </a:solidFill>
                        </a:rPr>
                        <a:t>Banking and Financial Services Business Process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Global Business Services</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Network Services and 5G </a:t>
                      </a:r>
                    </a:p>
                  </a:txBody>
                  <a:tcPr marL="54864"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6771474"/>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a:solidFill>
                            <a:schemeClr val="tx1"/>
                          </a:solidFill>
                          <a:latin typeface="+mn-lt"/>
                        </a:rPr>
                        <a:t>Banking and Financial Services Information Technology</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Google Cloud</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rPr>
                        <a:t>Outsourcing Excellence</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9082298"/>
                  </a:ext>
                </a:extLst>
              </a:tr>
              <a:tr h="181017">
                <a:tc>
                  <a:txBody>
                    <a:bodyPr/>
                    <a:lstStyle/>
                    <a:p>
                      <a:pPr marL="118872" indent="-118872">
                        <a:buClr>
                          <a:schemeClr val="accent2"/>
                        </a:buClr>
                        <a:buSzPct val="70000"/>
                        <a:buFont typeface="Arial" panose="020B0604020202020204" pitchFamily="34" charset="0"/>
                        <a:buChar char="►"/>
                      </a:pPr>
                      <a:r>
                        <a:rPr lang="en-IN" sz="850" b="0">
                          <a:solidFill>
                            <a:schemeClr val="tx1"/>
                          </a:solidFill>
                        </a:rPr>
                        <a:t>Catalyst™</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Healthcare Business Process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rPr>
                        <a:t>Pricing Analytics as a Service</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4059258"/>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rPr>
                        <a:t>Clinical Development Technology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a:solidFill>
                            <a:schemeClr val="tx1"/>
                          </a:solidFill>
                          <a:latin typeface="+mn-lt"/>
                        </a:rPr>
                        <a:t>Healthcare Information Technology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rPr>
                        <a:t>Process Mining </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8910868"/>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Cloud and Infrastructure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Human Resources</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rPr>
                        <a:t>Process Orchestration</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343392"/>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Contingent Staffing</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rPr>
                        <a:t>Insurance Business Process </a:t>
                      </a:r>
                      <a:endParaRPr lang="en-US" sz="850" b="0">
                        <a:solidFill>
                          <a:schemeClr val="tx1"/>
                        </a:solidFill>
                        <a:latin typeface="+mn-lt"/>
                      </a:endParaRP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Procurement and Supply Chain </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2784519"/>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Contingent Workforce Management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a:solidFill>
                            <a:schemeClr val="tx1"/>
                          </a:solidFill>
                          <a:latin typeface="+mn-lt"/>
                        </a:rPr>
                        <a:t>Insurance Information Technology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indent="-118872">
                        <a:buClr>
                          <a:schemeClr val="accent2"/>
                        </a:buClr>
                        <a:buSzPct val="70000"/>
                        <a:buFont typeface="Arial" panose="020B0604020202020204" pitchFamily="34" charset="0"/>
                        <a:buChar char="►"/>
                      </a:pPr>
                      <a:r>
                        <a:rPr lang="en-IN" sz="850" b="0">
                          <a:solidFill>
                            <a:schemeClr val="tx1"/>
                          </a:solidFill>
                        </a:rPr>
                        <a:t>Recruitment</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9941755"/>
                  </a:ext>
                </a:extLst>
              </a:tr>
              <a:tr h="181017">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Customer Experience Management Services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kumimoji="0" lang="en-US" sz="850" b="0" i="0" u="none" strike="noStrike" kern="1200" cap="none" spc="0" normalizeH="0" baseline="0" noProof="0">
                          <a:ln>
                            <a:noFill/>
                          </a:ln>
                          <a:solidFill>
                            <a:schemeClr val="tx1"/>
                          </a:solidFill>
                          <a:effectLst/>
                          <a:uLnTx/>
                          <a:uFillTx/>
                          <a:latin typeface="+mn-lt"/>
                          <a:ea typeface="+mn-ea"/>
                          <a:cs typeface="Arial" charset="0"/>
                        </a:rPr>
                        <a:t>Insurance Technology (</a:t>
                      </a:r>
                      <a:r>
                        <a:rPr kumimoji="0" lang="en-US" sz="850" b="0" i="0" u="none" strike="noStrike" kern="1200" cap="none" spc="0" normalizeH="0" baseline="0" noProof="0" err="1">
                          <a:ln>
                            <a:noFill/>
                          </a:ln>
                          <a:solidFill>
                            <a:schemeClr val="tx1"/>
                          </a:solidFill>
                          <a:effectLst/>
                          <a:uLnTx/>
                          <a:uFillTx/>
                          <a:latin typeface="+mn-lt"/>
                          <a:ea typeface="+mn-ea"/>
                          <a:cs typeface="Arial" charset="0"/>
                        </a:rPr>
                        <a:t>InsurTech</a:t>
                      </a:r>
                      <a:r>
                        <a:rPr kumimoji="0" lang="en-US" sz="850" b="0" i="0" u="none" strike="noStrike" kern="1200" cap="none" spc="0" normalizeH="0" baseline="0" noProof="0">
                          <a:ln>
                            <a:noFill/>
                          </a:ln>
                          <a:solidFill>
                            <a:schemeClr val="tx1"/>
                          </a:solidFill>
                          <a:effectLst/>
                          <a:uLnTx/>
                          <a:uFillTx/>
                          <a:latin typeface="+mn-lt"/>
                          <a:ea typeface="+mn-ea"/>
                          <a:cs typeface="Arial" charset="0"/>
                        </a:rPr>
                        <a:t>)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Retail and CPG IT Services</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9128020"/>
                  </a:ext>
                </a:extLst>
              </a:tr>
              <a:tr h="181017">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CX Excellence</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a:solidFill>
                            <a:schemeClr val="tx1"/>
                          </a:solidFill>
                          <a:latin typeface="+mn-lt"/>
                          <a:sym typeface="Wingdings 3" panose="05040102010807070707" pitchFamily="18" charset="2"/>
                        </a:rPr>
                        <a:t>Insurance Third-Party Administration (TPA) Services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Retirement Technologies</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60707031"/>
                  </a:ext>
                </a:extLst>
              </a:tr>
              <a:tr h="181017">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CXM Technology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a:solidFill>
                            <a:schemeClr val="tx1"/>
                          </a:solidFill>
                          <a:latin typeface="+mn-lt"/>
                          <a:sym typeface="Wingdings 3" panose="05040102010807070707" pitchFamily="18" charset="2"/>
                        </a:rPr>
                        <a:t>Intelligent Document Processing</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indent="-118872">
                        <a:buClr>
                          <a:schemeClr val="accent2"/>
                        </a:buClr>
                        <a:buSzPct val="70000"/>
                        <a:buFont typeface="Arial" panose="020B0604020202020204" pitchFamily="34" charset="0"/>
                        <a:buChar char="►"/>
                      </a:pPr>
                      <a:r>
                        <a:rPr lang="en-IN" sz="850" b="0">
                          <a:solidFill>
                            <a:schemeClr val="tx1"/>
                          </a:solidFill>
                        </a:rPr>
                        <a:t>Revenue Cycle Management</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9389315"/>
                  </a:ext>
                </a:extLst>
              </a:tr>
              <a:tr h="181017">
                <a:tc>
                  <a:txBody>
                    <a:bodyPr/>
                    <a:lstStyle/>
                    <a:p>
                      <a:pPr marL="118872" indent="-118872">
                        <a:buClr>
                          <a:schemeClr val="accent2"/>
                        </a:buClr>
                        <a:buSzPct val="70000"/>
                        <a:buFont typeface="Arial" panose="020B0604020202020204" pitchFamily="34" charset="0"/>
                        <a:buChar char="►"/>
                      </a:pPr>
                      <a:r>
                        <a:rPr lang="en-US" sz="850" b="0">
                          <a:solidFill>
                            <a:schemeClr val="tx1"/>
                          </a:solidFill>
                          <a:latin typeface="+mn-lt"/>
                        </a:rPr>
                        <a:t>Cybersecurity </a:t>
                      </a:r>
                      <a:endParaRPr lang="en-IN" sz="850" b="0">
                        <a:solidFill>
                          <a:schemeClr val="tx1"/>
                        </a:solidFill>
                      </a:endParaRP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sym typeface="Wingdings 3" panose="05040102010807070707" pitchFamily="18" charset="2"/>
                        </a:rPr>
                        <a:t>Interactive Experience (IX) Services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indent="-118872">
                        <a:buClr>
                          <a:schemeClr val="accent2"/>
                        </a:buClr>
                        <a:buSzPct val="70000"/>
                        <a:buFont typeface="Arial" panose="020B0604020202020204" pitchFamily="34" charset="0"/>
                        <a:buChar char="►"/>
                      </a:pPr>
                      <a:r>
                        <a:rPr lang="en-IN" sz="850" b="0">
                          <a:solidFill>
                            <a:schemeClr val="tx1"/>
                          </a:solidFill>
                        </a:rPr>
                        <a:t>Rewards and Recognition </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8196679"/>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Data and Analytics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kern="1200">
                          <a:solidFill>
                            <a:schemeClr val="tx1"/>
                          </a:solidFill>
                          <a:latin typeface="+mn-lt"/>
                          <a:ea typeface="+mn-ea"/>
                          <a:cs typeface="+mn-cs"/>
                          <a:sym typeface="Wingdings 3" panose="05040102010807070707" pitchFamily="18" charset="2"/>
                        </a:rPr>
                        <a:t>IT Services Excellence</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Service Optimization Technologies </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9425655"/>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Digital Adoption Platforms</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IT Services Executive Insights™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Software Product Engineering Services</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1538722"/>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Digital Engineering Services</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IT Talent Excellence</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a:solidFill>
                            <a:schemeClr val="tx1"/>
                          </a:solidFill>
                          <a:latin typeface="+mn-lt"/>
                        </a:rPr>
                        <a:t>Supply Chain Management (SCM) Services </a:t>
                      </a:r>
                      <a:endParaRPr lang="en-IN" sz="850" b="0">
                        <a:solidFill>
                          <a:schemeClr val="tx1"/>
                        </a:solidFill>
                      </a:endParaRP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5559229"/>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Digital Services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4400"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Life Sciences Business Process</a:t>
                      </a:r>
                      <a:endParaRPr lang="en-US" sz="850" b="0">
                        <a:solidFill>
                          <a:schemeClr val="tx1"/>
                        </a:solidFill>
                        <a:latin typeface="+mn-lt"/>
                      </a:endParaRP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Sustainability Technology and Services</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484098"/>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Digital Workplace</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a:solidFill>
                            <a:schemeClr val="tx1"/>
                          </a:solidFill>
                          <a:latin typeface="+mn-lt"/>
                        </a:rPr>
                        <a:t>Life Sciences Commercial Technologies</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Technology Skills and Talent</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28432266"/>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Employee Experience Management (EXM) Platforms</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a:solidFill>
                            <a:schemeClr val="tx1"/>
                          </a:solidFill>
                          <a:latin typeface="+mn-lt"/>
                        </a:rPr>
                        <a:t>Life Sciences Information Technology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Trust and Safety</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2007253"/>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Employer of Record (EOR)</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Locations Insider™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Value and Quality Assurance (VQA) </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6268032"/>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Engineering Services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a:solidFill>
                            <a:schemeClr val="tx1"/>
                          </a:solidFill>
                          <a:latin typeface="+mn-lt"/>
                          <a:ea typeface="+mn-ea"/>
                          <a:cs typeface="+mn-cs"/>
                        </a:rPr>
                        <a:t>Marketing Services</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rowSpan="2">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US" sz="850" b="0" noProof="0">
                          <a:solidFill>
                            <a:schemeClr val="tx1"/>
                          </a:solidFill>
                        </a:rPr>
                        <a:t>Work at Home Agent (WAHA) Customer </a:t>
                      </a:r>
                      <a:br>
                        <a:rPr lang="en-US" sz="850" b="0" noProof="0">
                          <a:solidFill>
                            <a:schemeClr val="tx1"/>
                          </a:solidFill>
                        </a:rPr>
                      </a:br>
                      <a:r>
                        <a:rPr lang="en-US" sz="850" b="0" noProof="0">
                          <a:solidFill>
                            <a:schemeClr val="tx1"/>
                          </a:solidFill>
                        </a:rPr>
                        <a:t>Experience Management (CXM)</a:t>
                      </a: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161073"/>
                  </a:ext>
                </a:extLst>
              </a:tr>
              <a:tr h="181017">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a:solidFill>
                            <a:schemeClr val="tx1"/>
                          </a:solidFill>
                        </a:rPr>
                        <a:t>Enterprise Platform Services </a:t>
                      </a:r>
                    </a:p>
                  </a:txBody>
                  <a:tcPr marL="306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r>
                        <a:rPr lang="en-IN" sz="850" b="0" kern="1200" dirty="0">
                          <a:solidFill>
                            <a:schemeClr val="tx1"/>
                          </a:solidFill>
                          <a:latin typeface="+mn-lt"/>
                          <a:ea typeface="+mn-ea"/>
                          <a:cs typeface="+mn-cs"/>
                        </a:rPr>
                        <a:t>Market Vista™ </a:t>
                      </a:r>
                    </a:p>
                  </a:txBody>
                  <a:tcPr marL="108000" marR="91535"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tc vMerge="1">
                  <a:txBody>
                    <a:bodyPr/>
                    <a:lstStyle/>
                    <a:p>
                      <a:pPr marL="171450" marR="0" lvl="0" indent="-171450" algn="l" defTabSz="915373" rtl="0" eaLnBrk="1" fontAlgn="auto" latinLnBrk="0" hangingPunct="1">
                        <a:lnSpc>
                          <a:spcPct val="100000"/>
                        </a:lnSpc>
                        <a:spcBef>
                          <a:spcPts val="0"/>
                        </a:spcBef>
                        <a:spcAft>
                          <a:spcPts val="0"/>
                        </a:spcAft>
                        <a:buClr>
                          <a:schemeClr val="accent2"/>
                        </a:buClr>
                        <a:buSzPct val="70000"/>
                        <a:buFont typeface="Arial" panose="020B0604020202020204" pitchFamily="34" charset="0"/>
                        <a:buChar char="►"/>
                        <a:tabLst/>
                        <a:defRPr/>
                      </a:pPr>
                      <a:endParaRPr lang="en-IN" sz="850" b="0" kern="1200">
                        <a:solidFill>
                          <a:schemeClr val="tx1"/>
                        </a:solidFill>
                        <a:latin typeface="+mn-lt"/>
                        <a:ea typeface="+mn-ea"/>
                        <a:cs typeface="+mn-cs"/>
                      </a:endParaRPr>
                    </a:p>
                  </a:txBody>
                  <a:tcPr marL="54000" marR="90000" marT="27432" marB="18288">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910561"/>
                  </a:ext>
                </a:extLst>
              </a:tr>
            </a:tbl>
          </a:graphicData>
        </a:graphic>
      </p:graphicFrame>
    </p:spTree>
    <p:custDataLst>
      <p:custData r:id="rId1"/>
      <p:custData r:id="rId2"/>
    </p:custDataLst>
    <p:extLst>
      <p:ext uri="{BB962C8B-B14F-4D97-AF65-F5344CB8AC3E}">
        <p14:creationId xmlns:p14="http://schemas.microsoft.com/office/powerpoint/2010/main" val="21162165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9968EB1F-313D-469B-85E2-18A3F9F57211}"/>
              </a:ext>
            </a:extLst>
          </p:cNvPr>
          <p:cNvGraphicFramePr>
            <a:graphicFrameLocks noGrp="1"/>
          </p:cNvGraphicFramePr>
          <p:nvPr/>
        </p:nvGraphicFramePr>
        <p:xfrm>
          <a:off x="310262" y="5000189"/>
          <a:ext cx="3013387" cy="1219200"/>
        </p:xfrm>
        <a:graphic>
          <a:graphicData uri="http://schemas.openxmlformats.org/drawingml/2006/table">
            <a:tbl>
              <a:tblPr firstRow="1" bandRow="1">
                <a:tableStyleId>{5C22544A-7EE6-4342-B048-85BDC9FD1C3A}</a:tableStyleId>
              </a:tblPr>
              <a:tblGrid>
                <a:gridCol w="3013387">
                  <a:extLst>
                    <a:ext uri="{9D8B030D-6E8A-4147-A177-3AD203B41FA5}">
                      <a16:colId xmlns:a16="http://schemas.microsoft.com/office/drawing/2014/main" val="2490264720"/>
                    </a:ext>
                  </a:extLst>
                </a:gridCol>
              </a:tblGrid>
              <a:tr h="171123">
                <a:tc>
                  <a:txBody>
                    <a:bodyPr/>
                    <a:lstStyle/>
                    <a:p>
                      <a:pPr algn="l"/>
                      <a:r>
                        <a:rPr lang="en-US" sz="1000" b="1">
                          <a:solidFill>
                            <a:schemeClr val="bg1">
                              <a:lumMod val="50000"/>
                            </a:schemeClr>
                          </a:solidFill>
                        </a:rPr>
                        <a:t>Amardeep Modi,</a:t>
                      </a:r>
                      <a:r>
                        <a:rPr lang="en-US" sz="1000" b="0">
                          <a:solidFill>
                            <a:schemeClr val="bg1">
                              <a:lumMod val="50000"/>
                            </a:schemeClr>
                          </a:solidFill>
                        </a:rPr>
                        <a:t> Vice President</a:t>
                      </a:r>
                      <a:endParaRPr lang="en-US" sz="1000" b="0">
                        <a:solidFill>
                          <a:schemeClr val="accent3"/>
                        </a:solidFill>
                      </a:endParaRP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96877529"/>
                  </a:ext>
                </a:extLst>
              </a:tr>
              <a:tr h="0">
                <a:tc>
                  <a:txBody>
                    <a:bodyPr/>
                    <a:lstStyle/>
                    <a:p>
                      <a:pPr algn="l"/>
                      <a:r>
                        <a:rPr lang="en-US" sz="1000" b="1">
                          <a:solidFill>
                            <a:schemeClr val="bg1">
                              <a:lumMod val="50000"/>
                            </a:schemeClr>
                          </a:solidFill>
                        </a:rPr>
                        <a:t>Samikshya Meher,</a:t>
                      </a:r>
                      <a:r>
                        <a:rPr lang="en-US" sz="1000" b="0">
                          <a:solidFill>
                            <a:schemeClr val="bg1">
                              <a:lumMod val="50000"/>
                            </a:schemeClr>
                          </a:solidFill>
                        </a:rPr>
                        <a:t> Practice Director</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7409778"/>
                  </a:ext>
                </a:extLst>
              </a:tr>
              <a:tr h="0">
                <a:tc>
                  <a:txBody>
                    <a:bodyPr/>
                    <a:lstStyle/>
                    <a:p>
                      <a:pPr algn="l"/>
                      <a:r>
                        <a:rPr lang="en-US" sz="1000" b="1">
                          <a:solidFill>
                            <a:schemeClr val="bg1">
                              <a:lumMod val="50000"/>
                            </a:schemeClr>
                          </a:solidFill>
                        </a:rPr>
                        <a:t>Jonty </a:t>
                      </a:r>
                      <a:r>
                        <a:rPr lang="en-US" sz="1000" b="1" err="1">
                          <a:solidFill>
                            <a:schemeClr val="bg1">
                              <a:lumMod val="50000"/>
                            </a:schemeClr>
                          </a:solidFill>
                        </a:rPr>
                        <a:t>Padia</a:t>
                      </a:r>
                      <a:r>
                        <a:rPr lang="en-US" sz="1000" b="1">
                          <a:solidFill>
                            <a:schemeClr val="bg1">
                              <a:lumMod val="50000"/>
                            </a:schemeClr>
                          </a:solidFill>
                        </a:rPr>
                        <a:t>,</a:t>
                      </a:r>
                      <a:r>
                        <a:rPr lang="en-US" sz="1000" b="0">
                          <a:solidFill>
                            <a:schemeClr val="bg1">
                              <a:lumMod val="50000"/>
                            </a:schemeClr>
                          </a:solidFill>
                        </a:rPr>
                        <a:t> Senior Analyst</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9101190"/>
                  </a:ext>
                </a:extLst>
              </a:tr>
              <a:tr h="0">
                <a:tc>
                  <a:txBody>
                    <a:bodyPr/>
                    <a:lstStyle/>
                    <a:p>
                      <a:pPr algn="l"/>
                      <a:r>
                        <a:rPr lang="en-US" sz="1000" b="1">
                          <a:solidFill>
                            <a:schemeClr val="bg1">
                              <a:lumMod val="50000"/>
                            </a:schemeClr>
                          </a:solidFill>
                        </a:rPr>
                        <a:t>Santhosh Kumar,</a:t>
                      </a:r>
                      <a:r>
                        <a:rPr lang="en-US" sz="1000" b="0">
                          <a:solidFill>
                            <a:schemeClr val="bg1">
                              <a:lumMod val="50000"/>
                            </a:schemeClr>
                          </a:solidFill>
                        </a:rPr>
                        <a:t> Senior Analyst</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68554491"/>
                  </a:ext>
                </a:extLst>
              </a:tr>
              <a:tr h="0">
                <a:tc>
                  <a:txBody>
                    <a:bodyPr/>
                    <a:lstStyle/>
                    <a:p>
                      <a:pPr algn="l"/>
                      <a:r>
                        <a:rPr lang="en-US" sz="1000" b="1">
                          <a:solidFill>
                            <a:schemeClr val="bg1">
                              <a:lumMod val="50000"/>
                            </a:schemeClr>
                          </a:solidFill>
                        </a:rPr>
                        <a:t>Varun Jain,</a:t>
                      </a:r>
                      <a:r>
                        <a:rPr lang="en-US" sz="1000" b="0">
                          <a:solidFill>
                            <a:schemeClr val="bg1">
                              <a:lumMod val="50000"/>
                            </a:schemeClr>
                          </a:solidFill>
                        </a:rPr>
                        <a:t> Analyst</a:t>
                      </a:r>
                    </a:p>
                  </a:txBody>
                  <a:tcPr marL="0" marR="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2388985"/>
                  </a:ext>
                </a:extLst>
              </a:tr>
            </a:tbl>
          </a:graphicData>
        </a:graphic>
      </p:graphicFrame>
      <p:graphicFrame>
        <p:nvGraphicFramePr>
          <p:cNvPr id="6" name="Table 33">
            <a:extLst>
              <a:ext uri="{FF2B5EF4-FFF2-40B4-BE49-F238E27FC236}">
                <a16:creationId xmlns:a16="http://schemas.microsoft.com/office/drawing/2014/main" id="{7A05D19A-3492-4980-AFBF-AAD8A3D5B772}"/>
              </a:ext>
            </a:extLst>
          </p:cNvPr>
          <p:cNvGraphicFramePr>
            <a:graphicFrameLocks noGrp="1"/>
          </p:cNvGraphicFramePr>
          <p:nvPr>
            <p:extLst>
              <p:ext uri="{D42A27DB-BD31-4B8C-83A1-F6EECF244321}">
                <p14:modId xmlns:p14="http://schemas.microsoft.com/office/powerpoint/2010/main" val="1298354045"/>
              </p:ext>
            </p:extLst>
          </p:nvPr>
        </p:nvGraphicFramePr>
        <p:xfrm>
          <a:off x="4037107" y="1161227"/>
          <a:ext cx="7348724" cy="5239584"/>
        </p:xfrm>
        <a:graphic>
          <a:graphicData uri="http://schemas.openxmlformats.org/drawingml/2006/table">
            <a:tbl>
              <a:tblPr>
                <a:tableStyleId>{5C22544A-7EE6-4342-B048-85BDC9FD1C3A}</a:tableStyleId>
              </a:tblPr>
              <a:tblGrid>
                <a:gridCol w="305594">
                  <a:extLst>
                    <a:ext uri="{9D8B030D-6E8A-4147-A177-3AD203B41FA5}">
                      <a16:colId xmlns:a16="http://schemas.microsoft.com/office/drawing/2014/main" val="137393273"/>
                    </a:ext>
                  </a:extLst>
                </a:gridCol>
                <a:gridCol w="6624914">
                  <a:extLst>
                    <a:ext uri="{9D8B030D-6E8A-4147-A177-3AD203B41FA5}">
                      <a16:colId xmlns:a16="http://schemas.microsoft.com/office/drawing/2014/main" val="1697316569"/>
                    </a:ext>
                  </a:extLst>
                </a:gridCol>
                <a:gridCol w="418216">
                  <a:extLst>
                    <a:ext uri="{9D8B030D-6E8A-4147-A177-3AD203B41FA5}">
                      <a16:colId xmlns:a16="http://schemas.microsoft.com/office/drawing/2014/main" val="2481023271"/>
                    </a:ext>
                  </a:extLst>
                </a:gridCol>
              </a:tblGrid>
              <a:tr h="249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latin typeface="+mn-lt"/>
                          <a:ea typeface="+mn-ea"/>
                          <a:cs typeface="+mn-cs"/>
                        </a:rPr>
                        <a:t>1.</a:t>
                      </a:r>
                      <a:endParaRPr lang="en-IN" sz="1000" b="1" kern="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rPr>
                        <a:t>Introduction and overview</a:t>
                      </a:r>
                      <a:endParaRPr lang="en-IN" sz="1000" b="0">
                        <a:solidFill>
                          <a:schemeClr val="accent3"/>
                        </a:solidFill>
                      </a:endParaRPr>
                    </a:p>
                  </a:txBody>
                  <a:tcPr marL="0" anchor="ctr">
                    <a:lnL w="12700" cmpd="sng">
                      <a:noFill/>
                    </a:lnL>
                    <a:lnR w="6350" cap="flat" cmpd="sng" algn="ctr">
                      <a:noFill/>
                      <a:prstDash val="lgDash"/>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latin typeface="+mn-lt"/>
                          <a:ea typeface="+mn-ea"/>
                          <a:cs typeface="+mn-cs"/>
                        </a:rPr>
                        <a:t>6</a:t>
                      </a:r>
                      <a:endParaRPr lang="en-IN" sz="1000" b="1" kern="0">
                        <a:solidFill>
                          <a:schemeClr val="tx1"/>
                        </a:solidFill>
                        <a:latin typeface="+mn-lt"/>
                        <a:ea typeface="+mn-ea"/>
                        <a:cs typeface="+mn-cs"/>
                      </a:endParaRPr>
                    </a:p>
                  </a:txBody>
                  <a:tcPr anchor="ctr">
                    <a:lnL w="6350" cap="flat" cmpd="sng" algn="ctr">
                      <a:noFill/>
                      <a:prstDash val="lgDash"/>
                      <a:round/>
                      <a:headEnd type="none" w="med" len="med"/>
                      <a:tailEnd type="none" w="med" len="med"/>
                    </a:lnL>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0351584"/>
                  </a:ext>
                </a:extLst>
              </a:tr>
              <a:tr h="249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a:solidFill>
                            <a:schemeClr val="tx1"/>
                          </a:solidFill>
                        </a:rPr>
                        <a:t>Research methodology</a:t>
                      </a:r>
                      <a:endParaRPr lang="en-IN" sz="1000">
                        <a:solidFill>
                          <a:schemeClr val="tx1"/>
                        </a:solidFill>
                      </a:endParaRP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kern="0">
                          <a:solidFill>
                            <a:schemeClr val="tx1"/>
                          </a:solidFill>
                          <a:latin typeface="+mn-lt"/>
                          <a:ea typeface="+mn-ea"/>
                          <a:cs typeface="+mn-cs"/>
                        </a:rPr>
                        <a:t>7</a:t>
                      </a:r>
                      <a:endParaRPr lang="en-IN" sz="1000" kern="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87864613"/>
                  </a:ext>
                </a:extLst>
              </a:tr>
              <a:tr h="249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a:solidFill>
                            <a:schemeClr val="tx1"/>
                          </a:solidFill>
                        </a:rPr>
                        <a:t>Key sources of information</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kern="0">
                          <a:solidFill>
                            <a:schemeClr val="tx1"/>
                          </a:solidFill>
                          <a:latin typeface="+mn-lt"/>
                          <a:ea typeface="+mn-ea"/>
                          <a:cs typeface="+mn-cs"/>
                        </a:rPr>
                        <a:t>8</a:t>
                      </a:r>
                      <a:endParaRPr lang="en-IN" sz="1000" kern="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0431255"/>
                  </a:ext>
                </a:extLst>
              </a:tr>
              <a:tr h="249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a:solidFill>
                            <a:schemeClr val="tx1"/>
                          </a:solidFill>
                        </a:rPr>
                        <a:t>Background of the research</a:t>
                      </a:r>
                      <a:endParaRPr lang="en-IN" sz="1000">
                        <a:solidFill>
                          <a:schemeClr val="tx1"/>
                        </a:solidFill>
                      </a:endParaRP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a:solidFill>
                            <a:schemeClr val="tx1"/>
                          </a:solidFill>
                          <a:latin typeface="+mn-lt"/>
                          <a:ea typeface="+mn-ea"/>
                          <a:cs typeface="+mn-cs"/>
                        </a:rPr>
                        <a:t>9</a:t>
                      </a:r>
                      <a:endParaRPr lang="en-IN" sz="1000" kern="0" noProof="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9221733"/>
                  </a:ext>
                </a:extLst>
              </a:tr>
              <a:tr h="249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IN" sz="1000" b="1" kern="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IN" sz="1000">
                          <a:solidFill>
                            <a:schemeClr val="tx1"/>
                          </a:solidFill>
                        </a:rPr>
                        <a:t>Outlook for 2023</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a:solidFill>
                            <a:schemeClr val="tx1"/>
                          </a:solidFill>
                          <a:latin typeface="+mn-lt"/>
                          <a:ea typeface="+mn-ea"/>
                          <a:cs typeface="+mn-cs"/>
                        </a:rPr>
                        <a:t>11</a:t>
                      </a:r>
                      <a:endParaRPr lang="en-IN" sz="1000" kern="0" noProof="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130965"/>
                  </a:ext>
                </a:extLst>
              </a:tr>
              <a:tr h="249504">
                <a:tc>
                  <a:txBody>
                    <a:bodyPr/>
                    <a:lstStyle/>
                    <a:p>
                      <a:pPr>
                        <a:lnSpc>
                          <a:spcPct val="100000"/>
                        </a:lnSpc>
                      </a:pPr>
                      <a:r>
                        <a:rPr lang="en-US" sz="1000" b="1" kern="0">
                          <a:solidFill>
                            <a:schemeClr val="tx1"/>
                          </a:solidFill>
                          <a:latin typeface="+mn-lt"/>
                          <a:ea typeface="+mn-ea"/>
                          <a:cs typeface="+mn-cs"/>
                        </a:rPr>
                        <a:t>2.</a:t>
                      </a:r>
                      <a:endParaRPr lang="en-IN" sz="1000" b="1" kern="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a:lnSpc>
                          <a:spcPct val="100000"/>
                        </a:lnSpc>
                      </a:pPr>
                      <a:r>
                        <a:rPr lang="en-US" sz="1000" b="1" kern="0">
                          <a:solidFill>
                            <a:schemeClr val="tx1"/>
                          </a:solidFill>
                        </a:rPr>
                        <a:t>Summary of key messages</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b="1" kern="0">
                          <a:solidFill>
                            <a:schemeClr val="tx1"/>
                          </a:solidFill>
                          <a:latin typeface="+mn-lt"/>
                          <a:ea typeface="+mn-ea"/>
                          <a:cs typeface="+mn-cs"/>
                        </a:rPr>
                        <a:t>13</a:t>
                      </a:r>
                      <a:endParaRPr lang="en-IN" sz="1000" b="1" kern="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46347883"/>
                  </a:ext>
                </a:extLst>
              </a:tr>
              <a:tr h="249504">
                <a:tc>
                  <a:txBody>
                    <a:bodyPr/>
                    <a:lstStyle/>
                    <a:p>
                      <a:pPr>
                        <a:lnSpc>
                          <a:spcPct val="100000"/>
                        </a:lnSpc>
                      </a:pPr>
                      <a:r>
                        <a:rPr lang="en-US" sz="1000" b="1" kern="0">
                          <a:solidFill>
                            <a:schemeClr val="tx1"/>
                          </a:solidFill>
                          <a:latin typeface="+mn-lt"/>
                          <a:ea typeface="+mn-ea"/>
                          <a:cs typeface="+mn-cs"/>
                        </a:rPr>
                        <a:t>3.</a:t>
                      </a:r>
                      <a:endParaRPr lang="en-IN" sz="1000" b="1" kern="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a:lnSpc>
                          <a:spcPct val="100000"/>
                        </a:lnSpc>
                      </a:pPr>
                      <a:r>
                        <a:rPr lang="en-US" sz="1000" b="1" kern="0">
                          <a:solidFill>
                            <a:schemeClr val="tx1"/>
                          </a:solidFill>
                        </a:rPr>
                        <a:t>Overview of process orchestration</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b="1" kern="0">
                          <a:solidFill>
                            <a:schemeClr val="tx1"/>
                          </a:solidFill>
                          <a:latin typeface="+mn-lt"/>
                          <a:ea typeface="+mn-ea"/>
                          <a:cs typeface="+mn-cs"/>
                        </a:rPr>
                        <a:t>17</a:t>
                      </a:r>
                      <a:endParaRPr lang="en-IN" sz="1000" b="1" kern="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75931459"/>
                  </a:ext>
                </a:extLst>
              </a:tr>
              <a:tr h="249504">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endParaRPr lang="en-IN" sz="1000" kern="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noProof="0">
                          <a:solidFill>
                            <a:schemeClr val="tx1"/>
                          </a:solidFill>
                          <a:latin typeface="+mn-lt"/>
                          <a:ea typeface="+mn-ea"/>
                          <a:cs typeface="+mn-cs"/>
                        </a:rPr>
                        <a:t>Intelligent Automation (IA) ecosystem</a:t>
                      </a:r>
                    </a:p>
                  </a:txBody>
                  <a:tcPr marL="0" marR="0" marT="36576" marB="36576"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kern="0">
                          <a:solidFill>
                            <a:schemeClr val="tx1"/>
                          </a:solidFill>
                          <a:latin typeface="+mn-lt"/>
                          <a:ea typeface="+mn-ea"/>
                          <a:cs typeface="+mn-cs"/>
                        </a:rPr>
                        <a:t>18</a:t>
                      </a:r>
                      <a:endParaRPr lang="en-IN" sz="1000" kern="0">
                        <a:solidFill>
                          <a:schemeClr val="tx1"/>
                        </a:solidFill>
                        <a:latin typeface="+mn-lt"/>
                        <a:ea typeface="+mn-ea"/>
                        <a:cs typeface="+mn-cs"/>
                      </a:endParaRP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76716409"/>
                  </a:ext>
                </a:extLst>
              </a:tr>
              <a:tr h="249504">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endParaRPr lang="en-IN" sz="1000"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noProof="0">
                          <a:solidFill>
                            <a:schemeClr val="tx1"/>
                          </a:solidFill>
                          <a:latin typeface="+mn-lt"/>
                          <a:ea typeface="+mn-ea"/>
                          <a:cs typeface="+mn-cs"/>
                        </a:rPr>
                        <a:t>Process orchestration definition</a:t>
                      </a:r>
                    </a:p>
                  </a:txBody>
                  <a:tcPr marL="0" marR="0" marT="36576" marB="36576"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kern="0">
                          <a:solidFill>
                            <a:schemeClr val="tx1"/>
                          </a:solidFill>
                          <a:latin typeface="+mn-lt"/>
                          <a:ea typeface="+mn-ea"/>
                          <a:cs typeface="+mn-cs"/>
                        </a:rPr>
                        <a:t>19</a:t>
                      </a:r>
                      <a:endParaRPr lang="en-IN" sz="1000" kern="0">
                        <a:solidFill>
                          <a:schemeClr val="tx1"/>
                        </a:solidFill>
                        <a:latin typeface="+mn-lt"/>
                        <a:ea typeface="+mn-ea"/>
                        <a:cs typeface="+mn-cs"/>
                      </a:endParaRP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5654377"/>
                  </a:ext>
                </a:extLst>
              </a:tr>
              <a:tr h="249504">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endParaRPr lang="en-IN" sz="1000"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noProof="0">
                          <a:solidFill>
                            <a:schemeClr val="tx1"/>
                          </a:solidFill>
                          <a:latin typeface="+mn-lt"/>
                          <a:ea typeface="+mn-ea"/>
                          <a:cs typeface="+mn-cs"/>
                        </a:rPr>
                        <a:t>Product components and capabilities</a:t>
                      </a:r>
                    </a:p>
                  </a:txBody>
                  <a:tcPr marL="0" marR="0" marT="36576" marB="36576"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a:solidFill>
                            <a:schemeClr val="tx1"/>
                          </a:solidFill>
                          <a:latin typeface="+mn-lt"/>
                          <a:ea typeface="+mn-ea"/>
                          <a:cs typeface="+mn-cs"/>
                        </a:rPr>
                        <a:t>20</a:t>
                      </a:r>
                      <a:endParaRPr lang="en-IN" sz="1000" kern="0" noProof="0">
                        <a:solidFill>
                          <a:schemeClr val="tx1"/>
                        </a:solidFill>
                        <a:latin typeface="+mn-lt"/>
                        <a:ea typeface="+mn-ea"/>
                        <a:cs typeface="+mn-cs"/>
                      </a:endParaRP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4788234"/>
                  </a:ext>
                </a:extLst>
              </a:tr>
              <a:tr h="249504">
                <a:tc>
                  <a:txBody>
                    <a:bodyPr/>
                    <a:lstStyle/>
                    <a:p>
                      <a:pPr>
                        <a:lnSpc>
                          <a:spcPct val="100000"/>
                        </a:lnSpc>
                      </a:pP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noProof="0">
                          <a:solidFill>
                            <a:schemeClr val="tx1"/>
                          </a:solidFill>
                          <a:latin typeface="+mn-lt"/>
                          <a:ea typeface="+mn-ea"/>
                          <a:cs typeface="+mn-cs"/>
                        </a:rPr>
                        <a:t>Applications and benefits of process orchestration</a:t>
                      </a:r>
                    </a:p>
                  </a:txBody>
                  <a:tcPr marL="0" marR="0" marT="36576" marB="36576"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noProof="0">
                          <a:solidFill>
                            <a:schemeClr val="tx1"/>
                          </a:solidFill>
                          <a:latin typeface="+mn-lt"/>
                          <a:ea typeface="+mn-ea"/>
                          <a:cs typeface="+mn-cs"/>
                        </a:rPr>
                        <a:t>21</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003660"/>
                  </a:ext>
                </a:extLst>
              </a:tr>
              <a:tr h="249504">
                <a:tc>
                  <a:txBody>
                    <a:bodyPr/>
                    <a:lstStyle/>
                    <a:p>
                      <a:pPr>
                        <a:lnSpc>
                          <a:spcPct val="100000"/>
                        </a:lnSpc>
                      </a:pP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noProof="0">
                          <a:solidFill>
                            <a:schemeClr val="tx1"/>
                          </a:solidFill>
                          <a:latin typeface="+mn-lt"/>
                          <a:ea typeface="+mn-ea"/>
                          <a:cs typeface="+mn-cs"/>
                        </a:rPr>
                        <a:t>Process orchestration use cases</a:t>
                      </a:r>
                    </a:p>
                  </a:txBody>
                  <a:tcPr marL="0" marR="0" marT="36576" marB="36576"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noProof="0">
                          <a:solidFill>
                            <a:schemeClr val="tx1"/>
                          </a:solidFill>
                          <a:latin typeface="+mn-lt"/>
                          <a:ea typeface="+mn-ea"/>
                          <a:cs typeface="+mn-cs"/>
                        </a:rPr>
                        <a:t>23</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1661950"/>
                  </a:ext>
                </a:extLst>
              </a:tr>
              <a:tr h="249504">
                <a:tc>
                  <a:txBody>
                    <a:bodyPr/>
                    <a:lstStyle/>
                    <a:p>
                      <a:pPr>
                        <a:lnSpc>
                          <a:spcPct val="100000"/>
                        </a:lnSpc>
                      </a:pPr>
                      <a:r>
                        <a:rPr lang="en-US" sz="1000" b="1" kern="0">
                          <a:solidFill>
                            <a:schemeClr val="tx1"/>
                          </a:solidFill>
                          <a:latin typeface="+mn-lt"/>
                          <a:ea typeface="+mn-ea"/>
                          <a:cs typeface="+mn-cs"/>
                        </a:rPr>
                        <a:t>4.</a:t>
                      </a: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a:solidFill>
                            <a:schemeClr val="tx1"/>
                          </a:solidFill>
                        </a:rPr>
                        <a:t>Market size and adoption trends</a:t>
                      </a:r>
                      <a:endParaRPr lang="en-US" sz="1000" b="1" kern="0" baseline="30000">
                        <a:solidFill>
                          <a:schemeClr val="tx1"/>
                        </a:solidFill>
                      </a:endParaRP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1" kern="0" noProof="0">
                          <a:solidFill>
                            <a:schemeClr val="tx1"/>
                          </a:solidFill>
                          <a:latin typeface="+mn-lt"/>
                          <a:ea typeface="+mn-ea"/>
                          <a:cs typeface="+mn-cs"/>
                        </a:rPr>
                        <a:t>25</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2964171"/>
                  </a:ext>
                </a:extLst>
              </a:tr>
              <a:tr h="249504">
                <a:tc>
                  <a:txBody>
                    <a:bodyPr/>
                    <a:lstStyle/>
                    <a:p>
                      <a:pPr>
                        <a:lnSpc>
                          <a:spcPct val="100000"/>
                        </a:lnSpc>
                      </a:pP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a:solidFill>
                            <a:schemeClr val="tx1"/>
                          </a:solidFill>
                        </a:rPr>
                        <a:t>Process orchestration software market size and growth by revenue </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a:solidFill>
                            <a:schemeClr val="tx1"/>
                          </a:solidFill>
                          <a:latin typeface="+mn-lt"/>
                          <a:ea typeface="+mn-ea"/>
                          <a:cs typeface="+mn-cs"/>
                        </a:rPr>
                        <a:t>26</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6467389"/>
                  </a:ext>
                </a:extLst>
              </a:tr>
              <a:tr h="249504">
                <a:tc>
                  <a:txBody>
                    <a:bodyPr/>
                    <a:lstStyle/>
                    <a:p>
                      <a:pPr>
                        <a:lnSpc>
                          <a:spcPct val="100000"/>
                        </a:lnSpc>
                      </a:pP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a:solidFill>
                            <a:schemeClr val="tx1"/>
                          </a:solidFill>
                        </a:rPr>
                        <a:t>Adoption by buyer geography</a:t>
                      </a:r>
                      <a:endParaRPr lang="en-IN" sz="1000">
                        <a:solidFill>
                          <a:schemeClr val="tx1"/>
                        </a:solidFill>
                      </a:endParaRP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a:solidFill>
                            <a:schemeClr val="tx1"/>
                          </a:solidFill>
                          <a:latin typeface="+mn-lt"/>
                          <a:ea typeface="+mn-ea"/>
                          <a:cs typeface="+mn-cs"/>
                        </a:rPr>
                        <a:t>27</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8782612"/>
                  </a:ext>
                </a:extLst>
              </a:tr>
              <a:tr h="249504">
                <a:tc>
                  <a:txBody>
                    <a:bodyPr/>
                    <a:lstStyle/>
                    <a:p>
                      <a:pPr>
                        <a:lnSpc>
                          <a:spcPct val="100000"/>
                        </a:lnSpc>
                      </a:pP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a:solidFill>
                            <a:schemeClr val="tx1"/>
                          </a:solidFill>
                        </a:rPr>
                        <a:t>Adoption by buyer industry</a:t>
                      </a:r>
                      <a:endParaRPr lang="en-IN" sz="1000">
                        <a:solidFill>
                          <a:schemeClr val="tx1"/>
                        </a:solidFill>
                      </a:endParaRP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a:solidFill>
                            <a:schemeClr val="tx1"/>
                          </a:solidFill>
                          <a:latin typeface="+mn-lt"/>
                          <a:ea typeface="+mn-ea"/>
                          <a:cs typeface="+mn-cs"/>
                        </a:rPr>
                        <a:t>28</a:t>
                      </a:r>
                      <a:endParaRPr lang="en-IN" sz="1000" kern="0" noProof="0">
                        <a:solidFill>
                          <a:schemeClr val="tx1"/>
                        </a:solidFill>
                        <a:latin typeface="+mn-lt"/>
                        <a:ea typeface="+mn-ea"/>
                        <a:cs typeface="+mn-cs"/>
                      </a:endParaRP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7107512"/>
                  </a:ext>
                </a:extLst>
              </a:tr>
              <a:tr h="249504">
                <a:tc>
                  <a:txBody>
                    <a:bodyPr/>
                    <a:lstStyle/>
                    <a:p>
                      <a:pPr>
                        <a:lnSpc>
                          <a:spcPct val="100000"/>
                        </a:lnSpc>
                      </a:pP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US" sz="1000" kern="0">
                          <a:solidFill>
                            <a:schemeClr val="tx1"/>
                          </a:solidFill>
                        </a:rPr>
                        <a:t>Adoption by business process/function</a:t>
                      </a:r>
                      <a:endParaRPr lang="en-IN" sz="1000">
                        <a:solidFill>
                          <a:schemeClr val="tx1"/>
                        </a:solidFill>
                      </a:endParaRP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a:solidFill>
                            <a:schemeClr val="tx1"/>
                          </a:solidFill>
                          <a:latin typeface="+mn-lt"/>
                          <a:ea typeface="+mn-ea"/>
                          <a:cs typeface="+mn-cs"/>
                        </a:rPr>
                        <a:t>29</a:t>
                      </a:r>
                      <a:endParaRPr lang="en-IN" sz="1000" kern="0" noProof="0">
                        <a:solidFill>
                          <a:schemeClr val="tx1"/>
                        </a:solidFill>
                        <a:latin typeface="+mn-lt"/>
                        <a:ea typeface="+mn-ea"/>
                        <a:cs typeface="+mn-cs"/>
                      </a:endParaRP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827701"/>
                  </a:ext>
                </a:extLst>
              </a:tr>
              <a:tr h="249504">
                <a:tc>
                  <a:txBody>
                    <a:bodyPr/>
                    <a:lstStyle/>
                    <a:p>
                      <a:pPr>
                        <a:lnSpc>
                          <a:spcPct val="100000"/>
                        </a:lnSpc>
                      </a:pPr>
                      <a:r>
                        <a:rPr lang="en-US" sz="1000" b="1" kern="0">
                          <a:solidFill>
                            <a:schemeClr val="tx1"/>
                          </a:solidFill>
                          <a:latin typeface="+mn-lt"/>
                          <a:ea typeface="+mn-ea"/>
                          <a:cs typeface="+mn-cs"/>
                        </a:rPr>
                        <a:t>5.</a:t>
                      </a: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a:solidFill>
                            <a:schemeClr val="tx1"/>
                          </a:solidFill>
                        </a:rPr>
                        <a:t>Buyer expectations</a:t>
                      </a:r>
                      <a:endParaRPr lang="en-US" sz="1000" b="1" kern="0" baseline="30000">
                        <a:solidFill>
                          <a:schemeClr val="tx1"/>
                        </a:solidFill>
                      </a:endParaRP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b="1" kern="0" noProof="0">
                          <a:solidFill>
                            <a:schemeClr val="tx1"/>
                          </a:solidFill>
                          <a:latin typeface="+mn-lt"/>
                          <a:ea typeface="+mn-ea"/>
                          <a:cs typeface="+mn-cs"/>
                        </a:rPr>
                        <a:t>30</a:t>
                      </a:r>
                      <a:endParaRPr lang="en-IN" sz="1000" b="1" kern="0" noProof="0">
                        <a:solidFill>
                          <a:schemeClr val="tx1"/>
                        </a:solidFill>
                        <a:latin typeface="+mn-lt"/>
                        <a:ea typeface="+mn-ea"/>
                        <a:cs typeface="+mn-cs"/>
                      </a:endParaRP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2702839"/>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a:solidFill>
                            <a:schemeClr val="tx1"/>
                          </a:solidFill>
                          <a:latin typeface="+mn-lt"/>
                          <a:ea typeface="+mn-ea"/>
                          <a:cs typeface="+mn-cs"/>
                        </a:rPr>
                        <a:t>Drivers for process orchestration adoption</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a:solidFill>
                            <a:schemeClr val="tx1"/>
                          </a:solidFill>
                          <a:latin typeface="+mn-lt"/>
                          <a:ea typeface="+mn-ea"/>
                          <a:cs typeface="+mn-cs"/>
                        </a:rPr>
                        <a:t>31</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9885802"/>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a:solidFill>
                            <a:schemeClr val="tx1"/>
                          </a:solidFill>
                          <a:latin typeface="+mn-lt"/>
                          <a:ea typeface="+mn-ea"/>
                          <a:cs typeface="+mn-cs"/>
                        </a:rPr>
                        <a:t>Overall buyer satisfaction</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32</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4492328"/>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Key strengths and areas of improvement</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33</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3082748"/>
                  </a:ext>
                </a:extLst>
              </a:tr>
            </a:tbl>
          </a:graphicData>
        </a:graphic>
      </p:graphicFrame>
      <p:sp>
        <p:nvSpPr>
          <p:cNvPr id="7" name="Rectangle 6">
            <a:hlinkClick r:id="rId3"/>
            <a:extLst>
              <a:ext uri="{FF2B5EF4-FFF2-40B4-BE49-F238E27FC236}">
                <a16:creationId xmlns:a16="http://schemas.microsoft.com/office/drawing/2014/main" id="{FBD324F5-797D-45E8-BBE2-3BCC805C9346}"/>
              </a:ext>
            </a:extLst>
          </p:cNvPr>
          <p:cNvSpPr/>
          <p:nvPr/>
        </p:nvSpPr>
        <p:spPr bwMode="auto">
          <a:xfrm>
            <a:off x="305724" y="5031386"/>
            <a:ext cx="1852589" cy="193757"/>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
        <p:nvSpPr>
          <p:cNvPr id="13" name="Rectangle 12">
            <a:hlinkClick r:id="rId4"/>
            <a:extLst>
              <a:ext uri="{FF2B5EF4-FFF2-40B4-BE49-F238E27FC236}">
                <a16:creationId xmlns:a16="http://schemas.microsoft.com/office/drawing/2014/main" id="{FB5B1D7F-1880-446D-BE1B-FFF7027B77C2}"/>
              </a:ext>
            </a:extLst>
          </p:cNvPr>
          <p:cNvSpPr/>
          <p:nvPr/>
        </p:nvSpPr>
        <p:spPr bwMode="auto">
          <a:xfrm>
            <a:off x="289249" y="5533830"/>
            <a:ext cx="1637087" cy="17728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
        <p:nvSpPr>
          <p:cNvPr id="14" name="Rectangle 13">
            <a:hlinkClick r:id="rId5"/>
            <a:extLst>
              <a:ext uri="{FF2B5EF4-FFF2-40B4-BE49-F238E27FC236}">
                <a16:creationId xmlns:a16="http://schemas.microsoft.com/office/drawing/2014/main" id="{BF228767-559A-4737-94F2-7BDBEB6EFA2A}"/>
              </a:ext>
            </a:extLst>
          </p:cNvPr>
          <p:cNvSpPr/>
          <p:nvPr/>
        </p:nvSpPr>
        <p:spPr bwMode="auto">
          <a:xfrm>
            <a:off x="289248" y="5282608"/>
            <a:ext cx="2100383" cy="17728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
        <p:nvSpPr>
          <p:cNvPr id="2" name="Rectangle 1">
            <a:hlinkClick r:id="rId6"/>
            <a:extLst>
              <a:ext uri="{FF2B5EF4-FFF2-40B4-BE49-F238E27FC236}">
                <a16:creationId xmlns:a16="http://schemas.microsoft.com/office/drawing/2014/main" id="{780717A0-C69D-D801-AE57-0B305C79DA56}"/>
              </a:ext>
            </a:extLst>
          </p:cNvPr>
          <p:cNvSpPr/>
          <p:nvPr/>
        </p:nvSpPr>
        <p:spPr bwMode="auto">
          <a:xfrm>
            <a:off x="289249" y="5771574"/>
            <a:ext cx="1947984" cy="17728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
        <p:nvSpPr>
          <p:cNvPr id="3" name="Rectangle 2">
            <a:hlinkClick r:id="rId7"/>
            <a:extLst>
              <a:ext uri="{FF2B5EF4-FFF2-40B4-BE49-F238E27FC236}">
                <a16:creationId xmlns:a16="http://schemas.microsoft.com/office/drawing/2014/main" id="{64A24F88-2CEA-C74F-5A59-4DBA98A61B88}"/>
              </a:ext>
            </a:extLst>
          </p:cNvPr>
          <p:cNvSpPr/>
          <p:nvPr/>
        </p:nvSpPr>
        <p:spPr bwMode="auto">
          <a:xfrm>
            <a:off x="289249" y="6003222"/>
            <a:ext cx="1222559" cy="17728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1600" b="0" i="0" u="none" strike="noStrike" cap="none" normalizeH="0" baseline="0">
              <a:ln>
                <a:noFill/>
              </a:ln>
              <a:solidFill>
                <a:schemeClr val="tx1"/>
              </a:solidFill>
              <a:effectLst/>
              <a:latin typeface="Arial"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3">
            <a:extLst>
              <a:ext uri="{FF2B5EF4-FFF2-40B4-BE49-F238E27FC236}">
                <a16:creationId xmlns:a16="http://schemas.microsoft.com/office/drawing/2014/main" id="{238CB36E-A0F4-27C4-615C-FE28A3E454AA}"/>
              </a:ext>
            </a:extLst>
          </p:cNvPr>
          <p:cNvGraphicFramePr>
            <a:graphicFrameLocks noGrp="1"/>
          </p:cNvGraphicFramePr>
          <p:nvPr/>
        </p:nvGraphicFramePr>
        <p:xfrm>
          <a:off x="4037107" y="1161227"/>
          <a:ext cx="7348724" cy="5239584"/>
        </p:xfrm>
        <a:graphic>
          <a:graphicData uri="http://schemas.openxmlformats.org/drawingml/2006/table">
            <a:tbl>
              <a:tblPr>
                <a:tableStyleId>{5C22544A-7EE6-4342-B048-85BDC9FD1C3A}</a:tableStyleId>
              </a:tblPr>
              <a:tblGrid>
                <a:gridCol w="305594">
                  <a:extLst>
                    <a:ext uri="{9D8B030D-6E8A-4147-A177-3AD203B41FA5}">
                      <a16:colId xmlns:a16="http://schemas.microsoft.com/office/drawing/2014/main" val="137393273"/>
                    </a:ext>
                  </a:extLst>
                </a:gridCol>
                <a:gridCol w="6624914">
                  <a:extLst>
                    <a:ext uri="{9D8B030D-6E8A-4147-A177-3AD203B41FA5}">
                      <a16:colId xmlns:a16="http://schemas.microsoft.com/office/drawing/2014/main" val="1697316569"/>
                    </a:ext>
                  </a:extLst>
                </a:gridCol>
                <a:gridCol w="418216">
                  <a:extLst>
                    <a:ext uri="{9D8B030D-6E8A-4147-A177-3AD203B41FA5}">
                      <a16:colId xmlns:a16="http://schemas.microsoft.com/office/drawing/2014/main" val="2481023271"/>
                    </a:ext>
                  </a:extLst>
                </a:gridCol>
              </a:tblGrid>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Key barriers to adoption</a:t>
                      </a:r>
                    </a:p>
                  </a:txBody>
                  <a:tcPr marL="0" anchor="ctr">
                    <a:lnL w="12700" cmpd="sng">
                      <a:noFill/>
                    </a:lnL>
                    <a:lnR w="6350" cap="flat" cmpd="sng" algn="ctr">
                      <a:noFill/>
                      <a:prstDash val="lgDash"/>
                      <a:round/>
                      <a:headEnd type="none" w="med" len="med"/>
                      <a:tailEnd type="none" w="med" len="med"/>
                    </a:lnR>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34</a:t>
                      </a:r>
                    </a:p>
                  </a:txBody>
                  <a:tcPr anchor="ctr">
                    <a:lnL w="6350" cap="flat" cmpd="sng" algn="ctr">
                      <a:noFill/>
                      <a:prstDash val="lgDash"/>
                      <a:round/>
                      <a:headEnd type="none" w="med" len="med"/>
                      <a:tailEnd type="none" w="med" len="med"/>
                    </a:lnL>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80351584"/>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Best practices</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35</a:t>
                      </a:r>
                    </a:p>
                  </a:txBody>
                  <a:tcPr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87864613"/>
                  </a:ext>
                </a:extLst>
              </a:tr>
              <a:tr h="249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latin typeface="+mn-lt"/>
                          <a:ea typeface="+mn-ea"/>
                          <a:cs typeface="+mn-cs"/>
                        </a:rPr>
                        <a:t>6.</a:t>
                      </a: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rPr>
                        <a:t>Process orchestration solution characteristics</a:t>
                      </a:r>
                    </a:p>
                  </a:txBody>
                  <a:tcPr marL="0" marT="0" marB="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N" sz="1000" b="1" kern="0">
                          <a:solidFill>
                            <a:schemeClr val="tx1"/>
                          </a:solidFill>
                          <a:latin typeface="+mn-lt"/>
                          <a:ea typeface="+mn-ea"/>
                          <a:cs typeface="+mn-cs"/>
                        </a:rPr>
                        <a:t>36</a:t>
                      </a: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0431255"/>
                  </a:ext>
                </a:extLst>
              </a:tr>
              <a:tr h="249504">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118872" indent="-118872">
                        <a:lnSpc>
                          <a:spcPct val="100000"/>
                        </a:lnSpc>
                        <a:buClr>
                          <a:schemeClr val="accent2"/>
                        </a:buClr>
                        <a:buSzPct val="70000"/>
                        <a:buFont typeface="Wingdings" panose="05000000000000000000" pitchFamily="2" charset="2"/>
                        <a:buChar char="l"/>
                      </a:pPr>
                      <a:r>
                        <a:rPr lang="en-IN" sz="1000">
                          <a:solidFill>
                            <a:schemeClr val="tx1"/>
                          </a:solidFill>
                        </a:rPr>
                        <a:t>Elements of solution characteristics</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IN" sz="1000" kern="0">
                          <a:solidFill>
                            <a:schemeClr val="tx1"/>
                          </a:solidFill>
                          <a:latin typeface="+mn-lt"/>
                          <a:ea typeface="+mn-ea"/>
                          <a:cs typeface="+mn-cs"/>
                        </a:rPr>
                        <a:t>37</a:t>
                      </a: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9221733"/>
                  </a:ext>
                </a:extLst>
              </a:tr>
              <a:tr h="249504">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IN" sz="1000" kern="1200">
                          <a:solidFill>
                            <a:schemeClr val="tx1"/>
                          </a:solidFill>
                          <a:latin typeface="+mn-lt"/>
                          <a:ea typeface="+mn-ea"/>
                          <a:cs typeface="+mn-cs"/>
                        </a:rPr>
                        <a:t>Training &amp; support</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r">
                        <a:lnSpc>
                          <a:spcPct val="100000"/>
                        </a:lnSpc>
                      </a:pPr>
                      <a:r>
                        <a:rPr lang="en-US" sz="1000" kern="0">
                          <a:solidFill>
                            <a:schemeClr val="tx1"/>
                          </a:solidFill>
                          <a:latin typeface="+mn-lt"/>
                          <a:ea typeface="+mn-ea"/>
                          <a:cs typeface="+mn-cs"/>
                        </a:rPr>
                        <a:t>38</a:t>
                      </a:r>
                      <a:endParaRPr lang="en-IN" sz="1000" kern="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2130965"/>
                  </a:ext>
                </a:extLst>
              </a:tr>
              <a:tr h="249504">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IN" sz="1000" kern="1200">
                          <a:solidFill>
                            <a:schemeClr val="tx1"/>
                          </a:solidFill>
                          <a:latin typeface="+mn-lt"/>
                          <a:ea typeface="+mn-ea"/>
                          <a:cs typeface="+mn-cs"/>
                        </a:rPr>
                        <a:t>Talent</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a:solidFill>
                            <a:schemeClr val="tx1"/>
                          </a:solidFill>
                          <a:latin typeface="+mn-lt"/>
                          <a:ea typeface="+mn-ea"/>
                          <a:cs typeface="+mn-cs"/>
                        </a:rPr>
                        <a:t>39</a:t>
                      </a:r>
                      <a:endParaRPr lang="en-IN" sz="1000" kern="0" noProof="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46347883"/>
                  </a:ext>
                </a:extLst>
              </a:tr>
              <a:tr h="249504">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IN" sz="1000" kern="1200">
                          <a:solidFill>
                            <a:schemeClr val="tx1"/>
                          </a:solidFill>
                          <a:latin typeface="+mn-lt"/>
                          <a:ea typeface="+mn-ea"/>
                          <a:cs typeface="+mn-cs"/>
                        </a:rPr>
                        <a:t>Partner ecosystem</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kern="0" noProof="0">
                          <a:solidFill>
                            <a:schemeClr val="tx1"/>
                          </a:solidFill>
                          <a:latin typeface="+mn-lt"/>
                          <a:ea typeface="+mn-ea"/>
                          <a:cs typeface="+mn-cs"/>
                        </a:rPr>
                        <a:t>41</a:t>
                      </a:r>
                      <a:endParaRPr lang="en-IN" sz="1000" kern="0" noProof="0">
                        <a:solidFill>
                          <a:schemeClr val="tx1"/>
                        </a:solidFill>
                        <a:latin typeface="+mn-lt"/>
                        <a:ea typeface="+mn-ea"/>
                        <a:cs typeface="+mn-cs"/>
                      </a:endParaRP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75931459"/>
                  </a:ext>
                </a:extLst>
              </a:tr>
              <a:tr h="249504">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6350" cap="flat" cmpd="sng" algn="ctr">
                      <a:noFill/>
                      <a:prstDash val="lgDash"/>
                      <a:round/>
                      <a:headEnd type="none" w="med" len="med"/>
                      <a:tailEnd type="none" w="med" len="med"/>
                    </a:lnR>
                    <a:lnT w="12700" cmpd="sng">
                      <a:noFill/>
                    </a:lnT>
                    <a:lnB w="6350" cap="flat" cmpd="sng" algn="ctr">
                      <a:noFill/>
                      <a:prstDash val="solid"/>
                      <a:round/>
                      <a:headEnd type="none" w="med" len="med"/>
                      <a:tailEnd type="none" w="med" len="med"/>
                    </a:lnB>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IN" sz="1000" kern="1200">
                          <a:solidFill>
                            <a:schemeClr val="tx1"/>
                          </a:solidFill>
                          <a:latin typeface="+mn-lt"/>
                          <a:ea typeface="+mn-ea"/>
                          <a:cs typeface="+mn-cs"/>
                        </a:rPr>
                        <a:t>Deployment model</a:t>
                      </a:r>
                    </a:p>
                  </a:txBody>
                  <a:tcPr marL="0" anchor="ctr">
                    <a:lnL w="12700" cmpd="sng">
                      <a:noFill/>
                    </a:lnL>
                    <a:lnR w="6350" cap="flat" cmpd="sng" algn="ctr">
                      <a:noFill/>
                      <a:prstDash val="lgDash"/>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a:solidFill>
                            <a:schemeClr val="tx1"/>
                          </a:solidFill>
                          <a:latin typeface="+mn-lt"/>
                          <a:ea typeface="+mn-ea"/>
                          <a:cs typeface="+mn-cs"/>
                        </a:rPr>
                        <a:t>44</a:t>
                      </a:r>
                    </a:p>
                  </a:txBody>
                  <a:tcPr marT="0" marB="0" anchor="ctr">
                    <a:lnL w="6350" cap="flat" cmpd="sng" algn="ctr">
                      <a:noFill/>
                      <a:prstDash val="lgDash"/>
                      <a:round/>
                      <a:headEnd type="none" w="med" len="med"/>
                      <a:tailEnd type="none" w="med" len="med"/>
                    </a:lnL>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76716409"/>
                  </a:ext>
                </a:extLst>
              </a:tr>
              <a:tr h="249504">
                <a:tc>
                  <a:txBody>
                    <a:bodyPr/>
                    <a:lstStyle/>
                    <a:p>
                      <a:pPr>
                        <a:lnSpc>
                          <a:spcPct val="100000"/>
                        </a:lnSpc>
                      </a:pP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37744" indent="-118872" algn="l" defTabSz="915373" rtl="0" eaLnBrk="1" latinLnBrk="0" hangingPunct="1">
                        <a:lnSpc>
                          <a:spcPct val="100000"/>
                        </a:lnSpc>
                        <a:buClr>
                          <a:schemeClr val="bg2"/>
                        </a:buClr>
                        <a:buSzPct val="100000"/>
                        <a:buFont typeface="Arial" panose="020B0604020202020204" pitchFamily="34" charset="0"/>
                        <a:buChar char="–"/>
                      </a:pPr>
                      <a:r>
                        <a:rPr lang="en-IN" sz="1000" kern="1200">
                          <a:solidFill>
                            <a:schemeClr val="tx1"/>
                          </a:solidFill>
                          <a:latin typeface="+mn-lt"/>
                          <a:ea typeface="+mn-ea"/>
                          <a:cs typeface="+mn-cs"/>
                        </a:rPr>
                        <a:t>Commercial model</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a:solidFill>
                            <a:schemeClr val="tx1"/>
                          </a:solidFill>
                          <a:latin typeface="+mn-lt"/>
                          <a:ea typeface="+mn-ea"/>
                          <a:cs typeface="+mn-cs"/>
                        </a:rPr>
                        <a:t>45</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5654377"/>
                  </a:ext>
                </a:extLst>
              </a:tr>
              <a:tr h="24950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latin typeface="+mn-lt"/>
                          <a:ea typeface="+mn-ea"/>
                          <a:cs typeface="+mn-cs"/>
                        </a:rPr>
                        <a:t>7.</a:t>
                      </a:r>
                      <a:endParaRPr lang="en-IN" sz="1000" b="1" kern="0">
                        <a:solidFill>
                          <a:schemeClr val="tx1"/>
                        </a:solidFill>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0">
                          <a:solidFill>
                            <a:schemeClr val="tx1"/>
                          </a:solidFill>
                        </a:rPr>
                        <a:t>Process orchestration product capabilities and trends</a:t>
                      </a:r>
                    </a:p>
                  </a:txBody>
                  <a:tcPr marL="0"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IN" sz="1000" b="1" kern="0">
                          <a:solidFill>
                            <a:schemeClr val="tx1"/>
                          </a:solidFill>
                          <a:latin typeface="+mn-lt"/>
                          <a:ea typeface="+mn-ea"/>
                          <a:cs typeface="+mn-cs"/>
                        </a:rPr>
                        <a:t>47</a:t>
                      </a: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64788234"/>
                  </a:ext>
                </a:extLst>
              </a:tr>
              <a:tr h="249504">
                <a:tc>
                  <a:txBody>
                    <a:bodyPr/>
                    <a:lstStyle/>
                    <a:p>
                      <a:pPr>
                        <a:lnSpc>
                          <a:spcPct val="100000"/>
                        </a:lnSpc>
                      </a:pPr>
                      <a:r>
                        <a:rPr lang="en-US" sz="1000" b="1" kern="0">
                          <a:solidFill>
                            <a:schemeClr val="tx1"/>
                          </a:solidFill>
                          <a:latin typeface="+mn-lt"/>
                          <a:ea typeface="+mn-ea"/>
                          <a:cs typeface="+mn-cs"/>
                        </a:rPr>
                        <a:t>8.</a:t>
                      </a: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a:solidFill>
                            <a:schemeClr val="tx1"/>
                          </a:solidFill>
                        </a:rPr>
                        <a:t>The process orchestration market – competitive landscape</a:t>
                      </a:r>
                      <a:endParaRPr lang="en-US" sz="1000" b="1" kern="0" baseline="30000">
                        <a:solidFill>
                          <a:schemeClr val="tx1"/>
                        </a:solidFill>
                      </a:endParaRP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b="1" kern="0" noProof="0">
                          <a:solidFill>
                            <a:schemeClr val="tx1"/>
                          </a:solidFill>
                          <a:latin typeface="+mn-lt"/>
                          <a:ea typeface="+mn-ea"/>
                          <a:cs typeface="+mn-cs"/>
                        </a:rPr>
                        <a:t>54</a:t>
                      </a:r>
                      <a:endParaRPr lang="en-IN" sz="1000" b="1" kern="0" noProof="0">
                        <a:solidFill>
                          <a:schemeClr val="tx1"/>
                        </a:solidFill>
                        <a:latin typeface="+mn-lt"/>
                        <a:ea typeface="+mn-ea"/>
                        <a:cs typeface="+mn-cs"/>
                      </a:endParaRP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74003660"/>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a:solidFill>
                            <a:schemeClr val="tx1"/>
                          </a:solidFill>
                          <a:latin typeface="+mn-lt"/>
                          <a:ea typeface="+mn-ea"/>
                          <a:cs typeface="+mn-cs"/>
                        </a:rPr>
                        <a:t>Summary</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kern="0" noProof="0">
                          <a:solidFill>
                            <a:schemeClr val="tx1"/>
                          </a:solidFill>
                          <a:latin typeface="+mn-lt"/>
                          <a:ea typeface="+mn-ea"/>
                          <a:cs typeface="+mn-cs"/>
                        </a:rPr>
                        <a:t>55</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1661950"/>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a:solidFill>
                            <a:schemeClr val="tx1"/>
                          </a:solidFill>
                          <a:latin typeface="+mn-lt"/>
                          <a:ea typeface="+mn-ea"/>
                          <a:cs typeface="+mn-cs"/>
                        </a:rPr>
                        <a:t>Market share – by revenue</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56</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2964171"/>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indent="-118872" algn="l" defTabSz="915373" rtl="0" eaLnBrk="1" latinLnBrk="0" hangingPunct="1">
                        <a:lnSpc>
                          <a:spcPct val="100000"/>
                        </a:lnSpc>
                        <a:buClr>
                          <a:schemeClr val="accent2"/>
                        </a:buClr>
                        <a:buSzPct val="70000"/>
                        <a:buFont typeface="Wingdings" panose="05000000000000000000" pitchFamily="2" charset="2"/>
                        <a:buChar char="l"/>
                      </a:pPr>
                      <a:r>
                        <a:rPr lang="en-US" sz="1000" kern="0">
                          <a:solidFill>
                            <a:schemeClr val="tx1"/>
                          </a:solidFill>
                          <a:latin typeface="+mn-lt"/>
                          <a:ea typeface="+mn-ea"/>
                          <a:cs typeface="+mn-cs"/>
                        </a:rPr>
                        <a:t>Market share – by client</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57</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76467389"/>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Top process orchestration technology providers – by industry</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58</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58782612"/>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Top process orchestration technology providers – by geography</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59</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7107512"/>
                  </a:ext>
                </a:extLst>
              </a:tr>
              <a:tr h="249504">
                <a:tc>
                  <a:txBody>
                    <a:bodyPr/>
                    <a:lstStyle/>
                    <a:p>
                      <a:pPr>
                        <a:lnSpc>
                          <a:spcPct val="100000"/>
                        </a:lnSpc>
                      </a:pPr>
                      <a:endParaRPr lang="en-IN" sz="1000" b="1" kern="0">
                        <a:solidFill>
                          <a:schemeClr val="tx1"/>
                        </a:solidFill>
                        <a:highlight>
                          <a:srgbClr val="FFFF00"/>
                        </a:highlight>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Top process orchestration technology providers – by business function</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60</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1827701"/>
                  </a:ext>
                </a:extLst>
              </a:tr>
              <a:tr h="249504">
                <a:tc>
                  <a:txBody>
                    <a:bodyPr/>
                    <a:lstStyle/>
                    <a:p>
                      <a:pPr>
                        <a:lnSpc>
                          <a:spcPct val="100000"/>
                        </a:lnSpc>
                      </a:pPr>
                      <a:endParaRPr lang="en-IN" sz="1000" b="1" kern="0">
                        <a:solidFill>
                          <a:schemeClr val="tx1"/>
                        </a:solidFill>
                        <a:highlight>
                          <a:srgbClr val="FFFF00"/>
                        </a:highlight>
                        <a:latin typeface="+mn-lt"/>
                        <a:ea typeface="+mn-ea"/>
                        <a:cs typeface="+mn-cs"/>
                      </a:endParaRPr>
                    </a:p>
                  </a:txBody>
                  <a:tcPr marT="0" marB="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Top process orchestration technology providers – by buyer segment</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a:lnSpc>
                          <a:spcPct val="100000"/>
                        </a:lnSpc>
                      </a:pPr>
                      <a:r>
                        <a:rPr lang="en-US" sz="1000" kern="0">
                          <a:solidFill>
                            <a:schemeClr val="tx1"/>
                          </a:solidFill>
                          <a:latin typeface="+mn-lt"/>
                          <a:ea typeface="+mn-ea"/>
                          <a:cs typeface="+mn-cs"/>
                        </a:rPr>
                        <a:t>61</a:t>
                      </a:r>
                      <a:endParaRPr lang="en-IN" sz="1000" kern="0">
                        <a:solidFill>
                          <a:schemeClr val="tx1"/>
                        </a:solidFill>
                        <a:latin typeface="+mn-lt"/>
                        <a:ea typeface="+mn-ea"/>
                        <a:cs typeface="+mn-cs"/>
                      </a:endParaRPr>
                    </a:p>
                  </a:txBody>
                  <a:tcPr marT="0" marB="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2702839"/>
                  </a:ext>
                </a:extLst>
              </a:tr>
              <a:tr h="249504">
                <a:tc>
                  <a:txBody>
                    <a:bodyPr/>
                    <a:lstStyle/>
                    <a:p>
                      <a:pPr>
                        <a:lnSpc>
                          <a:spcPct val="100000"/>
                        </a:lnSpc>
                      </a:pPr>
                      <a:r>
                        <a:rPr lang="en-US" sz="1000" b="1" kern="0">
                          <a:solidFill>
                            <a:schemeClr val="tx1"/>
                          </a:solidFill>
                          <a:latin typeface="+mn-lt"/>
                          <a:ea typeface="+mn-ea"/>
                          <a:cs typeface="+mn-cs"/>
                        </a:rPr>
                        <a:t>9.</a:t>
                      </a:r>
                      <a:endParaRPr lang="en-IN" sz="1000" b="1" kern="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nSpc>
                          <a:spcPct val="100000"/>
                        </a:lnSpc>
                      </a:pPr>
                      <a:r>
                        <a:rPr lang="en-US" sz="1000" b="1" kern="0">
                          <a:solidFill>
                            <a:schemeClr val="tx1"/>
                          </a:solidFill>
                        </a:rPr>
                        <a:t>Appendix</a:t>
                      </a:r>
                      <a:endParaRPr lang="en-US" sz="1000" b="1" kern="0" baseline="30000">
                        <a:solidFill>
                          <a:schemeClr val="tx1"/>
                        </a:solidFill>
                      </a:endParaRP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US" sz="1000" b="1" kern="0" noProof="0">
                          <a:solidFill>
                            <a:schemeClr val="tx1"/>
                          </a:solidFill>
                          <a:latin typeface="+mn-lt"/>
                          <a:ea typeface="+mn-ea"/>
                          <a:cs typeface="+mn-cs"/>
                        </a:rPr>
                        <a:t>62</a:t>
                      </a:r>
                      <a:endParaRPr lang="en-IN" sz="1000" b="1" kern="0" noProof="0">
                        <a:solidFill>
                          <a:schemeClr val="tx1"/>
                        </a:solidFill>
                        <a:latin typeface="+mn-lt"/>
                        <a:ea typeface="+mn-ea"/>
                        <a:cs typeface="+mn-cs"/>
                      </a:endParaRP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9885802"/>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Glossary</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63</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4492328"/>
                  </a:ext>
                </a:extLst>
              </a:tr>
              <a:tr h="249504">
                <a:tc>
                  <a:txBody>
                    <a:bodyPr/>
                    <a:lstStyle/>
                    <a:p>
                      <a:pPr>
                        <a:lnSpc>
                          <a:spcPct val="100000"/>
                        </a:lnSpc>
                      </a:pPr>
                      <a:endParaRPr lang="en-IN" sz="1000" b="0" kern="0" baseline="0">
                        <a:solidFill>
                          <a:schemeClr val="tx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8872" marR="0" lvl="0" indent="-118872" algn="l" defTabSz="915373" rtl="0" eaLnBrk="1" fontAlgn="auto" latinLnBrk="0" hangingPunct="1">
                        <a:lnSpc>
                          <a:spcPct val="100000"/>
                        </a:lnSpc>
                        <a:spcBef>
                          <a:spcPts val="0"/>
                        </a:spcBef>
                        <a:spcAft>
                          <a:spcPts val="0"/>
                        </a:spcAft>
                        <a:buClr>
                          <a:schemeClr val="accent2"/>
                        </a:buClr>
                        <a:buSzPct val="70000"/>
                        <a:buFont typeface="Wingdings" panose="05000000000000000000" pitchFamily="2" charset="2"/>
                        <a:buChar char="l"/>
                        <a:tabLst/>
                        <a:defRPr/>
                      </a:pPr>
                      <a:r>
                        <a:rPr lang="en-US" sz="1000" kern="0">
                          <a:solidFill>
                            <a:schemeClr val="tx1"/>
                          </a:solidFill>
                          <a:latin typeface="+mn-lt"/>
                          <a:ea typeface="+mn-ea"/>
                          <a:cs typeface="+mn-cs"/>
                        </a:rPr>
                        <a:t>Research calendar</a:t>
                      </a:r>
                    </a:p>
                  </a:txBody>
                  <a:tcPr marL="0"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ts val="0"/>
                        </a:spcBef>
                        <a:spcAft>
                          <a:spcPts val="0"/>
                        </a:spcAft>
                        <a:buClr>
                          <a:srgbClr val="BC202E"/>
                        </a:buClr>
                        <a:buSzPct val="60000"/>
                        <a:buFontTx/>
                        <a:buNone/>
                        <a:tabLst>
                          <a:tab pos="11612880" algn="r"/>
                        </a:tabLst>
                        <a:defRPr/>
                      </a:pPr>
                      <a:r>
                        <a:rPr lang="en-IN" sz="1000" b="0" kern="0" baseline="0" noProof="0">
                          <a:solidFill>
                            <a:schemeClr val="tx1"/>
                          </a:solidFill>
                          <a:latin typeface="+mn-lt"/>
                          <a:ea typeface="+mn-ea"/>
                          <a:cs typeface="+mn-cs"/>
                        </a:rPr>
                        <a:t>65</a:t>
                      </a:r>
                    </a:p>
                  </a:txBody>
                  <a:tcPr anchor="ctr">
                    <a:lnL w="12700" cmpd="sng">
                      <a:noFill/>
                    </a:lnL>
                    <a:lnR w="12700" cmpd="sng">
                      <a:noFill/>
                    </a:lnR>
                    <a:lnT w="635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83082748"/>
                  </a:ext>
                </a:extLst>
              </a:tr>
            </a:tbl>
          </a:graphicData>
        </a:graphic>
      </p:graphicFrame>
    </p:spTree>
    <p:extLst>
      <p:ext uri="{BB962C8B-B14F-4D97-AF65-F5344CB8AC3E}">
        <p14:creationId xmlns:p14="http://schemas.microsoft.com/office/powerpoint/2010/main" val="3805670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A6635381-E631-58F5-2D19-89C3AC6617A0}"/>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t="38770" b="40314"/>
          <a:stretch/>
        </p:blipFill>
        <p:spPr>
          <a:xfrm>
            <a:off x="11031648" y="3988051"/>
            <a:ext cx="887360" cy="185598"/>
          </a:xfrm>
          <a:prstGeom prst="rect">
            <a:avLst/>
          </a:prstGeom>
        </p:spPr>
      </p:pic>
      <p:pic>
        <p:nvPicPr>
          <p:cNvPr id="1040" name="Picture 16">
            <a:extLst>
              <a:ext uri="{FF2B5EF4-FFF2-40B4-BE49-F238E27FC236}">
                <a16:creationId xmlns:a16="http://schemas.microsoft.com/office/drawing/2014/main" id="{6554408B-770E-1A83-05C1-E9DAF08BAA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42155" y="4463693"/>
            <a:ext cx="1057380" cy="29272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EE0A6F46-E300-0E5E-8B4E-395778AB47F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2394" b="21374"/>
          <a:stretch/>
        </p:blipFill>
        <p:spPr bwMode="auto">
          <a:xfrm>
            <a:off x="7339451" y="3285768"/>
            <a:ext cx="1252408" cy="36854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F3AF156-A2DB-4E1C-94E4-57C739DF4C8C}"/>
              </a:ext>
            </a:extLst>
          </p:cNvPr>
          <p:cNvSpPr>
            <a:spLocks noGrp="1"/>
          </p:cNvSpPr>
          <p:nvPr>
            <p:ph type="title"/>
          </p:nvPr>
        </p:nvSpPr>
        <p:spPr>
          <a:xfrm>
            <a:off x="307975" y="622777"/>
            <a:ext cx="11612880" cy="276999"/>
          </a:xfrm>
        </p:spPr>
        <p:txBody>
          <a:bodyPr/>
          <a:lstStyle/>
          <a:p>
            <a:r>
              <a:rPr lang="en-US"/>
              <a:t>This research is based on multiple sources of proprietary information</a:t>
            </a:r>
          </a:p>
        </p:txBody>
      </p:sp>
      <p:sp>
        <p:nvSpPr>
          <p:cNvPr id="28" name="Rectangle 14">
            <a:extLst>
              <a:ext uri="{FF2B5EF4-FFF2-40B4-BE49-F238E27FC236}">
                <a16:creationId xmlns:a16="http://schemas.microsoft.com/office/drawing/2014/main" id="{4A1E4CFC-A6CF-44D4-8F02-55A180082833}"/>
              </a:ext>
            </a:extLst>
          </p:cNvPr>
          <p:cNvSpPr>
            <a:spLocks noChangeArrowheads="1"/>
          </p:cNvSpPr>
          <p:nvPr/>
        </p:nvSpPr>
        <p:spPr bwMode="gray">
          <a:xfrm>
            <a:off x="9021741" y="1658759"/>
            <a:ext cx="1317668" cy="161583"/>
          </a:xfrm>
          <a:prstGeom prst="rect">
            <a:avLst/>
          </a:prstGeom>
          <a:noFill/>
          <a:ln w="6350">
            <a:noFill/>
            <a:miter lim="800000"/>
            <a:headEnd/>
            <a:tailEnd/>
          </a:ln>
          <a:effec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
                <a:srgbClr val="3333FF"/>
              </a:buClr>
              <a:buSzTx/>
              <a:buFontTx/>
              <a:buNone/>
              <a:tabLst/>
              <a:defRPr/>
            </a:pPr>
            <a:r>
              <a:rPr lang="en-US" sz="1050" b="1">
                <a:solidFill>
                  <a:srgbClr val="3F3F3F"/>
                </a:solidFill>
              </a:rPr>
              <a:t>P</a:t>
            </a:r>
            <a:r>
              <a:rPr kumimoji="0" lang="en-US" sz="1050" b="1" i="0" u="none" strike="noStrike" kern="1200" cap="none" spc="0" normalizeH="0" baseline="0">
                <a:ln>
                  <a:noFill/>
                </a:ln>
                <a:solidFill>
                  <a:srgbClr val="3F3F3F"/>
                </a:solidFill>
                <a:effectLst/>
                <a:uLnTx/>
                <a:uFillTx/>
                <a:latin typeface="Arial" charset="0"/>
                <a:ea typeface="+mn-ea"/>
                <a:cs typeface="Arial" charset="0"/>
              </a:rPr>
              <a:t>roviders</a:t>
            </a:r>
            <a:r>
              <a:rPr kumimoji="0" lang="en-US" sz="1050" b="1" i="0" u="none" strike="noStrike" kern="1200" cap="none" spc="0" normalizeH="0" baseline="0" noProof="0">
                <a:ln>
                  <a:noFill/>
                </a:ln>
                <a:solidFill>
                  <a:srgbClr val="3F3F3F"/>
                </a:solidFill>
                <a:effectLst/>
                <a:uLnTx/>
                <a:uFillTx/>
                <a:latin typeface="Arial" charset="0"/>
                <a:ea typeface="+mn-ea"/>
                <a:cs typeface="Arial" charset="0"/>
              </a:rPr>
              <a:t> assessed</a:t>
            </a:r>
            <a:r>
              <a:rPr kumimoji="0" lang="en-US" sz="1050" b="1" i="0" u="none" strike="noStrike" kern="1200" cap="none" spc="0" normalizeH="0" baseline="30000" noProof="0">
                <a:ln>
                  <a:noFill/>
                </a:ln>
                <a:solidFill>
                  <a:srgbClr val="3F3F3F"/>
                </a:solidFill>
                <a:effectLst/>
                <a:uLnTx/>
                <a:uFillTx/>
                <a:latin typeface="Arial" charset="0"/>
                <a:ea typeface="+mn-ea"/>
                <a:cs typeface="Arial" charset="0"/>
              </a:rPr>
              <a:t>1</a:t>
            </a:r>
            <a:endParaRPr kumimoji="0" lang="en-US" sz="1050" b="0" i="0" u="none" strike="noStrike" kern="1200" cap="none" spc="0" normalizeH="0" baseline="30000" noProof="0">
              <a:ln>
                <a:noFill/>
              </a:ln>
              <a:solidFill>
                <a:srgbClr val="3F3F3F"/>
              </a:solidFill>
              <a:effectLst/>
              <a:uLnTx/>
              <a:uFillTx/>
              <a:latin typeface="Arial" charset="0"/>
              <a:ea typeface="+mn-ea"/>
              <a:cs typeface="Arial" charset="0"/>
            </a:endParaRPr>
          </a:p>
        </p:txBody>
      </p:sp>
      <p:sp>
        <p:nvSpPr>
          <p:cNvPr id="17" name="Text Box 9">
            <a:extLst>
              <a:ext uri="{FF2B5EF4-FFF2-40B4-BE49-F238E27FC236}">
                <a16:creationId xmlns:a16="http://schemas.microsoft.com/office/drawing/2014/main" id="{BEE5B577-2917-43A2-86B3-A8E06E1643F2}"/>
              </a:ext>
            </a:extLst>
          </p:cNvPr>
          <p:cNvSpPr txBox="1">
            <a:spLocks noChangeArrowheads="1"/>
          </p:cNvSpPr>
          <p:nvPr/>
        </p:nvSpPr>
        <p:spPr bwMode="gray">
          <a:xfrm>
            <a:off x="307975" y="5792199"/>
            <a:ext cx="11612880" cy="616194"/>
          </a:xfrm>
          <a:prstGeom prst="rect">
            <a:avLst/>
          </a:prstGeom>
          <a:noFill/>
          <a:ln w="12700">
            <a:noFill/>
            <a:miter lim="800000"/>
            <a:headEnd/>
            <a:tailEnd/>
          </a:ln>
        </p:spPr>
        <p:txBody>
          <a:bodyPr wrap="square" lIns="0" tIns="0" rIns="0" bIns="0" anchor="b">
            <a:spAutoFit/>
          </a:bodyPr>
          <a:lstStyle/>
          <a:p>
            <a:pPr marL="0" lvl="1" defTabSz="265176">
              <a:buClr>
                <a:schemeClr val="folHlink"/>
              </a:buClr>
              <a:buSzPct val="60000"/>
              <a:tabLst>
                <a:tab pos="667512" algn="r"/>
              </a:tabLst>
            </a:pPr>
            <a:endParaRPr lang="en-US" sz="801"/>
          </a:p>
          <a:p>
            <a:pPr marL="0" lvl="1" defTabSz="265176">
              <a:buClr>
                <a:schemeClr val="folHlink"/>
              </a:buClr>
              <a:buSzPct val="60000"/>
              <a:tabLst>
                <a:tab pos="667512" algn="r"/>
              </a:tabLst>
            </a:pPr>
            <a:r>
              <a:rPr lang="en-US" sz="801"/>
              <a:t>	1	Assessment for </a:t>
            </a:r>
            <a:r>
              <a:rPr lang="en-US" sz="801" err="1"/>
              <a:t>Bonitasoft</a:t>
            </a:r>
            <a:r>
              <a:rPr lang="en-US" sz="801"/>
              <a:t>, Microsoft, and </a:t>
            </a:r>
            <a:r>
              <a:rPr lang="en-US" sz="801" err="1"/>
              <a:t>Pega</a:t>
            </a:r>
            <a:r>
              <a:rPr lang="en-US" sz="801"/>
              <a:t> excludes detailed provider inputs for this particular study and is based on Everest Group’s estimates that leverage Everest Group’s proprietary Transaction Intelligence (TI) database, ongoing 		coverage of these technology providers, their public disclosures, and interaction with buyers. For these companies, Everest Group’s data for assessment may not be complete</a:t>
            </a:r>
          </a:p>
          <a:p>
            <a:pPr marL="0" lvl="1" defTabSz="265176">
              <a:buClr>
                <a:schemeClr val="folHlink"/>
              </a:buClr>
              <a:buSzPct val="60000"/>
              <a:tabLst>
                <a:tab pos="667512" algn="r"/>
              </a:tabLst>
            </a:pPr>
            <a:r>
              <a:rPr lang="en-US" sz="801"/>
              <a:t>		</a:t>
            </a:r>
            <a:r>
              <a:rPr lang="en-US" sz="801" b="1"/>
              <a:t>The source of all content is Everest Group unless otherwise specified</a:t>
            </a:r>
          </a:p>
          <a:p>
            <a:pPr marL="0" lvl="1" defTabSz="265176">
              <a:buClr>
                <a:schemeClr val="folHlink"/>
              </a:buClr>
              <a:buSzPct val="60000"/>
              <a:tabLst>
                <a:tab pos="667512" algn="r"/>
              </a:tabLst>
            </a:pPr>
            <a:r>
              <a:rPr lang="en-US" sz="801"/>
              <a:t>	Confidentiality:	Everest Group takes its confidentiality pledge very seriously. Any information we collect that is contract specific will only be presented back to the industry in an aggregated fashion</a:t>
            </a:r>
          </a:p>
        </p:txBody>
      </p:sp>
      <p:graphicFrame>
        <p:nvGraphicFramePr>
          <p:cNvPr id="39" name="Table 9">
            <a:extLst>
              <a:ext uri="{FF2B5EF4-FFF2-40B4-BE49-F238E27FC236}">
                <a16:creationId xmlns:a16="http://schemas.microsoft.com/office/drawing/2014/main" id="{926E8C95-97E5-4493-94CB-B084DEF39FE3}"/>
              </a:ext>
            </a:extLst>
          </p:cNvPr>
          <p:cNvGraphicFramePr>
            <a:graphicFrameLocks noGrp="1"/>
          </p:cNvGraphicFramePr>
          <p:nvPr/>
        </p:nvGraphicFramePr>
        <p:xfrm>
          <a:off x="0" y="1664208"/>
          <a:ext cx="7115917" cy="4137660"/>
        </p:xfrm>
        <a:graphic>
          <a:graphicData uri="http://schemas.openxmlformats.org/drawingml/2006/table">
            <a:tbl>
              <a:tblPr firstRow="1" bandRow="1">
                <a:tableStyleId>{5C22544A-7EE6-4342-B048-85BDC9FD1C3A}</a:tableStyleId>
              </a:tblPr>
              <a:tblGrid>
                <a:gridCol w="7115917">
                  <a:extLst>
                    <a:ext uri="{9D8B030D-6E8A-4147-A177-3AD203B41FA5}">
                      <a16:colId xmlns:a16="http://schemas.microsoft.com/office/drawing/2014/main" val="992480748"/>
                    </a:ext>
                  </a:extLst>
                </a:gridCol>
              </a:tblGrid>
              <a:tr h="370840">
                <a:tc>
                  <a:txBody>
                    <a:bodyPr/>
                    <a:lstStyle/>
                    <a:p>
                      <a:pPr marL="1587" lvl="1" indent="0">
                        <a:spcAft>
                          <a:spcPts val="100"/>
                        </a:spcAft>
                        <a:buClr>
                          <a:srgbClr val="005A8C"/>
                        </a:buClr>
                        <a:buSzPct val="70000"/>
                        <a:buFont typeface="Wingdings" pitchFamily="2" charset="2"/>
                        <a:buNone/>
                        <a:defRPr/>
                      </a:pPr>
                      <a:r>
                        <a:rPr lang="en-US" sz="950" b="1" kern="0">
                          <a:solidFill>
                            <a:schemeClr val="tx1"/>
                          </a:solidFill>
                          <a:latin typeface="+mn-lt"/>
                        </a:rPr>
                        <a:t>Proprietary database of 18 process orchestration technology providers</a:t>
                      </a:r>
                    </a:p>
                    <a:p>
                      <a:pPr marL="118872" lvl="1" indent="-118872">
                        <a:spcAft>
                          <a:spcPts val="100"/>
                        </a:spcAft>
                        <a:buClr>
                          <a:srgbClr val="005A8C"/>
                        </a:buClr>
                        <a:buSzPct val="70000"/>
                        <a:buFont typeface="Wingdings" pitchFamily="2" charset="2"/>
                        <a:buChar char="l"/>
                        <a:defRPr/>
                      </a:pPr>
                      <a:r>
                        <a:rPr lang="en-US" sz="950" b="0" kern="0" noProof="0">
                          <a:solidFill>
                            <a:schemeClr val="tx1"/>
                          </a:solidFill>
                          <a:latin typeface="+mn-lt"/>
                        </a:rPr>
                        <a:t>The database tracks the following elements of each contract: </a:t>
                      </a:r>
                    </a:p>
                    <a:p>
                      <a:pPr marL="236538" lvl="2" indent="-120650">
                        <a:spcAft>
                          <a:spcPts val="0"/>
                        </a:spcAft>
                        <a:buClr>
                          <a:srgbClr val="4C7C8F"/>
                        </a:buClr>
                        <a:buSzPct val="100000"/>
                        <a:buFont typeface="Arial" pitchFamily="34" charset="0"/>
                        <a:buChar char="–"/>
                        <a:tabLst/>
                        <a:defRPr/>
                      </a:pPr>
                      <a:r>
                        <a:rPr lang="en-US" sz="950" b="0" kern="0" noProof="0">
                          <a:solidFill>
                            <a:schemeClr val="tx1"/>
                          </a:solidFill>
                          <a:latin typeface="+mn-lt"/>
                        </a:rPr>
                        <a:t>Process design and business rules management</a:t>
                      </a:r>
                    </a:p>
                    <a:p>
                      <a:pPr marL="236538" lvl="2" indent="-120650">
                        <a:spcAft>
                          <a:spcPts val="0"/>
                        </a:spcAft>
                        <a:buClr>
                          <a:srgbClr val="4C7C8F"/>
                        </a:buClr>
                        <a:buSzPct val="100000"/>
                        <a:buFont typeface="Arial" pitchFamily="34" charset="0"/>
                        <a:buChar char="–"/>
                        <a:tabLst/>
                        <a:defRPr/>
                      </a:pPr>
                      <a:r>
                        <a:rPr lang="en-US" sz="950" b="0" kern="0" noProof="0">
                          <a:solidFill>
                            <a:schemeClr val="tx1"/>
                          </a:solidFill>
                          <a:latin typeface="+mn-lt"/>
                        </a:rPr>
                        <a:t>Low-code/No-code user interface, hybrid workforce management</a:t>
                      </a:r>
                    </a:p>
                    <a:p>
                      <a:pPr marL="236538" lvl="2" indent="-120650">
                        <a:spcAft>
                          <a:spcPts val="0"/>
                        </a:spcAft>
                        <a:buClr>
                          <a:srgbClr val="4C7C8F"/>
                        </a:buClr>
                        <a:buSzPct val="100000"/>
                        <a:buFont typeface="Arial" pitchFamily="34" charset="0"/>
                        <a:buChar char="–"/>
                        <a:tabLst/>
                        <a:defRPr/>
                      </a:pPr>
                      <a:r>
                        <a:rPr lang="en-US" sz="950" b="0" kern="0" noProof="0">
                          <a:solidFill>
                            <a:schemeClr val="tx1"/>
                          </a:solidFill>
                          <a:latin typeface="+mn-lt"/>
                        </a:rPr>
                        <a:t>Monitoring &amp; analytics, interoperability</a:t>
                      </a:r>
                    </a:p>
                    <a:p>
                      <a:pPr marL="236538" lvl="2" indent="-120650">
                        <a:spcAft>
                          <a:spcPts val="0"/>
                        </a:spcAft>
                        <a:buClr>
                          <a:srgbClr val="4C7C8F"/>
                        </a:buClr>
                        <a:buSzPct val="100000"/>
                        <a:buFont typeface="Arial" pitchFamily="34" charset="0"/>
                        <a:buChar char="–"/>
                        <a:tabLst/>
                        <a:defRPr/>
                      </a:pPr>
                      <a:r>
                        <a:rPr lang="en-US" sz="950" b="0" kern="0" noProof="0">
                          <a:solidFill>
                            <a:schemeClr val="tx1"/>
                          </a:solidFill>
                          <a:latin typeface="+mn-lt"/>
                        </a:rPr>
                        <a:t>Partnerships with service providers and other technology providers</a:t>
                      </a:r>
                    </a:p>
                  </a:txBody>
                  <a:tcPr marL="310896" marT="91440" marB="91440">
                    <a:lnL w="12700" cmpd="sng">
                      <a:noFill/>
                    </a:lnL>
                    <a:lnR w="6350" cap="flat" cmpd="sng" algn="ctr">
                      <a:noFill/>
                      <a:prstDash val="lgDash"/>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20000"/>
                        <a:lumOff val="80000"/>
                        <a:alpha val="40000"/>
                      </a:schemeClr>
                    </a:solidFill>
                  </a:tcPr>
                </a:tc>
                <a:extLst>
                  <a:ext uri="{0D108BD9-81ED-4DB2-BD59-A6C34878D82A}">
                    <a16:rowId xmlns:a16="http://schemas.microsoft.com/office/drawing/2014/main" val="299058281"/>
                  </a:ext>
                </a:extLst>
              </a:tr>
              <a:tr h="370840">
                <a:tc>
                  <a:txBody>
                    <a:bodyPr/>
                    <a:lstStyle/>
                    <a:p>
                      <a:pPr marL="1587" lvl="1" indent="0">
                        <a:buClr>
                          <a:srgbClr val="005A8C"/>
                        </a:buClr>
                        <a:buSzPct val="70000"/>
                        <a:buFont typeface="Wingdings" pitchFamily="2" charset="2"/>
                        <a:buNone/>
                        <a:defRPr/>
                      </a:pPr>
                      <a:r>
                        <a:rPr lang="en-US" sz="950" b="1" kern="0">
                          <a:solidFill>
                            <a:schemeClr val="tx1"/>
                          </a:solidFill>
                          <a:latin typeface="+mn-lt"/>
                        </a:rPr>
                        <a:t>Proprietary operational information database of technology providers (updated annually) </a:t>
                      </a:r>
                    </a:p>
                    <a:p>
                      <a:pPr marL="118872" lvl="1" indent="-118872" algn="l" defTabSz="915373" rtl="0" eaLnBrk="1" latinLnBrk="0" hangingPunct="1">
                        <a:spcAft>
                          <a:spcPts val="100"/>
                        </a:spcAft>
                        <a:buClr>
                          <a:srgbClr val="005A8C"/>
                        </a:buClr>
                        <a:buSzPct val="70000"/>
                        <a:buFont typeface="Wingdings" pitchFamily="2" charset="2"/>
                        <a:buChar char="l"/>
                        <a:defRPr/>
                      </a:pPr>
                      <a:r>
                        <a:rPr lang="en-US" sz="950" b="0" kern="0" noProof="0">
                          <a:solidFill>
                            <a:schemeClr val="tx1"/>
                          </a:solidFill>
                          <a:latin typeface="+mn-lt"/>
                          <a:ea typeface="+mn-ea"/>
                          <a:cs typeface="+mn-cs"/>
                        </a:rPr>
                        <a:t>The database tracks the following for each provider:</a:t>
                      </a:r>
                    </a:p>
                    <a:p>
                      <a:pPr marL="236538" lvl="2" indent="-120650" algn="l" defTabSz="915373" rtl="0" eaLnBrk="1" latinLnBrk="0" hangingPunct="1">
                        <a:spcAft>
                          <a:spcPts val="0"/>
                        </a:spcAft>
                        <a:buClr>
                          <a:srgbClr val="4C7C8F"/>
                        </a:buClr>
                        <a:buSzPct val="100000"/>
                        <a:buFont typeface="Arial" pitchFamily="34" charset="0"/>
                        <a:buChar char="–"/>
                        <a:tabLst/>
                        <a:defRPr/>
                      </a:pPr>
                      <a:r>
                        <a:rPr lang="en-US" sz="950" b="0" kern="0" noProof="0">
                          <a:solidFill>
                            <a:schemeClr val="tx1"/>
                          </a:solidFill>
                          <a:latin typeface="+mn-lt"/>
                          <a:ea typeface="+mn-ea"/>
                          <a:cs typeface="+mn-cs"/>
                        </a:rPr>
                        <a:t>Revenue and number of FTEs</a:t>
                      </a:r>
                    </a:p>
                    <a:p>
                      <a:pPr marL="236538" lvl="2" indent="-120650" algn="l" defTabSz="915373" rtl="0" eaLnBrk="1" latinLnBrk="0" hangingPunct="1">
                        <a:spcAft>
                          <a:spcPts val="0"/>
                        </a:spcAft>
                        <a:buClr>
                          <a:srgbClr val="4C7C8F"/>
                        </a:buClr>
                        <a:buSzPct val="100000"/>
                        <a:buFont typeface="Arial" pitchFamily="34" charset="0"/>
                        <a:buChar char="–"/>
                        <a:tabLst/>
                        <a:defRPr/>
                      </a:pPr>
                      <a:r>
                        <a:rPr lang="en-US" sz="950" b="0" kern="0" noProof="0">
                          <a:solidFill>
                            <a:schemeClr val="tx1"/>
                          </a:solidFill>
                          <a:latin typeface="+mn-lt"/>
                          <a:ea typeface="+mn-ea"/>
                          <a:cs typeface="+mn-cs"/>
                        </a:rPr>
                        <a:t>Number of clients </a:t>
                      </a:r>
                    </a:p>
                    <a:p>
                      <a:pPr marL="236538" lvl="2" indent="-120650" algn="l" defTabSz="915373" rtl="0" eaLnBrk="1" latinLnBrk="0" hangingPunct="1">
                        <a:spcAft>
                          <a:spcPts val="0"/>
                        </a:spcAft>
                        <a:buClr>
                          <a:srgbClr val="4C7C8F"/>
                        </a:buClr>
                        <a:buSzPct val="100000"/>
                        <a:buFont typeface="Arial" pitchFamily="34" charset="0"/>
                        <a:buChar char="–"/>
                        <a:tabLst/>
                        <a:defRPr/>
                      </a:pPr>
                      <a:r>
                        <a:rPr lang="en-US" sz="950" b="0" kern="0" noProof="0">
                          <a:solidFill>
                            <a:schemeClr val="tx1"/>
                          </a:solidFill>
                          <a:latin typeface="+mn-lt"/>
                          <a:ea typeface="+mn-ea"/>
                          <a:cs typeface="+mn-cs"/>
                        </a:rPr>
                        <a:t>FTE split by different lines of business</a:t>
                      </a:r>
                    </a:p>
                  </a:txBody>
                  <a:tcPr marL="310896" marT="91440" marB="91440">
                    <a:lnL w="12700" cmpd="sng">
                      <a:noFill/>
                    </a:lnL>
                    <a:lnR w="6350" cap="flat" cmpd="sng" algn="ctr">
                      <a:noFill/>
                      <a:prstDash val="lgDash"/>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5677572"/>
                  </a:ext>
                </a:extLst>
              </a:tr>
              <a:tr h="370840">
                <a:tc>
                  <a:txBody>
                    <a:bodyPr/>
                    <a:lstStyle/>
                    <a:p>
                      <a:pPr marL="0" lvl="1" indent="0" algn="l" defTabSz="915373" rtl="0" eaLnBrk="1" latinLnBrk="0" hangingPunct="1">
                        <a:spcAft>
                          <a:spcPts val="100"/>
                        </a:spcAft>
                        <a:buClr>
                          <a:srgbClr val="005A8C"/>
                        </a:buClr>
                        <a:buSzPct val="70000"/>
                        <a:buFont typeface="Wingdings" pitchFamily="2" charset="2"/>
                        <a:buNone/>
                        <a:defRPr/>
                      </a:pPr>
                      <a:r>
                        <a:rPr lang="en-US" sz="950" b="1" kern="0" noProof="0">
                          <a:solidFill>
                            <a:schemeClr val="tx1"/>
                          </a:solidFill>
                          <a:latin typeface="+mn-lt"/>
                          <a:ea typeface="+mn-ea"/>
                          <a:cs typeface="+mn-cs"/>
                        </a:rPr>
                        <a:t>Demonstrations and interactions with technology providers and other industry stakeholders </a:t>
                      </a:r>
                    </a:p>
                    <a:p>
                      <a:pPr marL="114300" marR="0" lvl="1" indent="-112713" algn="l" defTabSz="915373" rtl="0" eaLnBrk="1" fontAlgn="auto" latinLnBrk="0" hangingPunct="1">
                        <a:lnSpc>
                          <a:spcPct val="100000"/>
                        </a:lnSpc>
                        <a:spcBef>
                          <a:spcPts val="0"/>
                        </a:spcBef>
                        <a:spcAft>
                          <a:spcPts val="0"/>
                        </a:spcAft>
                        <a:buClr>
                          <a:srgbClr val="005A8C"/>
                        </a:buClr>
                        <a:buSzPct val="70000"/>
                        <a:buFont typeface="Wingdings" pitchFamily="2" charset="2"/>
                        <a:buChar char="l"/>
                        <a:tabLst/>
                        <a:defRPr/>
                      </a:pPr>
                      <a:r>
                        <a:rPr lang="en-US" sz="950" kern="0">
                          <a:solidFill>
                            <a:schemeClr val="tx1"/>
                          </a:solidFill>
                          <a:latin typeface="+mn-lt"/>
                        </a:rPr>
                        <a:t>Detailed demonstrations for a comprehensive product view and executive-level discussions with process orchestration providers that cover: </a:t>
                      </a:r>
                      <a:endParaRPr lang="en-US" sz="950" b="1" kern="0">
                        <a:solidFill>
                          <a:schemeClr val="tx1"/>
                        </a:solidFill>
                        <a:latin typeface="+mn-lt"/>
                      </a:endParaRPr>
                    </a:p>
                    <a:p>
                      <a:pPr marL="237744" marR="0" lvl="2" indent="-118872" algn="l" defTabSz="915373" rtl="0" eaLnBrk="1" fontAlgn="auto" latinLnBrk="0" hangingPunct="1">
                        <a:lnSpc>
                          <a:spcPct val="100000"/>
                        </a:lnSpc>
                        <a:spcBef>
                          <a:spcPts val="0"/>
                        </a:spcBef>
                        <a:spcAft>
                          <a:spcPts val="0"/>
                        </a:spcAft>
                        <a:buClr>
                          <a:srgbClr val="4C7C8F"/>
                        </a:buClr>
                        <a:buSzPct val="100000"/>
                        <a:buFont typeface="Arial" pitchFamily="34" charset="0"/>
                        <a:buChar char="–"/>
                        <a:tabLst/>
                        <a:defRPr/>
                      </a:pPr>
                      <a:r>
                        <a:rPr lang="en-US" sz="950" kern="0">
                          <a:solidFill>
                            <a:schemeClr val="tx1"/>
                          </a:solidFill>
                          <a:latin typeface="+mn-lt"/>
                        </a:rPr>
                        <a:t>Current state of the market</a:t>
                      </a:r>
                    </a:p>
                    <a:p>
                      <a:pPr marL="237744" lvl="2" indent="-118872">
                        <a:spcAft>
                          <a:spcPts val="0"/>
                        </a:spcAft>
                        <a:buClr>
                          <a:srgbClr val="4C7C8F"/>
                        </a:buClr>
                        <a:buSzPct val="100000"/>
                        <a:buFont typeface="Arial" pitchFamily="34" charset="0"/>
                        <a:buChar char="–"/>
                        <a:tabLst/>
                        <a:defRPr/>
                      </a:pPr>
                      <a:r>
                        <a:rPr lang="en-US" sz="950" kern="0">
                          <a:solidFill>
                            <a:schemeClr val="tx1"/>
                          </a:solidFill>
                          <a:latin typeface="+mn-lt"/>
                        </a:rPr>
                        <a:t>Vision and strategy</a:t>
                      </a:r>
                    </a:p>
                    <a:p>
                      <a:pPr marL="237744" marR="0" lvl="2" indent="-118872" algn="l" defTabSz="915373" rtl="0" eaLnBrk="1" fontAlgn="auto" latinLnBrk="0" hangingPunct="1">
                        <a:lnSpc>
                          <a:spcPct val="100000"/>
                        </a:lnSpc>
                        <a:spcBef>
                          <a:spcPts val="0"/>
                        </a:spcBef>
                        <a:spcAft>
                          <a:spcPts val="0"/>
                        </a:spcAft>
                        <a:buClr>
                          <a:srgbClr val="4C7C8F"/>
                        </a:buClr>
                        <a:buSzPct val="100000"/>
                        <a:buFont typeface="Arial" pitchFamily="34" charset="0"/>
                        <a:buChar char="–"/>
                        <a:tabLst/>
                        <a:defRPr/>
                      </a:pPr>
                      <a:r>
                        <a:rPr lang="en-US" sz="950" kern="0">
                          <a:solidFill>
                            <a:schemeClr val="tx1"/>
                          </a:solidFill>
                          <a:latin typeface="+mn-lt"/>
                        </a:rPr>
                        <a:t>Opportunities and challenges</a:t>
                      </a:r>
                    </a:p>
                  </a:txBody>
                  <a:tcPr marL="310896" marT="91440" marB="91440">
                    <a:lnL w="12700" cmpd="sng">
                      <a:noFill/>
                    </a:lnL>
                    <a:lnR w="6350" cap="flat" cmpd="sng" algn="ctr">
                      <a:noFill/>
                      <a:prstDash val="lg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lumMod val="20000"/>
                        <a:lumOff val="80000"/>
                        <a:alpha val="40000"/>
                      </a:schemeClr>
                    </a:solidFill>
                  </a:tcPr>
                </a:tc>
                <a:extLst>
                  <a:ext uri="{0D108BD9-81ED-4DB2-BD59-A6C34878D82A}">
                    <a16:rowId xmlns:a16="http://schemas.microsoft.com/office/drawing/2014/main" val="2670504656"/>
                  </a:ext>
                </a:extLst>
              </a:tr>
              <a:tr h="370840">
                <a:tc>
                  <a:txBody>
                    <a:bodyPr/>
                    <a:lstStyle/>
                    <a:p>
                      <a:pPr marL="0" lvl="1" indent="0" algn="l" defTabSz="915373" rtl="0" eaLnBrk="1" latinLnBrk="0" hangingPunct="1">
                        <a:spcAft>
                          <a:spcPts val="100"/>
                        </a:spcAft>
                        <a:buClr>
                          <a:srgbClr val="005A8C"/>
                        </a:buClr>
                        <a:buSzPct val="70000"/>
                        <a:buFont typeface="Wingdings" pitchFamily="2" charset="2"/>
                        <a:buNone/>
                        <a:defRPr/>
                      </a:pPr>
                      <a:r>
                        <a:rPr lang="en-US" sz="950" b="1" kern="0" noProof="0">
                          <a:solidFill>
                            <a:schemeClr val="tx1"/>
                          </a:solidFill>
                          <a:latin typeface="+mn-lt"/>
                          <a:ea typeface="+mn-ea"/>
                          <a:cs typeface="+mn-cs"/>
                        </a:rPr>
                        <a:t>Buyer reference interviews, ongoing buyer surveys, and interactions</a:t>
                      </a:r>
                    </a:p>
                    <a:p>
                      <a:pPr marL="118872" lvl="1" indent="-118872" algn="l" defTabSz="915373" rtl="0" eaLnBrk="1" latinLnBrk="0" hangingPunct="1">
                        <a:spcAft>
                          <a:spcPts val="100"/>
                        </a:spcAft>
                        <a:buClr>
                          <a:srgbClr val="005A8C"/>
                        </a:buClr>
                        <a:buSzPct val="70000"/>
                        <a:buFont typeface="Wingdings" pitchFamily="2" charset="2"/>
                        <a:buChar char="l"/>
                        <a:defRPr/>
                      </a:pPr>
                      <a:r>
                        <a:rPr lang="en-US" sz="950" b="0" kern="0" noProof="0">
                          <a:solidFill>
                            <a:schemeClr val="tx1"/>
                          </a:solidFill>
                          <a:latin typeface="+mn-lt"/>
                          <a:ea typeface="+mn-ea"/>
                          <a:cs typeface="+mn-cs"/>
                        </a:rPr>
                        <a:t>Interviews with technology providers’ reference clients and enterprise process orchestration buyers to get the buyer perspective around:</a:t>
                      </a:r>
                    </a:p>
                    <a:p>
                      <a:pPr marL="237744" lvl="2" indent="-118872" algn="l" defTabSz="915373" rtl="0" eaLnBrk="1" latinLnBrk="0" hangingPunct="1">
                        <a:spcAft>
                          <a:spcPts val="0"/>
                        </a:spcAft>
                        <a:buClr>
                          <a:srgbClr val="4C7C8F"/>
                        </a:buClr>
                        <a:buSzPct val="100000"/>
                        <a:buFont typeface="Arial" pitchFamily="34" charset="0"/>
                        <a:buChar char="–"/>
                        <a:defRPr/>
                      </a:pPr>
                      <a:r>
                        <a:rPr lang="en-US" sz="950" b="0" kern="0" noProof="0">
                          <a:solidFill>
                            <a:schemeClr val="tx1"/>
                          </a:solidFill>
                          <a:latin typeface="+mn-lt"/>
                          <a:ea typeface="+mn-ea"/>
                          <a:cs typeface="+mn-cs"/>
                        </a:rPr>
                        <a:t>Drivers and objectives for adopting process orchestration</a:t>
                      </a:r>
                    </a:p>
                    <a:p>
                      <a:pPr marL="237744" lvl="2" indent="-118872" algn="l" defTabSz="915373" rtl="0" eaLnBrk="1" latinLnBrk="0" hangingPunct="1">
                        <a:spcAft>
                          <a:spcPts val="0"/>
                        </a:spcAft>
                        <a:buClr>
                          <a:srgbClr val="4C7C8F"/>
                        </a:buClr>
                        <a:buSzPct val="100000"/>
                        <a:buFont typeface="Arial" pitchFamily="34" charset="0"/>
                        <a:buChar char="–"/>
                        <a:defRPr/>
                      </a:pPr>
                      <a:r>
                        <a:rPr lang="en-US" sz="950" b="0" kern="0" noProof="0">
                          <a:solidFill>
                            <a:schemeClr val="tx1"/>
                          </a:solidFill>
                          <a:latin typeface="+mn-lt"/>
                          <a:ea typeface="+mn-ea"/>
                          <a:cs typeface="+mn-cs"/>
                        </a:rPr>
                        <a:t>Apprehensions and challenges</a:t>
                      </a:r>
                    </a:p>
                    <a:p>
                      <a:pPr marL="237744" lvl="2" indent="-118872" algn="l" defTabSz="915373" rtl="0" eaLnBrk="1" latinLnBrk="0" hangingPunct="1">
                        <a:spcAft>
                          <a:spcPts val="0"/>
                        </a:spcAft>
                        <a:buClr>
                          <a:srgbClr val="4C7C8F"/>
                        </a:buClr>
                        <a:buSzPct val="100000"/>
                        <a:buFont typeface="Arial" pitchFamily="34" charset="0"/>
                        <a:buChar char="–"/>
                        <a:defRPr/>
                      </a:pPr>
                      <a:r>
                        <a:rPr lang="en-US" sz="950" b="0" kern="0" noProof="0">
                          <a:solidFill>
                            <a:schemeClr val="tx1"/>
                          </a:solidFill>
                          <a:latin typeface="+mn-lt"/>
                          <a:ea typeface="+mn-ea"/>
                          <a:cs typeface="+mn-cs"/>
                        </a:rPr>
                        <a:t>Assessment of providers’ performance</a:t>
                      </a:r>
                    </a:p>
                  </a:txBody>
                  <a:tcPr marL="310896" marT="91440" marB="91440">
                    <a:lnL w="12700" cmpd="sng">
                      <a:noFill/>
                    </a:lnL>
                    <a:lnR w="6350" cap="flat" cmpd="sng" algn="ctr">
                      <a:noFill/>
                      <a:prstDash val="lg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7983268"/>
                  </a:ext>
                </a:extLst>
              </a:tr>
            </a:tbl>
          </a:graphicData>
        </a:graphic>
      </p:graphicFrame>
      <p:sp>
        <p:nvSpPr>
          <p:cNvPr id="25" name="Content Placeholder 2">
            <a:extLst>
              <a:ext uri="{FF2B5EF4-FFF2-40B4-BE49-F238E27FC236}">
                <a16:creationId xmlns:a16="http://schemas.microsoft.com/office/drawing/2014/main" id="{4C8FC90C-FBE9-44A4-80CB-A57B378C62BE}"/>
              </a:ext>
            </a:extLst>
          </p:cNvPr>
          <p:cNvSpPr txBox="1">
            <a:spLocks/>
          </p:cNvSpPr>
          <p:nvPr/>
        </p:nvSpPr>
        <p:spPr bwMode="gray">
          <a:xfrm>
            <a:off x="4111625" y="3141938"/>
            <a:ext cx="3019737" cy="292388"/>
          </a:xfrm>
          <a:prstGeom prst="rect">
            <a:avLst/>
          </a:prstGeom>
          <a:noFill/>
          <a:ln w="9525">
            <a:noFill/>
            <a:miter lim="800000"/>
            <a:headEnd/>
            <a:tailEnd/>
          </a:ln>
        </p:spPr>
        <p:txBody>
          <a:bodyPr vert="horz" wrap="none" lIns="0" tIns="0" rIns="45720" bIns="0" numCol="1" anchor="t" anchorCtr="0" compatLnSpc="1">
            <a:prstTxWarp prst="textNoShape">
              <a:avLst/>
            </a:prstTxWarp>
            <a:spAutoFit/>
          </a:bodyPr>
          <a:lstStyle/>
          <a:p>
            <a:pPr marL="228600" lvl="2" indent="-118872">
              <a:spcAft>
                <a:spcPts val="100"/>
              </a:spcAft>
              <a:buClr>
                <a:srgbClr val="4C7C8F"/>
              </a:buClr>
              <a:buSzPct val="100000"/>
              <a:buFont typeface="Arial" pitchFamily="34" charset="0"/>
              <a:buChar char="–"/>
              <a:defRPr/>
            </a:pPr>
            <a:r>
              <a:rPr lang="en-US" sz="950" kern="0">
                <a:solidFill>
                  <a:srgbClr val="3F3F3F"/>
                </a:solidFill>
                <a:latin typeface="+mn-lt"/>
              </a:rPr>
              <a:t>Portfolio coverage in terms of industry, geography, </a:t>
            </a:r>
            <a:br>
              <a:rPr lang="en-US" sz="950" kern="0">
                <a:solidFill>
                  <a:srgbClr val="3F3F3F"/>
                </a:solidFill>
                <a:latin typeface="+mn-lt"/>
              </a:rPr>
            </a:br>
            <a:r>
              <a:rPr lang="en-US" sz="950" kern="0">
                <a:solidFill>
                  <a:srgbClr val="3F3F3F"/>
                </a:solidFill>
                <a:latin typeface="+mn-lt"/>
              </a:rPr>
              <a:t>process areas, and buyer size</a:t>
            </a:r>
          </a:p>
        </p:txBody>
      </p:sp>
      <p:sp>
        <p:nvSpPr>
          <p:cNvPr id="41" name="Content Placeholder 2">
            <a:extLst>
              <a:ext uri="{FF2B5EF4-FFF2-40B4-BE49-F238E27FC236}">
                <a16:creationId xmlns:a16="http://schemas.microsoft.com/office/drawing/2014/main" id="{68D2D6E5-B585-49E8-A1F3-11534AAFF856}"/>
              </a:ext>
            </a:extLst>
          </p:cNvPr>
          <p:cNvSpPr txBox="1">
            <a:spLocks/>
          </p:cNvSpPr>
          <p:nvPr/>
        </p:nvSpPr>
        <p:spPr bwMode="gray">
          <a:xfrm>
            <a:off x="4111625" y="4190231"/>
            <a:ext cx="2372124" cy="292388"/>
          </a:xfrm>
          <a:prstGeom prst="rect">
            <a:avLst/>
          </a:prstGeom>
          <a:noFill/>
          <a:ln w="9525">
            <a:noFill/>
            <a:miter lim="800000"/>
            <a:headEnd/>
            <a:tailEnd/>
          </a:ln>
        </p:spPr>
        <p:txBody>
          <a:bodyPr vert="horz" wrap="none" lIns="0" tIns="0" rIns="45720" bIns="0" numCol="1" anchor="t" anchorCtr="0" compatLnSpc="1">
            <a:prstTxWarp prst="textNoShape">
              <a:avLst/>
            </a:prstTxWarp>
            <a:spAutoFit/>
          </a:bodyPr>
          <a:lstStyle/>
          <a:p>
            <a:pPr marL="228600" lvl="2" indent="-118872">
              <a:spcAft>
                <a:spcPts val="0"/>
              </a:spcAft>
              <a:buClr>
                <a:srgbClr val="4C7C8F"/>
              </a:buClr>
              <a:buSzPct val="100000"/>
              <a:buFont typeface="Arial" pitchFamily="34" charset="0"/>
              <a:buChar char="–"/>
              <a:defRPr/>
            </a:pPr>
            <a:r>
              <a:rPr lang="en-US" sz="950" kern="0">
                <a:solidFill>
                  <a:srgbClr val="3F3F3F"/>
                </a:solidFill>
                <a:latin typeface="+mn-lt"/>
              </a:rPr>
              <a:t>Emerging areas of investment</a:t>
            </a:r>
          </a:p>
          <a:p>
            <a:pPr marL="228600" lvl="2" indent="-118872">
              <a:spcAft>
                <a:spcPts val="0"/>
              </a:spcAft>
              <a:buClr>
                <a:srgbClr val="4C7C8F"/>
              </a:buClr>
              <a:buSzPct val="100000"/>
              <a:buFont typeface="Arial" pitchFamily="34" charset="0"/>
              <a:buChar char="–"/>
              <a:defRPr/>
            </a:pPr>
            <a:r>
              <a:rPr lang="en-US" sz="950" kern="0">
                <a:solidFill>
                  <a:srgbClr val="3F3F3F"/>
                </a:solidFill>
                <a:latin typeface="+mn-lt"/>
              </a:rPr>
              <a:t>Annual performance and future outlook</a:t>
            </a:r>
          </a:p>
        </p:txBody>
      </p:sp>
      <p:cxnSp>
        <p:nvCxnSpPr>
          <p:cNvPr id="30" name="Straight Connector 29">
            <a:extLst>
              <a:ext uri="{FF2B5EF4-FFF2-40B4-BE49-F238E27FC236}">
                <a16:creationId xmlns:a16="http://schemas.microsoft.com/office/drawing/2014/main" id="{B12B72AB-AACD-454D-A9AE-800EBCC8AF45}"/>
              </a:ext>
            </a:extLst>
          </p:cNvPr>
          <p:cNvCxnSpPr>
            <a:cxnSpLocks/>
          </p:cNvCxnSpPr>
          <p:nvPr/>
        </p:nvCxnSpPr>
        <p:spPr bwMode="auto">
          <a:xfrm>
            <a:off x="7115917" y="1675137"/>
            <a:ext cx="0" cy="4100830"/>
          </a:xfrm>
          <a:prstGeom prst="line">
            <a:avLst/>
          </a:prstGeom>
          <a:noFill/>
          <a:ln w="6350" cap="flat" cmpd="sng" algn="ctr">
            <a:solidFill>
              <a:schemeClr val="bg1">
                <a:lumMod val="65000"/>
              </a:schemeClr>
            </a:solidFill>
            <a:prstDash val="dash"/>
            <a:round/>
            <a:headEnd type="none" w="med" len="med"/>
            <a:tailEnd type="none" w="med" len="med"/>
          </a:ln>
          <a:effectLst/>
        </p:spPr>
      </p:cxnSp>
      <p:pic>
        <p:nvPicPr>
          <p:cNvPr id="7" name="Picture 6" descr="A picture containing text, sign&#10;&#10;Description automatically generated">
            <a:extLst>
              <a:ext uri="{FF2B5EF4-FFF2-40B4-BE49-F238E27FC236}">
                <a16:creationId xmlns:a16="http://schemas.microsoft.com/office/drawing/2014/main" id="{0ED97B81-C9E4-0EE3-EE7C-BF7ABD49870B}"/>
              </a:ext>
            </a:extLst>
          </p:cNvPr>
          <p:cNvPicPr>
            <a:picLocks noChangeAspect="1"/>
          </p:cNvPicPr>
          <p:nvPr/>
        </p:nvPicPr>
        <p:blipFill>
          <a:blip r:embed="rId7"/>
          <a:stretch>
            <a:fillRect/>
          </a:stretch>
        </p:blipFill>
        <p:spPr>
          <a:xfrm>
            <a:off x="10583425" y="5033666"/>
            <a:ext cx="1322825" cy="366335"/>
          </a:xfrm>
          <a:prstGeom prst="rect">
            <a:avLst/>
          </a:prstGeom>
        </p:spPr>
      </p:pic>
      <p:pic>
        <p:nvPicPr>
          <p:cNvPr id="9" name="Picture 8" descr="Logo&#10;&#10;Description automatically generated">
            <a:extLst>
              <a:ext uri="{FF2B5EF4-FFF2-40B4-BE49-F238E27FC236}">
                <a16:creationId xmlns:a16="http://schemas.microsoft.com/office/drawing/2014/main" id="{000AD984-2D8A-6653-0F87-351F6B95C85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612009" y="5084617"/>
            <a:ext cx="1322825" cy="263215"/>
          </a:xfrm>
          <a:prstGeom prst="rect">
            <a:avLst/>
          </a:prstGeom>
        </p:spPr>
      </p:pic>
      <p:pic>
        <p:nvPicPr>
          <p:cNvPr id="13" name="Picture 12" descr="A picture containing text, clipart&#10;&#10;Description automatically generated">
            <a:extLst>
              <a:ext uri="{FF2B5EF4-FFF2-40B4-BE49-F238E27FC236}">
                <a16:creationId xmlns:a16="http://schemas.microsoft.com/office/drawing/2014/main" id="{D979537E-1001-96D0-A37C-727826ECD15D}"/>
              </a:ext>
            </a:extLst>
          </p:cNvPr>
          <p:cNvPicPr>
            <a:picLocks noChangeAspect="1"/>
          </p:cNvPicPr>
          <p:nvPr/>
        </p:nvPicPr>
        <p:blipFill>
          <a:blip r:embed="rId9"/>
          <a:stretch>
            <a:fillRect/>
          </a:stretch>
        </p:blipFill>
        <p:spPr>
          <a:xfrm>
            <a:off x="9317309" y="3981484"/>
            <a:ext cx="1064933" cy="202266"/>
          </a:xfrm>
          <a:prstGeom prst="rect">
            <a:avLst/>
          </a:prstGeom>
        </p:spPr>
      </p:pic>
      <p:pic>
        <p:nvPicPr>
          <p:cNvPr id="14" name="Picture 42" descr="PMG Logo Vector (.AI) Free Download">
            <a:extLst>
              <a:ext uri="{FF2B5EF4-FFF2-40B4-BE49-F238E27FC236}">
                <a16:creationId xmlns:a16="http://schemas.microsoft.com/office/drawing/2014/main" id="{0ABAA245-28EE-BA4D-0BBB-D29FBBEFA4EE}"/>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39451" y="5049705"/>
            <a:ext cx="687787" cy="3484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Logo&#10;&#10;Description automatically generated">
            <a:extLst>
              <a:ext uri="{FF2B5EF4-FFF2-40B4-BE49-F238E27FC236}">
                <a16:creationId xmlns:a16="http://schemas.microsoft.com/office/drawing/2014/main" id="{AEE64F9C-E465-7577-25D7-EC5351C0DF2E}"/>
              </a:ext>
            </a:extLst>
          </p:cNvPr>
          <p:cNvPicPr>
            <a:picLocks noChangeAspect="1"/>
          </p:cNvPicPr>
          <p:nvPr/>
        </p:nvPicPr>
        <p:blipFill>
          <a:blip r:embed="rId11"/>
          <a:stretch>
            <a:fillRect/>
          </a:stretch>
        </p:blipFill>
        <p:spPr>
          <a:xfrm>
            <a:off x="9225880" y="3254417"/>
            <a:ext cx="1219760" cy="431244"/>
          </a:xfrm>
          <a:prstGeom prst="rect">
            <a:avLst/>
          </a:prstGeom>
        </p:spPr>
      </p:pic>
      <p:pic>
        <p:nvPicPr>
          <p:cNvPr id="19" name="Picture 24" descr="GBTEC BIC Platform Reviews, Ratings, &amp; Alternatives - Gartner 2021">
            <a:extLst>
              <a:ext uri="{FF2B5EF4-FFF2-40B4-BE49-F238E27FC236}">
                <a16:creationId xmlns:a16="http://schemas.microsoft.com/office/drawing/2014/main" id="{A654C1B4-B3F1-DA23-B9FB-7984134851F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143480" y="3321723"/>
            <a:ext cx="762770" cy="296632"/>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6EDBF58F-F58A-128A-FD27-59D6C7AECB1C}"/>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0435" t="26113" r="10217" b="25965"/>
          <a:stretch/>
        </p:blipFill>
        <p:spPr bwMode="auto">
          <a:xfrm>
            <a:off x="7339451" y="4480016"/>
            <a:ext cx="1171945" cy="26007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a:extLst>
              <a:ext uri="{FF2B5EF4-FFF2-40B4-BE49-F238E27FC236}">
                <a16:creationId xmlns:a16="http://schemas.microsoft.com/office/drawing/2014/main" id="{83EC6B43-5AF3-E857-709D-13070F9FC3E3}"/>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1321" t="36811" r="10805" b="36667"/>
          <a:stretch/>
        </p:blipFill>
        <p:spPr bwMode="auto">
          <a:xfrm>
            <a:off x="10694114" y="4472447"/>
            <a:ext cx="1212136" cy="27521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A picture containing text, clipart, tableware, dishware&#10;&#10;Description automatically generated">
            <a:extLst>
              <a:ext uri="{FF2B5EF4-FFF2-40B4-BE49-F238E27FC236}">
                <a16:creationId xmlns:a16="http://schemas.microsoft.com/office/drawing/2014/main" id="{25E66E19-5449-316D-75EA-1A7FE83E521E}"/>
              </a:ext>
            </a:extLst>
          </p:cNvPr>
          <p:cNvPicPr>
            <a:picLocks noChangeAspect="1"/>
          </p:cNvPicPr>
          <p:nvPr/>
        </p:nvPicPr>
        <p:blipFill>
          <a:blip r:embed="rId15"/>
          <a:stretch>
            <a:fillRect/>
          </a:stretch>
        </p:blipFill>
        <p:spPr>
          <a:xfrm>
            <a:off x="7339451" y="3950011"/>
            <a:ext cx="1377634" cy="265213"/>
          </a:xfrm>
          <a:prstGeom prst="rect">
            <a:avLst/>
          </a:prstGeom>
        </p:spPr>
      </p:pic>
      <p:sp>
        <p:nvSpPr>
          <p:cNvPr id="2" name="Content Placeholder 2">
            <a:extLst>
              <a:ext uri="{FF2B5EF4-FFF2-40B4-BE49-F238E27FC236}">
                <a16:creationId xmlns:a16="http://schemas.microsoft.com/office/drawing/2014/main" id="{EC131449-434C-40EA-AAED-ABF59F864F2C}"/>
              </a:ext>
            </a:extLst>
          </p:cNvPr>
          <p:cNvSpPr txBox="1">
            <a:spLocks/>
          </p:cNvSpPr>
          <p:nvPr/>
        </p:nvSpPr>
        <p:spPr bwMode="gray">
          <a:xfrm>
            <a:off x="4124702" y="2065479"/>
            <a:ext cx="3164277" cy="584775"/>
          </a:xfrm>
          <a:prstGeom prst="rect">
            <a:avLst/>
          </a:prstGeom>
          <a:noFill/>
          <a:ln w="9525">
            <a:noFill/>
            <a:miter lim="800000"/>
            <a:headEnd/>
            <a:tailEnd/>
          </a:ln>
        </p:spPr>
        <p:txBody>
          <a:bodyPr vert="horz" wrap="square" lIns="0" tIns="0" rIns="45720" bIns="0" numCol="1" anchor="t" anchorCtr="0" compatLnSpc="1">
            <a:prstTxWarp prst="textNoShape">
              <a:avLst/>
            </a:prstTxWarp>
            <a:spAutoFit/>
          </a:bodyPr>
          <a:lstStyle/>
          <a:p>
            <a:pPr marL="228600" lvl="2" indent="-118872">
              <a:spcAft>
                <a:spcPts val="0"/>
              </a:spcAft>
              <a:buClr>
                <a:srgbClr val="4C7C8F"/>
              </a:buClr>
              <a:buSzPct val="100000"/>
              <a:buFont typeface="Arial" pitchFamily="34" charset="0"/>
              <a:buChar char="–"/>
              <a:defRPr/>
            </a:pPr>
            <a:r>
              <a:rPr lang="en-US" sz="950" b="0" kern="0">
                <a:solidFill>
                  <a:srgbClr val="3F3F3F"/>
                </a:solidFill>
                <a:latin typeface="+mn-lt"/>
              </a:rPr>
              <a:t>Deployment and hosting options</a:t>
            </a:r>
            <a:endParaRPr lang="en-US" sz="950" kern="0">
              <a:solidFill>
                <a:srgbClr val="3F3F3F"/>
              </a:solidFill>
              <a:latin typeface="+mn-lt"/>
            </a:endParaRPr>
          </a:p>
          <a:p>
            <a:pPr marL="228600" lvl="2" indent="-118872">
              <a:spcAft>
                <a:spcPts val="0"/>
              </a:spcAft>
              <a:buClr>
                <a:srgbClr val="4C7C8F"/>
              </a:buClr>
              <a:buSzPct val="100000"/>
              <a:buFont typeface="Arial" pitchFamily="34" charset="0"/>
              <a:buChar char="–"/>
              <a:defRPr/>
            </a:pPr>
            <a:r>
              <a:rPr lang="en-US" sz="950" kern="0">
                <a:solidFill>
                  <a:srgbClr val="3F3F3F"/>
                </a:solidFill>
                <a:latin typeface="+mn-lt"/>
              </a:rPr>
              <a:t>Product-related training and support services</a:t>
            </a:r>
          </a:p>
          <a:p>
            <a:pPr marL="228600" lvl="2" indent="-118872">
              <a:spcAft>
                <a:spcPts val="0"/>
              </a:spcAft>
              <a:buClr>
                <a:srgbClr val="4C7C8F"/>
              </a:buClr>
              <a:buSzPct val="100000"/>
              <a:buFont typeface="Arial" pitchFamily="34" charset="0"/>
              <a:buChar char="–"/>
              <a:defRPr/>
            </a:pPr>
            <a:r>
              <a:rPr lang="en-US" sz="950" kern="0">
                <a:solidFill>
                  <a:srgbClr val="3F3F3F"/>
                </a:solidFill>
                <a:latin typeface="+mn-lt"/>
              </a:rPr>
              <a:t>Availability and adoption of commercial model(s)</a:t>
            </a:r>
          </a:p>
          <a:p>
            <a:pPr marL="228600" lvl="2" indent="-118872">
              <a:spcAft>
                <a:spcPts val="0"/>
              </a:spcAft>
              <a:buClr>
                <a:srgbClr val="4C7C8F"/>
              </a:buClr>
              <a:buSzPct val="100000"/>
              <a:buFont typeface="Arial" pitchFamily="34" charset="0"/>
              <a:buChar char="–"/>
              <a:defRPr/>
            </a:pPr>
            <a:r>
              <a:rPr lang="en-US" sz="950" kern="0">
                <a:solidFill>
                  <a:srgbClr val="3F3F3F"/>
                </a:solidFill>
                <a:latin typeface="+mn-lt"/>
              </a:rPr>
              <a:t>IT governance and security</a:t>
            </a:r>
          </a:p>
        </p:txBody>
      </p:sp>
      <p:sp>
        <p:nvSpPr>
          <p:cNvPr id="3" name="Content Placeholder 2">
            <a:extLst>
              <a:ext uri="{FF2B5EF4-FFF2-40B4-BE49-F238E27FC236}">
                <a16:creationId xmlns:a16="http://schemas.microsoft.com/office/drawing/2014/main" id="{47AFC87B-3327-C713-799C-DC1000357AB8}"/>
              </a:ext>
            </a:extLst>
          </p:cNvPr>
          <p:cNvSpPr txBox="1">
            <a:spLocks/>
          </p:cNvSpPr>
          <p:nvPr/>
        </p:nvSpPr>
        <p:spPr bwMode="gray">
          <a:xfrm>
            <a:off x="4111625" y="5273191"/>
            <a:ext cx="2664832" cy="438582"/>
          </a:xfrm>
          <a:prstGeom prst="rect">
            <a:avLst/>
          </a:prstGeom>
          <a:noFill/>
          <a:ln w="9525">
            <a:noFill/>
            <a:miter lim="800000"/>
            <a:headEnd/>
            <a:tailEnd/>
          </a:ln>
        </p:spPr>
        <p:txBody>
          <a:bodyPr vert="horz" wrap="none" lIns="0" tIns="0" rIns="45720" bIns="0" numCol="1" anchor="t" anchorCtr="0" compatLnSpc="1">
            <a:prstTxWarp prst="textNoShape">
              <a:avLst/>
            </a:prstTxWarp>
            <a:spAutoFit/>
          </a:bodyPr>
          <a:lstStyle/>
          <a:p>
            <a:pPr marL="237744" lvl="2" indent="-118872" algn="l" defTabSz="915373" rtl="0" eaLnBrk="1" latinLnBrk="0" hangingPunct="1">
              <a:spcAft>
                <a:spcPts val="0"/>
              </a:spcAft>
              <a:buClr>
                <a:srgbClr val="4C7C8F"/>
              </a:buClr>
              <a:buSzPct val="100000"/>
              <a:buFont typeface="Arial" pitchFamily="34" charset="0"/>
              <a:buChar char="–"/>
              <a:defRPr/>
            </a:pPr>
            <a:r>
              <a:rPr lang="en-US" sz="950" b="0" kern="0" noProof="0">
                <a:solidFill>
                  <a:srgbClr val="3F3F3F"/>
                </a:solidFill>
                <a:latin typeface="+mn-lt"/>
                <a:ea typeface="+mn-ea"/>
                <a:cs typeface="+mn-cs"/>
              </a:rPr>
              <a:t>Emerging priorities / buying criteria</a:t>
            </a:r>
          </a:p>
          <a:p>
            <a:pPr marL="237744" lvl="2" indent="-118872" algn="l" defTabSz="915373" rtl="0" eaLnBrk="1" latinLnBrk="0" hangingPunct="1">
              <a:spcAft>
                <a:spcPts val="0"/>
              </a:spcAft>
              <a:buClr>
                <a:srgbClr val="4C7C8F"/>
              </a:buClr>
              <a:buSzPct val="100000"/>
              <a:buFont typeface="Arial" pitchFamily="34" charset="0"/>
              <a:buChar char="–"/>
              <a:defRPr/>
            </a:pPr>
            <a:r>
              <a:rPr lang="en-US" sz="950" b="0" kern="0" noProof="0">
                <a:solidFill>
                  <a:srgbClr val="3F3F3F"/>
                </a:solidFill>
                <a:latin typeface="+mn-lt"/>
                <a:ea typeface="+mn-ea"/>
                <a:cs typeface="+mn-cs"/>
              </a:rPr>
              <a:t>Outcomes achieved </a:t>
            </a:r>
          </a:p>
          <a:p>
            <a:pPr marL="237744" lvl="2" indent="-118872" algn="l" defTabSz="915373" rtl="0" eaLnBrk="1" latinLnBrk="0" hangingPunct="1">
              <a:spcAft>
                <a:spcPts val="0"/>
              </a:spcAft>
              <a:buClr>
                <a:srgbClr val="4C7C8F"/>
              </a:buClr>
              <a:buSzPct val="100000"/>
              <a:buFont typeface="Arial" pitchFamily="34" charset="0"/>
              <a:buChar char="–"/>
              <a:defRPr/>
            </a:pPr>
            <a:r>
              <a:rPr lang="en-US" sz="950" b="0" kern="0" noProof="0">
                <a:solidFill>
                  <a:srgbClr val="3F3F3F"/>
                </a:solidFill>
                <a:latin typeface="+mn-lt"/>
                <a:ea typeface="+mn-ea"/>
                <a:cs typeface="+mn-cs"/>
              </a:rPr>
              <a:t>Lessons learned and best practices adopted</a:t>
            </a:r>
          </a:p>
        </p:txBody>
      </p:sp>
      <p:pic>
        <p:nvPicPr>
          <p:cNvPr id="6" name="Picture 8">
            <a:extLst>
              <a:ext uri="{FF2B5EF4-FFF2-40B4-BE49-F238E27FC236}">
                <a16:creationId xmlns:a16="http://schemas.microsoft.com/office/drawing/2014/main" id="{AE84A167-1751-9190-E9D6-19D81EFC31EA}"/>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25856" b="25577"/>
          <a:stretch/>
        </p:blipFill>
        <p:spPr bwMode="auto">
          <a:xfrm>
            <a:off x="10861382" y="2709566"/>
            <a:ext cx="1044868" cy="2656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a:extLst>
              <a:ext uri="{FF2B5EF4-FFF2-40B4-BE49-F238E27FC236}">
                <a16:creationId xmlns:a16="http://schemas.microsoft.com/office/drawing/2014/main" id="{80C16287-6F8B-B430-FB6B-5EC76753744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339451" y="2168194"/>
            <a:ext cx="1163391" cy="25464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Logo&#10;&#10;Description automatically generated">
            <a:extLst>
              <a:ext uri="{FF2B5EF4-FFF2-40B4-BE49-F238E27FC236}">
                <a16:creationId xmlns:a16="http://schemas.microsoft.com/office/drawing/2014/main" id="{AA256D6B-5B9D-928E-78CC-03E672175524}"/>
              </a:ext>
            </a:extLst>
          </p:cNvPr>
          <p:cNvPicPr>
            <a:picLocks noChangeAspect="1"/>
          </p:cNvPicPr>
          <p:nvPr/>
        </p:nvPicPr>
        <p:blipFill>
          <a:blip r:embed="rId18"/>
          <a:stretch>
            <a:fillRect/>
          </a:stretch>
        </p:blipFill>
        <p:spPr>
          <a:xfrm>
            <a:off x="7339451" y="2646360"/>
            <a:ext cx="1244571" cy="392040"/>
          </a:xfrm>
          <a:prstGeom prst="rect">
            <a:avLst/>
          </a:prstGeom>
        </p:spPr>
      </p:pic>
      <p:pic>
        <p:nvPicPr>
          <p:cNvPr id="20" name="Picture 19" descr="A black and white sign&#10;&#10;Description automatically generated with medium confidence">
            <a:extLst>
              <a:ext uri="{FF2B5EF4-FFF2-40B4-BE49-F238E27FC236}">
                <a16:creationId xmlns:a16="http://schemas.microsoft.com/office/drawing/2014/main" id="{71701AA8-861A-E767-ACE0-7E88EAA3B523}"/>
              </a:ext>
            </a:extLst>
          </p:cNvPr>
          <p:cNvPicPr>
            <a:picLocks noChangeAspect="1"/>
          </p:cNvPicPr>
          <p:nvPr/>
        </p:nvPicPr>
        <p:blipFill>
          <a:blip r:embed="rId19"/>
          <a:stretch>
            <a:fillRect/>
          </a:stretch>
        </p:blipFill>
        <p:spPr>
          <a:xfrm>
            <a:off x="9309407" y="2711805"/>
            <a:ext cx="762770" cy="261151"/>
          </a:xfrm>
          <a:prstGeom prst="rect">
            <a:avLst/>
          </a:prstGeom>
        </p:spPr>
      </p:pic>
      <p:pic>
        <p:nvPicPr>
          <p:cNvPr id="21" name="Picture 2" descr="Logo">
            <a:extLst>
              <a:ext uri="{FF2B5EF4-FFF2-40B4-BE49-F238E27FC236}">
                <a16:creationId xmlns:a16="http://schemas.microsoft.com/office/drawing/2014/main" id="{E464381D-521C-8D3E-59DE-78C17460A63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098795" y="2156886"/>
            <a:ext cx="807455" cy="28651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A picture containing text, clock&#10;&#10;Description automatically generated">
            <a:extLst>
              <a:ext uri="{FF2B5EF4-FFF2-40B4-BE49-F238E27FC236}">
                <a16:creationId xmlns:a16="http://schemas.microsoft.com/office/drawing/2014/main" id="{6081CF51-CA26-5E81-EB85-53905D076982}"/>
              </a:ext>
            </a:extLst>
          </p:cNvPr>
          <p:cNvPicPr>
            <a:picLocks noChangeAspect="1"/>
          </p:cNvPicPr>
          <p:nvPr/>
        </p:nvPicPr>
        <p:blipFill>
          <a:blip r:embed="rId21"/>
          <a:stretch>
            <a:fillRect/>
          </a:stretch>
        </p:blipFill>
        <p:spPr>
          <a:xfrm>
            <a:off x="9364333" y="2147522"/>
            <a:ext cx="809152" cy="320608"/>
          </a:xfrm>
          <a:prstGeom prst="rect">
            <a:avLst/>
          </a:prstGeom>
        </p:spPr>
      </p:pic>
    </p:spTree>
    <p:extLst>
      <p:ext uri="{BB962C8B-B14F-4D97-AF65-F5344CB8AC3E}">
        <p14:creationId xmlns:p14="http://schemas.microsoft.com/office/powerpoint/2010/main" val="1404507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D91C91-052D-48C5-AC8A-522B7C7A26A1}"/>
              </a:ext>
            </a:extLst>
          </p:cNvPr>
          <p:cNvSpPr>
            <a:spLocks noGrp="1"/>
          </p:cNvSpPr>
          <p:nvPr>
            <p:ph type="title"/>
          </p:nvPr>
        </p:nvSpPr>
        <p:spPr>
          <a:xfrm>
            <a:off x="307975" y="622777"/>
            <a:ext cx="11612880" cy="276999"/>
          </a:xfrm>
        </p:spPr>
        <p:txBody>
          <a:bodyPr/>
          <a:lstStyle/>
          <a:p>
            <a:r>
              <a:rPr lang="en-US" dirty="0"/>
              <a:t>Introduction</a:t>
            </a:r>
            <a:endParaRPr lang="en-US" b="0" dirty="0">
              <a:latin typeface="+mn-lt"/>
            </a:endParaRPr>
          </a:p>
        </p:txBody>
      </p:sp>
      <p:cxnSp>
        <p:nvCxnSpPr>
          <p:cNvPr id="23" name="Straight Connector 22">
            <a:extLst>
              <a:ext uri="{FF2B5EF4-FFF2-40B4-BE49-F238E27FC236}">
                <a16:creationId xmlns:a16="http://schemas.microsoft.com/office/drawing/2014/main" id="{23ED98B0-AE04-48AD-9143-A8784A4345E2}"/>
              </a:ext>
            </a:extLst>
          </p:cNvPr>
          <p:cNvCxnSpPr>
            <a:cxnSpLocks/>
          </p:cNvCxnSpPr>
          <p:nvPr/>
        </p:nvCxnSpPr>
        <p:spPr bwMode="auto">
          <a:xfrm>
            <a:off x="2095500" y="4797059"/>
            <a:ext cx="9791698" cy="0"/>
          </a:xfrm>
          <a:prstGeom prst="line">
            <a:avLst/>
          </a:prstGeom>
          <a:noFill/>
          <a:ln w="6350" cap="flat" cmpd="sng" algn="ctr">
            <a:solidFill>
              <a:schemeClr val="bg1">
                <a:lumMod val="85000"/>
              </a:schemeClr>
            </a:solidFill>
            <a:prstDash val="solid"/>
            <a:round/>
            <a:headEnd type="none" w="med" len="med"/>
            <a:tailEnd type="none" w="med" len="med"/>
          </a:ln>
          <a:effectLst/>
        </p:spPr>
      </p:cxnSp>
      <p:grpSp>
        <p:nvGrpSpPr>
          <p:cNvPr id="24" name="Group 23">
            <a:extLst>
              <a:ext uri="{FF2B5EF4-FFF2-40B4-BE49-F238E27FC236}">
                <a16:creationId xmlns:a16="http://schemas.microsoft.com/office/drawing/2014/main" id="{534CE9DB-E8E8-4C98-A2DF-7819171216B3}"/>
              </a:ext>
            </a:extLst>
          </p:cNvPr>
          <p:cNvGrpSpPr/>
          <p:nvPr/>
        </p:nvGrpSpPr>
        <p:grpSpPr>
          <a:xfrm>
            <a:off x="-8761" y="4797059"/>
            <a:ext cx="2297190" cy="393209"/>
            <a:chOff x="1" y="3880621"/>
            <a:chExt cx="2297190" cy="393209"/>
          </a:xfrm>
        </p:grpSpPr>
        <p:sp>
          <p:nvSpPr>
            <p:cNvPr id="25" name="Arrow: Pentagon 24">
              <a:extLst>
                <a:ext uri="{FF2B5EF4-FFF2-40B4-BE49-F238E27FC236}">
                  <a16:creationId xmlns:a16="http://schemas.microsoft.com/office/drawing/2014/main" id="{480A0F75-CBE3-4650-BD53-D91CD83A0461}"/>
                </a:ext>
              </a:extLst>
            </p:cNvPr>
            <p:cNvSpPr/>
            <p:nvPr/>
          </p:nvSpPr>
          <p:spPr>
            <a:xfrm>
              <a:off x="1" y="3880621"/>
              <a:ext cx="1996533" cy="393209"/>
            </a:xfrm>
            <a:prstGeom prst="homePlate">
              <a:avLst/>
            </a:prstGeom>
            <a:solidFill>
              <a:schemeClr val="bg1">
                <a:lumMod val="85000"/>
              </a:schemeClr>
            </a:solidFill>
          </p:spPr>
          <p:txBody>
            <a:bodyPr wrap="square" lIns="0" anchor="ctr">
              <a:noAutofit/>
            </a:bodyPr>
            <a:lstStyle/>
            <a:p>
              <a:pPr marL="28575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3F3F3F"/>
                  </a:solidFill>
                  <a:effectLst/>
                  <a:uLnTx/>
                  <a:uFillTx/>
                  <a:latin typeface="Arial" charset="0"/>
                  <a:ea typeface="+mn-ea"/>
                  <a:cs typeface="Arial" charset="0"/>
                </a:rPr>
                <a:t> Scope of this report</a:t>
              </a:r>
            </a:p>
          </p:txBody>
        </p:sp>
        <p:sp>
          <p:nvSpPr>
            <p:cNvPr id="26" name="Arrow: Chevron 25">
              <a:extLst>
                <a:ext uri="{FF2B5EF4-FFF2-40B4-BE49-F238E27FC236}">
                  <a16:creationId xmlns:a16="http://schemas.microsoft.com/office/drawing/2014/main" id="{A328D9CE-4E82-4451-BF33-8AD93E09E06A}"/>
                </a:ext>
              </a:extLst>
            </p:cNvPr>
            <p:cNvSpPr/>
            <p:nvPr/>
          </p:nvSpPr>
          <p:spPr bwMode="auto">
            <a:xfrm>
              <a:off x="1866415" y="3880621"/>
              <a:ext cx="298222" cy="393205"/>
            </a:xfrm>
            <a:prstGeom prst="chevron">
              <a:avLst>
                <a:gd name="adj" fmla="val 63442"/>
              </a:avLst>
            </a:prstGeom>
            <a:solidFill>
              <a:srgbClr val="D9D9D9">
                <a:alpha val="50196"/>
              </a:srgb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sp>
          <p:nvSpPr>
            <p:cNvPr id="27" name="Arrow: Chevron 26">
              <a:extLst>
                <a:ext uri="{FF2B5EF4-FFF2-40B4-BE49-F238E27FC236}">
                  <a16:creationId xmlns:a16="http://schemas.microsoft.com/office/drawing/2014/main" id="{C3CDC59C-20F6-4CBE-A503-F1AFFF07D65A}"/>
                </a:ext>
              </a:extLst>
            </p:cNvPr>
            <p:cNvSpPr/>
            <p:nvPr/>
          </p:nvSpPr>
          <p:spPr bwMode="auto">
            <a:xfrm>
              <a:off x="2027828" y="3880621"/>
              <a:ext cx="269363" cy="393205"/>
            </a:xfrm>
            <a:prstGeom prst="chevron">
              <a:avLst>
                <a:gd name="adj" fmla="val 71216"/>
              </a:avLst>
            </a:prstGeom>
            <a:solidFill>
              <a:schemeClr val="bg1">
                <a:lumMod val="95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lvl="0" indent="-304800" algn="l" defTabSz="914400" rtl="0" eaLnBrk="1" fontAlgn="base" latinLnBrk="0" hangingPunct="1">
                <a:lnSpc>
                  <a:spcPct val="100000"/>
                </a:lnSpc>
                <a:spcBef>
                  <a:spcPct val="0"/>
                </a:spcBef>
                <a:spcAft>
                  <a:spcPct val="0"/>
                </a:spcAft>
                <a:buClr>
                  <a:srgbClr val="52B964"/>
                </a:buClr>
                <a:buSzPct val="60000"/>
                <a:buFont typeface="Wingdings" pitchFamily="2" charset="2"/>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grpSp>
      <p:graphicFrame>
        <p:nvGraphicFramePr>
          <p:cNvPr id="8" name="Table 11">
            <a:extLst>
              <a:ext uri="{FF2B5EF4-FFF2-40B4-BE49-F238E27FC236}">
                <a16:creationId xmlns:a16="http://schemas.microsoft.com/office/drawing/2014/main" id="{F79B6A76-3CA0-45BC-8782-4BF8ECF2DE27}"/>
              </a:ext>
            </a:extLst>
          </p:cNvPr>
          <p:cNvGraphicFramePr>
            <a:graphicFrameLocks noGrp="1"/>
          </p:cNvGraphicFramePr>
          <p:nvPr>
            <p:extLst>
              <p:ext uri="{D42A27DB-BD31-4B8C-83A1-F6EECF244321}">
                <p14:modId xmlns:p14="http://schemas.microsoft.com/office/powerpoint/2010/main" val="2008979317"/>
              </p:ext>
            </p:extLst>
          </p:nvPr>
        </p:nvGraphicFramePr>
        <p:xfrm>
          <a:off x="2266950" y="5122395"/>
          <a:ext cx="9117330" cy="502920"/>
        </p:xfrm>
        <a:graphic>
          <a:graphicData uri="http://schemas.openxmlformats.org/drawingml/2006/table">
            <a:tbl>
              <a:tblPr firstRow="1" bandRow="1">
                <a:tableStyleId>{5C22544A-7EE6-4342-B048-85BDC9FD1C3A}</a:tableStyleId>
              </a:tblPr>
              <a:tblGrid>
                <a:gridCol w="1097280">
                  <a:extLst>
                    <a:ext uri="{9D8B030D-6E8A-4147-A177-3AD203B41FA5}">
                      <a16:colId xmlns:a16="http://schemas.microsoft.com/office/drawing/2014/main" val="1411926293"/>
                    </a:ext>
                  </a:extLst>
                </a:gridCol>
                <a:gridCol w="1606550">
                  <a:extLst>
                    <a:ext uri="{9D8B030D-6E8A-4147-A177-3AD203B41FA5}">
                      <a16:colId xmlns:a16="http://schemas.microsoft.com/office/drawing/2014/main" val="3320640569"/>
                    </a:ext>
                  </a:extLst>
                </a:gridCol>
                <a:gridCol w="1542754">
                  <a:extLst>
                    <a:ext uri="{9D8B030D-6E8A-4147-A177-3AD203B41FA5}">
                      <a16:colId xmlns:a16="http://schemas.microsoft.com/office/drawing/2014/main" val="856931300"/>
                    </a:ext>
                  </a:extLst>
                </a:gridCol>
                <a:gridCol w="1657646">
                  <a:extLst>
                    <a:ext uri="{9D8B030D-6E8A-4147-A177-3AD203B41FA5}">
                      <a16:colId xmlns:a16="http://schemas.microsoft.com/office/drawing/2014/main" val="1725934348"/>
                    </a:ext>
                  </a:extLst>
                </a:gridCol>
                <a:gridCol w="1606550">
                  <a:extLst>
                    <a:ext uri="{9D8B030D-6E8A-4147-A177-3AD203B41FA5}">
                      <a16:colId xmlns:a16="http://schemas.microsoft.com/office/drawing/2014/main" val="3278923065"/>
                    </a:ext>
                  </a:extLst>
                </a:gridCol>
                <a:gridCol w="1606550">
                  <a:extLst>
                    <a:ext uri="{9D8B030D-6E8A-4147-A177-3AD203B41FA5}">
                      <a16:colId xmlns:a16="http://schemas.microsoft.com/office/drawing/2014/main" val="775135927"/>
                    </a:ext>
                  </a:extLst>
                </a:gridCol>
              </a:tblGrid>
              <a:tr h="0">
                <a:tc>
                  <a:txBody>
                    <a:bodyPr/>
                    <a:lstStyle/>
                    <a:p>
                      <a:pPr algn="l"/>
                      <a:endParaRPr lang="en-US" sz="1100" b="1">
                        <a:solidFill>
                          <a:schemeClr val="tx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a:solidFill>
                            <a:schemeClr val="tx1"/>
                          </a:solidFill>
                        </a:rPr>
                        <a:t>Geography</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a:solidFill>
                          <a:schemeClr val="tx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a:solidFill>
                            <a:schemeClr val="tx1"/>
                          </a:solidFill>
                        </a:rPr>
                        <a:t>Industry</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a:solidFill>
                          <a:schemeClr val="tx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b="1">
                          <a:solidFill>
                            <a:schemeClr val="tx1"/>
                          </a:solidFill>
                        </a:rPr>
                        <a:t>Product</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73169474"/>
                  </a:ext>
                </a:extLst>
              </a:tr>
              <a:tr h="38100">
                <a:tc>
                  <a:txBody>
                    <a:bodyPr/>
                    <a:lstStyle/>
                    <a:p>
                      <a:pPr algn="l"/>
                      <a:endParaRPr lang="en-US" sz="1100">
                        <a:solidFill>
                          <a:schemeClr val="tx1"/>
                        </a:solidFil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a:solidFill>
                            <a:schemeClr val="tx1"/>
                          </a:solidFill>
                        </a:rPr>
                        <a:t>Global</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endParaRPr lang="en-US" sz="1100">
                        <a:solidFill>
                          <a:schemeClr val="tx1"/>
                        </a:solidFill>
                        <a:highlight>
                          <a:srgbClr val="FFFF00"/>
                        </a:highligh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a:solidFill>
                            <a:schemeClr val="tx1"/>
                          </a:solidFill>
                        </a:rPr>
                        <a:t>All key markets</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a:solidFill>
                          <a:schemeClr val="tx1"/>
                        </a:solidFill>
                        <a:highlight>
                          <a:srgbClr val="FFFF00"/>
                        </a:highligh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5373" rtl="0" eaLnBrk="1" fontAlgn="auto" latinLnBrk="0" hangingPunct="1">
                        <a:lnSpc>
                          <a:spcPct val="100000"/>
                        </a:lnSpc>
                        <a:spcBef>
                          <a:spcPts val="0"/>
                        </a:spcBef>
                        <a:spcAft>
                          <a:spcPts val="0"/>
                        </a:spcAft>
                        <a:buClrTx/>
                        <a:buSzTx/>
                        <a:buFontTx/>
                        <a:buNone/>
                        <a:tabLst/>
                        <a:defRPr/>
                      </a:pPr>
                      <a:r>
                        <a:rPr lang="en-US" sz="1100" dirty="0">
                          <a:solidFill>
                            <a:schemeClr val="tx1"/>
                          </a:solidFill>
                        </a:rPr>
                        <a:t>Process orchestration</a:t>
                      </a:r>
                    </a:p>
                    <a:p>
                      <a:pPr algn="l"/>
                      <a:endParaRPr lang="en-US" sz="1100" dirty="0">
                        <a:solidFill>
                          <a:schemeClr val="tx1"/>
                        </a:solidFill>
                        <a:highlight>
                          <a:srgbClr val="FFFF00"/>
                        </a:highlight>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914287"/>
                  </a:ext>
                </a:extLst>
              </a:tr>
            </a:tbl>
          </a:graphicData>
        </a:graphic>
      </p:graphicFrame>
      <p:grpSp>
        <p:nvGrpSpPr>
          <p:cNvPr id="15" name="Group 14">
            <a:extLst>
              <a:ext uri="{FF2B5EF4-FFF2-40B4-BE49-F238E27FC236}">
                <a16:creationId xmlns:a16="http://schemas.microsoft.com/office/drawing/2014/main" id="{007FA8F6-16D4-4A71-AAD5-466BF9D197EF}"/>
              </a:ext>
            </a:extLst>
          </p:cNvPr>
          <p:cNvGrpSpPr>
            <a:grpSpLocks noChangeAspect="1"/>
          </p:cNvGrpSpPr>
          <p:nvPr/>
        </p:nvGrpSpPr>
        <p:grpSpPr>
          <a:xfrm>
            <a:off x="2620296" y="5002024"/>
            <a:ext cx="624432" cy="797444"/>
            <a:chOff x="-13469938" y="3414713"/>
            <a:chExt cx="2125663" cy="2714625"/>
          </a:xfrm>
          <a:solidFill>
            <a:schemeClr val="accent5"/>
          </a:solidFill>
        </p:grpSpPr>
        <p:sp>
          <p:nvSpPr>
            <p:cNvPr id="16" name="Freeform 22">
              <a:extLst>
                <a:ext uri="{FF2B5EF4-FFF2-40B4-BE49-F238E27FC236}">
                  <a16:creationId xmlns:a16="http://schemas.microsoft.com/office/drawing/2014/main" id="{4DCA0F0D-BE4A-4553-A347-0BD29CCBB085}"/>
                </a:ext>
              </a:extLst>
            </p:cNvPr>
            <p:cNvSpPr>
              <a:spLocks noEditPoints="1"/>
            </p:cNvSpPr>
            <p:nvPr/>
          </p:nvSpPr>
          <p:spPr bwMode="auto">
            <a:xfrm>
              <a:off x="-13098463" y="3716338"/>
              <a:ext cx="1585913" cy="1574800"/>
            </a:xfrm>
            <a:custGeom>
              <a:avLst/>
              <a:gdLst>
                <a:gd name="T0" fmla="*/ 584 w 1189"/>
                <a:gd name="T1" fmla="*/ 1178 h 1183"/>
                <a:gd name="T2" fmla="*/ 600 w 1189"/>
                <a:gd name="T3" fmla="*/ 1 h 1183"/>
                <a:gd name="T4" fmla="*/ 373 w 1189"/>
                <a:gd name="T5" fmla="*/ 440 h 1183"/>
                <a:gd name="T6" fmla="*/ 434 w 1189"/>
                <a:gd name="T7" fmla="*/ 603 h 1183"/>
                <a:gd name="T8" fmla="*/ 726 w 1189"/>
                <a:gd name="T9" fmla="*/ 498 h 1183"/>
                <a:gd name="T10" fmla="*/ 684 w 1189"/>
                <a:gd name="T11" fmla="*/ 365 h 1183"/>
                <a:gd name="T12" fmla="*/ 373 w 1189"/>
                <a:gd name="T13" fmla="*/ 440 h 1183"/>
                <a:gd name="T14" fmla="*/ 798 w 1189"/>
                <a:gd name="T15" fmla="*/ 750 h 1183"/>
                <a:gd name="T16" fmla="*/ 777 w 1189"/>
                <a:gd name="T17" fmla="*/ 590 h 1183"/>
                <a:gd name="T18" fmla="*/ 527 w 1189"/>
                <a:gd name="T19" fmla="*/ 657 h 1183"/>
                <a:gd name="T20" fmla="*/ 523 w 1189"/>
                <a:gd name="T21" fmla="*/ 851 h 1183"/>
                <a:gd name="T22" fmla="*/ 1069 w 1189"/>
                <a:gd name="T23" fmla="*/ 462 h 1183"/>
                <a:gd name="T24" fmla="*/ 853 w 1189"/>
                <a:gd name="T25" fmla="*/ 557 h 1183"/>
                <a:gd name="T26" fmla="*/ 909 w 1189"/>
                <a:gd name="T27" fmla="*/ 729 h 1183"/>
                <a:gd name="T28" fmla="*/ 1085 w 1189"/>
                <a:gd name="T29" fmla="*/ 711 h 1183"/>
                <a:gd name="T30" fmla="*/ 1082 w 1189"/>
                <a:gd name="T31" fmla="*/ 460 h 1183"/>
                <a:gd name="T32" fmla="*/ 120 w 1189"/>
                <a:gd name="T33" fmla="*/ 716 h 1183"/>
                <a:gd name="T34" fmla="*/ 334 w 1189"/>
                <a:gd name="T35" fmla="*/ 618 h 1183"/>
                <a:gd name="T36" fmla="*/ 277 w 1189"/>
                <a:gd name="T37" fmla="*/ 448 h 1183"/>
                <a:gd name="T38" fmla="*/ 103 w 1189"/>
                <a:gd name="T39" fmla="*/ 468 h 1183"/>
                <a:gd name="T40" fmla="*/ 105 w 1189"/>
                <a:gd name="T41" fmla="*/ 717 h 1183"/>
                <a:gd name="T42" fmla="*/ 831 w 1189"/>
                <a:gd name="T43" fmla="*/ 460 h 1183"/>
                <a:gd name="T44" fmla="*/ 1047 w 1189"/>
                <a:gd name="T45" fmla="*/ 367 h 1183"/>
                <a:gd name="T46" fmla="*/ 874 w 1189"/>
                <a:gd name="T47" fmla="*/ 181 h 1183"/>
                <a:gd name="T48" fmla="*/ 743 w 1189"/>
                <a:gd name="T49" fmla="*/ 298 h 1183"/>
                <a:gd name="T50" fmla="*/ 824 w 1189"/>
                <a:gd name="T51" fmla="*/ 461 h 1183"/>
                <a:gd name="T52" fmla="*/ 296 w 1189"/>
                <a:gd name="T53" fmla="*/ 996 h 1183"/>
                <a:gd name="T54" fmla="*/ 439 w 1189"/>
                <a:gd name="T55" fmla="*/ 900 h 1183"/>
                <a:gd name="T56" fmla="*/ 373 w 1189"/>
                <a:gd name="T57" fmla="*/ 728 h 1183"/>
                <a:gd name="T58" fmla="*/ 223 w 1189"/>
                <a:gd name="T59" fmla="*/ 767 h 1183"/>
                <a:gd name="T60" fmla="*/ 617 w 1189"/>
                <a:gd name="T61" fmla="*/ 257 h 1183"/>
                <a:gd name="T62" fmla="*/ 386 w 1189"/>
                <a:gd name="T63" fmla="*/ 153 h 1183"/>
                <a:gd name="T64" fmla="*/ 366 w 1189"/>
                <a:gd name="T65" fmla="*/ 348 h 1183"/>
                <a:gd name="T66" fmla="*/ 570 w 1189"/>
                <a:gd name="T67" fmla="*/ 921 h 1183"/>
                <a:gd name="T68" fmla="*/ 703 w 1189"/>
                <a:gd name="T69" fmla="*/ 1054 h 1183"/>
                <a:gd name="T70" fmla="*/ 809 w 1189"/>
                <a:gd name="T71" fmla="*/ 1009 h 1183"/>
                <a:gd name="T72" fmla="*/ 820 w 1189"/>
                <a:gd name="T73" fmla="*/ 830 h 1183"/>
                <a:gd name="T74" fmla="*/ 282 w 1189"/>
                <a:gd name="T75" fmla="*/ 192 h 1183"/>
                <a:gd name="T76" fmla="*/ 282 w 1189"/>
                <a:gd name="T77" fmla="*/ 366 h 1183"/>
                <a:gd name="T78" fmla="*/ 1049 w 1189"/>
                <a:gd name="T79" fmla="*/ 809 h 1183"/>
                <a:gd name="T80" fmla="*/ 926 w 1189"/>
                <a:gd name="T81" fmla="*/ 812 h 1183"/>
                <a:gd name="T82" fmla="*/ 907 w 1189"/>
                <a:gd name="T83" fmla="*/ 942 h 1183"/>
                <a:gd name="T84" fmla="*/ 1049 w 1189"/>
                <a:gd name="T85" fmla="*/ 809 h 1183"/>
                <a:gd name="T86" fmla="*/ 388 w 1189"/>
                <a:gd name="T87" fmla="*/ 1049 h 1183"/>
                <a:gd name="T88" fmla="*/ 606 w 1189"/>
                <a:gd name="T89" fmla="*/ 1087 h 1183"/>
                <a:gd name="T90" fmla="*/ 487 w 1189"/>
                <a:gd name="T91" fmla="*/ 968 h 1183"/>
                <a:gd name="T92" fmla="*/ 803 w 1189"/>
                <a:gd name="T93" fmla="*/ 136 h 1183"/>
                <a:gd name="T94" fmla="*/ 584 w 1189"/>
                <a:gd name="T95" fmla="*/ 93 h 1183"/>
                <a:gd name="T96" fmla="*/ 704 w 1189"/>
                <a:gd name="T97" fmla="*/ 208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89" h="1183">
                  <a:moveTo>
                    <a:pt x="1182" y="580"/>
                  </a:moveTo>
                  <a:cubicBezTo>
                    <a:pt x="1189" y="911"/>
                    <a:pt x="917" y="1183"/>
                    <a:pt x="584" y="1178"/>
                  </a:cubicBezTo>
                  <a:cubicBezTo>
                    <a:pt x="273" y="1173"/>
                    <a:pt x="0" y="920"/>
                    <a:pt x="5" y="578"/>
                  </a:cubicBezTo>
                  <a:cubicBezTo>
                    <a:pt x="10" y="262"/>
                    <a:pt x="263" y="0"/>
                    <a:pt x="600" y="1"/>
                  </a:cubicBezTo>
                  <a:cubicBezTo>
                    <a:pt x="915" y="1"/>
                    <a:pt x="1182" y="266"/>
                    <a:pt x="1182" y="580"/>
                  </a:cubicBezTo>
                  <a:close/>
                  <a:moveTo>
                    <a:pt x="373" y="440"/>
                  </a:moveTo>
                  <a:cubicBezTo>
                    <a:pt x="386" y="489"/>
                    <a:pt x="400" y="541"/>
                    <a:pt x="413" y="594"/>
                  </a:cubicBezTo>
                  <a:cubicBezTo>
                    <a:pt x="416" y="606"/>
                    <a:pt x="424" y="607"/>
                    <a:pt x="434" y="603"/>
                  </a:cubicBezTo>
                  <a:cubicBezTo>
                    <a:pt x="448" y="598"/>
                    <a:pt x="463" y="593"/>
                    <a:pt x="477" y="588"/>
                  </a:cubicBezTo>
                  <a:cubicBezTo>
                    <a:pt x="560" y="558"/>
                    <a:pt x="643" y="527"/>
                    <a:pt x="726" y="498"/>
                  </a:cubicBezTo>
                  <a:cubicBezTo>
                    <a:pt x="739" y="493"/>
                    <a:pt x="742" y="488"/>
                    <a:pt x="735" y="475"/>
                  </a:cubicBezTo>
                  <a:cubicBezTo>
                    <a:pt x="717" y="438"/>
                    <a:pt x="701" y="401"/>
                    <a:pt x="684" y="365"/>
                  </a:cubicBezTo>
                  <a:cubicBezTo>
                    <a:pt x="678" y="352"/>
                    <a:pt x="670" y="341"/>
                    <a:pt x="666" y="334"/>
                  </a:cubicBezTo>
                  <a:cubicBezTo>
                    <a:pt x="568" y="370"/>
                    <a:pt x="473" y="404"/>
                    <a:pt x="373" y="440"/>
                  </a:cubicBezTo>
                  <a:close/>
                  <a:moveTo>
                    <a:pt x="523" y="851"/>
                  </a:moveTo>
                  <a:cubicBezTo>
                    <a:pt x="614" y="805"/>
                    <a:pt x="704" y="772"/>
                    <a:pt x="798" y="750"/>
                  </a:cubicBezTo>
                  <a:cubicBezTo>
                    <a:pt x="812" y="747"/>
                    <a:pt x="814" y="740"/>
                    <a:pt x="811" y="727"/>
                  </a:cubicBezTo>
                  <a:cubicBezTo>
                    <a:pt x="799" y="681"/>
                    <a:pt x="787" y="636"/>
                    <a:pt x="777" y="590"/>
                  </a:cubicBezTo>
                  <a:cubicBezTo>
                    <a:pt x="773" y="573"/>
                    <a:pt x="765" y="571"/>
                    <a:pt x="750" y="577"/>
                  </a:cubicBezTo>
                  <a:cubicBezTo>
                    <a:pt x="676" y="604"/>
                    <a:pt x="601" y="630"/>
                    <a:pt x="527" y="657"/>
                  </a:cubicBezTo>
                  <a:cubicBezTo>
                    <a:pt x="500" y="667"/>
                    <a:pt x="474" y="677"/>
                    <a:pt x="445" y="688"/>
                  </a:cubicBezTo>
                  <a:cubicBezTo>
                    <a:pt x="471" y="743"/>
                    <a:pt x="496" y="796"/>
                    <a:pt x="523" y="851"/>
                  </a:cubicBezTo>
                  <a:close/>
                  <a:moveTo>
                    <a:pt x="1082" y="460"/>
                  </a:moveTo>
                  <a:cubicBezTo>
                    <a:pt x="1077" y="461"/>
                    <a:pt x="1073" y="461"/>
                    <a:pt x="1069" y="462"/>
                  </a:cubicBezTo>
                  <a:cubicBezTo>
                    <a:pt x="1001" y="487"/>
                    <a:pt x="932" y="512"/>
                    <a:pt x="864" y="536"/>
                  </a:cubicBezTo>
                  <a:cubicBezTo>
                    <a:pt x="852" y="540"/>
                    <a:pt x="850" y="547"/>
                    <a:pt x="853" y="557"/>
                  </a:cubicBezTo>
                  <a:cubicBezTo>
                    <a:pt x="866" y="611"/>
                    <a:pt x="879" y="664"/>
                    <a:pt x="893" y="717"/>
                  </a:cubicBezTo>
                  <a:cubicBezTo>
                    <a:pt x="895" y="723"/>
                    <a:pt x="904" y="729"/>
                    <a:pt x="909" y="729"/>
                  </a:cubicBezTo>
                  <a:cubicBezTo>
                    <a:pt x="961" y="729"/>
                    <a:pt x="1014" y="726"/>
                    <a:pt x="1066" y="725"/>
                  </a:cubicBezTo>
                  <a:cubicBezTo>
                    <a:pt x="1077" y="725"/>
                    <a:pt x="1083" y="723"/>
                    <a:pt x="1085" y="711"/>
                  </a:cubicBezTo>
                  <a:cubicBezTo>
                    <a:pt x="1087" y="694"/>
                    <a:pt x="1092" y="678"/>
                    <a:pt x="1095" y="662"/>
                  </a:cubicBezTo>
                  <a:cubicBezTo>
                    <a:pt x="1106" y="594"/>
                    <a:pt x="1101" y="527"/>
                    <a:pt x="1082" y="460"/>
                  </a:cubicBezTo>
                  <a:close/>
                  <a:moveTo>
                    <a:pt x="105" y="717"/>
                  </a:moveTo>
                  <a:cubicBezTo>
                    <a:pt x="112" y="717"/>
                    <a:pt x="116" y="717"/>
                    <a:pt x="120" y="716"/>
                  </a:cubicBezTo>
                  <a:cubicBezTo>
                    <a:pt x="188" y="691"/>
                    <a:pt x="257" y="666"/>
                    <a:pt x="326" y="642"/>
                  </a:cubicBezTo>
                  <a:cubicBezTo>
                    <a:pt x="340" y="637"/>
                    <a:pt x="337" y="628"/>
                    <a:pt x="334" y="618"/>
                  </a:cubicBezTo>
                  <a:cubicBezTo>
                    <a:pt x="321" y="566"/>
                    <a:pt x="308" y="515"/>
                    <a:pt x="296" y="463"/>
                  </a:cubicBezTo>
                  <a:cubicBezTo>
                    <a:pt x="293" y="452"/>
                    <a:pt x="289" y="448"/>
                    <a:pt x="277" y="448"/>
                  </a:cubicBezTo>
                  <a:cubicBezTo>
                    <a:pt x="226" y="450"/>
                    <a:pt x="174" y="452"/>
                    <a:pt x="122" y="453"/>
                  </a:cubicBezTo>
                  <a:cubicBezTo>
                    <a:pt x="110" y="453"/>
                    <a:pt x="105" y="456"/>
                    <a:pt x="103" y="468"/>
                  </a:cubicBezTo>
                  <a:cubicBezTo>
                    <a:pt x="101" y="484"/>
                    <a:pt x="96" y="500"/>
                    <a:pt x="94" y="516"/>
                  </a:cubicBezTo>
                  <a:cubicBezTo>
                    <a:pt x="82" y="584"/>
                    <a:pt x="88" y="650"/>
                    <a:pt x="105" y="717"/>
                  </a:cubicBezTo>
                  <a:close/>
                  <a:moveTo>
                    <a:pt x="824" y="461"/>
                  </a:moveTo>
                  <a:cubicBezTo>
                    <a:pt x="828" y="460"/>
                    <a:pt x="829" y="460"/>
                    <a:pt x="831" y="460"/>
                  </a:cubicBezTo>
                  <a:cubicBezTo>
                    <a:pt x="901" y="434"/>
                    <a:pt x="972" y="409"/>
                    <a:pt x="1042" y="383"/>
                  </a:cubicBezTo>
                  <a:cubicBezTo>
                    <a:pt x="1046" y="382"/>
                    <a:pt x="1049" y="370"/>
                    <a:pt x="1047" y="367"/>
                  </a:cubicBezTo>
                  <a:cubicBezTo>
                    <a:pt x="1011" y="292"/>
                    <a:pt x="960" y="230"/>
                    <a:pt x="893" y="182"/>
                  </a:cubicBezTo>
                  <a:cubicBezTo>
                    <a:pt x="888" y="179"/>
                    <a:pt x="878" y="178"/>
                    <a:pt x="874" y="181"/>
                  </a:cubicBezTo>
                  <a:cubicBezTo>
                    <a:pt x="831" y="213"/>
                    <a:pt x="789" y="247"/>
                    <a:pt x="747" y="281"/>
                  </a:cubicBezTo>
                  <a:cubicBezTo>
                    <a:pt x="743" y="284"/>
                    <a:pt x="741" y="294"/>
                    <a:pt x="743" y="298"/>
                  </a:cubicBezTo>
                  <a:cubicBezTo>
                    <a:pt x="767" y="350"/>
                    <a:pt x="791" y="401"/>
                    <a:pt x="816" y="451"/>
                  </a:cubicBezTo>
                  <a:cubicBezTo>
                    <a:pt x="818" y="456"/>
                    <a:pt x="822" y="459"/>
                    <a:pt x="824" y="461"/>
                  </a:cubicBezTo>
                  <a:close/>
                  <a:moveTo>
                    <a:pt x="135" y="799"/>
                  </a:moveTo>
                  <a:cubicBezTo>
                    <a:pt x="172" y="882"/>
                    <a:pt x="226" y="945"/>
                    <a:pt x="296" y="996"/>
                  </a:cubicBezTo>
                  <a:cubicBezTo>
                    <a:pt x="300" y="1000"/>
                    <a:pt x="312" y="998"/>
                    <a:pt x="317" y="995"/>
                  </a:cubicBezTo>
                  <a:cubicBezTo>
                    <a:pt x="358" y="964"/>
                    <a:pt x="398" y="931"/>
                    <a:pt x="439" y="900"/>
                  </a:cubicBezTo>
                  <a:cubicBezTo>
                    <a:pt x="448" y="893"/>
                    <a:pt x="450" y="888"/>
                    <a:pt x="445" y="877"/>
                  </a:cubicBezTo>
                  <a:cubicBezTo>
                    <a:pt x="420" y="828"/>
                    <a:pt x="397" y="778"/>
                    <a:pt x="373" y="728"/>
                  </a:cubicBezTo>
                  <a:cubicBezTo>
                    <a:pt x="369" y="718"/>
                    <a:pt x="365" y="716"/>
                    <a:pt x="354" y="720"/>
                  </a:cubicBezTo>
                  <a:cubicBezTo>
                    <a:pt x="311" y="736"/>
                    <a:pt x="267" y="752"/>
                    <a:pt x="223" y="767"/>
                  </a:cubicBezTo>
                  <a:cubicBezTo>
                    <a:pt x="194" y="778"/>
                    <a:pt x="166" y="788"/>
                    <a:pt x="135" y="799"/>
                  </a:cubicBezTo>
                  <a:close/>
                  <a:moveTo>
                    <a:pt x="617" y="257"/>
                  </a:moveTo>
                  <a:cubicBezTo>
                    <a:pt x="577" y="202"/>
                    <a:pt x="537" y="150"/>
                    <a:pt x="475" y="120"/>
                  </a:cubicBezTo>
                  <a:cubicBezTo>
                    <a:pt x="435" y="101"/>
                    <a:pt x="406" y="112"/>
                    <a:pt x="386" y="153"/>
                  </a:cubicBezTo>
                  <a:cubicBezTo>
                    <a:pt x="363" y="202"/>
                    <a:pt x="362" y="254"/>
                    <a:pt x="361" y="307"/>
                  </a:cubicBezTo>
                  <a:cubicBezTo>
                    <a:pt x="361" y="320"/>
                    <a:pt x="364" y="334"/>
                    <a:pt x="366" y="348"/>
                  </a:cubicBezTo>
                  <a:cubicBezTo>
                    <a:pt x="454" y="328"/>
                    <a:pt x="537" y="299"/>
                    <a:pt x="617" y="257"/>
                  </a:cubicBezTo>
                  <a:close/>
                  <a:moveTo>
                    <a:pt x="570" y="921"/>
                  </a:moveTo>
                  <a:cubicBezTo>
                    <a:pt x="582" y="936"/>
                    <a:pt x="591" y="950"/>
                    <a:pt x="602" y="962"/>
                  </a:cubicBezTo>
                  <a:cubicBezTo>
                    <a:pt x="631" y="998"/>
                    <a:pt x="663" y="1031"/>
                    <a:pt x="703" y="1054"/>
                  </a:cubicBezTo>
                  <a:cubicBezTo>
                    <a:pt x="750" y="1080"/>
                    <a:pt x="783" y="1069"/>
                    <a:pt x="805" y="1020"/>
                  </a:cubicBezTo>
                  <a:cubicBezTo>
                    <a:pt x="806" y="1016"/>
                    <a:pt x="807" y="1013"/>
                    <a:pt x="809" y="1009"/>
                  </a:cubicBezTo>
                  <a:cubicBezTo>
                    <a:pt x="828" y="955"/>
                    <a:pt x="826" y="899"/>
                    <a:pt x="825" y="843"/>
                  </a:cubicBezTo>
                  <a:cubicBezTo>
                    <a:pt x="825" y="839"/>
                    <a:pt x="822" y="835"/>
                    <a:pt x="820" y="830"/>
                  </a:cubicBezTo>
                  <a:cubicBezTo>
                    <a:pt x="733" y="851"/>
                    <a:pt x="651" y="880"/>
                    <a:pt x="570" y="921"/>
                  </a:cubicBezTo>
                  <a:close/>
                  <a:moveTo>
                    <a:pt x="282" y="192"/>
                  </a:moveTo>
                  <a:cubicBezTo>
                    <a:pt x="221" y="239"/>
                    <a:pt x="174" y="298"/>
                    <a:pt x="137" y="374"/>
                  </a:cubicBezTo>
                  <a:cubicBezTo>
                    <a:pt x="188" y="371"/>
                    <a:pt x="233" y="369"/>
                    <a:pt x="282" y="366"/>
                  </a:cubicBezTo>
                  <a:cubicBezTo>
                    <a:pt x="282" y="307"/>
                    <a:pt x="282" y="251"/>
                    <a:pt x="282" y="192"/>
                  </a:cubicBezTo>
                  <a:close/>
                  <a:moveTo>
                    <a:pt x="1049" y="809"/>
                  </a:moveTo>
                  <a:cubicBezTo>
                    <a:pt x="1038" y="807"/>
                    <a:pt x="1031" y="806"/>
                    <a:pt x="1024" y="806"/>
                  </a:cubicBezTo>
                  <a:cubicBezTo>
                    <a:pt x="991" y="808"/>
                    <a:pt x="959" y="811"/>
                    <a:pt x="926" y="812"/>
                  </a:cubicBezTo>
                  <a:cubicBezTo>
                    <a:pt x="911" y="813"/>
                    <a:pt x="907" y="817"/>
                    <a:pt x="908" y="832"/>
                  </a:cubicBezTo>
                  <a:cubicBezTo>
                    <a:pt x="909" y="869"/>
                    <a:pt x="908" y="905"/>
                    <a:pt x="907" y="942"/>
                  </a:cubicBezTo>
                  <a:cubicBezTo>
                    <a:pt x="907" y="956"/>
                    <a:pt x="904" y="969"/>
                    <a:pt x="903" y="983"/>
                  </a:cubicBezTo>
                  <a:cubicBezTo>
                    <a:pt x="968" y="938"/>
                    <a:pt x="1014" y="881"/>
                    <a:pt x="1049" y="809"/>
                  </a:cubicBezTo>
                  <a:close/>
                  <a:moveTo>
                    <a:pt x="386" y="1041"/>
                  </a:moveTo>
                  <a:cubicBezTo>
                    <a:pt x="387" y="1044"/>
                    <a:pt x="387" y="1047"/>
                    <a:pt x="388" y="1049"/>
                  </a:cubicBezTo>
                  <a:cubicBezTo>
                    <a:pt x="457" y="1082"/>
                    <a:pt x="530" y="1096"/>
                    <a:pt x="607" y="1094"/>
                  </a:cubicBezTo>
                  <a:cubicBezTo>
                    <a:pt x="606" y="1090"/>
                    <a:pt x="607" y="1088"/>
                    <a:pt x="606" y="1087"/>
                  </a:cubicBezTo>
                  <a:cubicBezTo>
                    <a:pt x="571" y="1048"/>
                    <a:pt x="537" y="1008"/>
                    <a:pt x="502" y="970"/>
                  </a:cubicBezTo>
                  <a:cubicBezTo>
                    <a:pt x="499" y="967"/>
                    <a:pt x="490" y="966"/>
                    <a:pt x="487" y="968"/>
                  </a:cubicBezTo>
                  <a:cubicBezTo>
                    <a:pt x="453" y="992"/>
                    <a:pt x="420" y="1017"/>
                    <a:pt x="386" y="1041"/>
                  </a:cubicBezTo>
                  <a:close/>
                  <a:moveTo>
                    <a:pt x="803" y="136"/>
                  </a:moveTo>
                  <a:cubicBezTo>
                    <a:pt x="774" y="105"/>
                    <a:pt x="620" y="73"/>
                    <a:pt x="581" y="88"/>
                  </a:cubicBezTo>
                  <a:cubicBezTo>
                    <a:pt x="582" y="90"/>
                    <a:pt x="582" y="92"/>
                    <a:pt x="584" y="93"/>
                  </a:cubicBezTo>
                  <a:cubicBezTo>
                    <a:pt x="617" y="131"/>
                    <a:pt x="650" y="169"/>
                    <a:pt x="684" y="206"/>
                  </a:cubicBezTo>
                  <a:cubicBezTo>
                    <a:pt x="688" y="210"/>
                    <a:pt x="700" y="211"/>
                    <a:pt x="704" y="208"/>
                  </a:cubicBezTo>
                  <a:cubicBezTo>
                    <a:pt x="737" y="186"/>
                    <a:pt x="769" y="161"/>
                    <a:pt x="80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sp>
          <p:nvSpPr>
            <p:cNvPr id="17" name="Freeform 23">
              <a:extLst>
                <a:ext uri="{FF2B5EF4-FFF2-40B4-BE49-F238E27FC236}">
                  <a16:creationId xmlns:a16="http://schemas.microsoft.com/office/drawing/2014/main" id="{2C00DC3F-3587-4534-8F54-8378DB0B10FC}"/>
                </a:ext>
              </a:extLst>
            </p:cNvPr>
            <p:cNvSpPr>
              <a:spLocks/>
            </p:cNvSpPr>
            <p:nvPr/>
          </p:nvSpPr>
          <p:spPr bwMode="auto">
            <a:xfrm>
              <a:off x="-13469938" y="3414713"/>
              <a:ext cx="2125663" cy="2714625"/>
            </a:xfrm>
            <a:custGeom>
              <a:avLst/>
              <a:gdLst>
                <a:gd name="T0" fmla="*/ 831 w 1594"/>
                <a:gd name="T1" fmla="*/ 1956 h 2040"/>
                <a:gd name="T2" fmla="*/ 831 w 1594"/>
                <a:gd name="T3" fmla="*/ 1675 h 2040"/>
                <a:gd name="T4" fmla="*/ 737 w 1594"/>
                <a:gd name="T5" fmla="*/ 1664 h 2040"/>
                <a:gd name="T6" fmla="*/ 357 w 1594"/>
                <a:gd name="T7" fmla="*/ 1503 h 2040"/>
                <a:gd name="T8" fmla="*/ 33 w 1594"/>
                <a:gd name="T9" fmla="*/ 1022 h 2040"/>
                <a:gd name="T10" fmla="*/ 13 w 1594"/>
                <a:gd name="T11" fmla="*/ 701 h 2040"/>
                <a:gd name="T12" fmla="*/ 176 w 1594"/>
                <a:gd name="T13" fmla="*/ 292 h 2040"/>
                <a:gd name="T14" fmla="*/ 531 w 1594"/>
                <a:gd name="T15" fmla="*/ 11 h 2040"/>
                <a:gd name="T16" fmla="*/ 590 w 1594"/>
                <a:gd name="T17" fmla="*/ 30 h 2040"/>
                <a:gd name="T18" fmla="*/ 565 w 1594"/>
                <a:gd name="T19" fmla="*/ 86 h 2040"/>
                <a:gd name="T20" fmla="*/ 389 w 1594"/>
                <a:gd name="T21" fmla="*/ 191 h 2040"/>
                <a:gd name="T22" fmla="*/ 103 w 1594"/>
                <a:gd name="T23" fmla="*/ 663 h 2040"/>
                <a:gd name="T24" fmla="*/ 238 w 1594"/>
                <a:gd name="T25" fmla="*/ 1265 h 2040"/>
                <a:gd name="T26" fmla="*/ 741 w 1594"/>
                <a:gd name="T27" fmla="*/ 1579 h 2040"/>
                <a:gd name="T28" fmla="*/ 1451 w 1594"/>
                <a:gd name="T29" fmla="*/ 1337 h 2040"/>
                <a:gd name="T30" fmla="*/ 1509 w 1594"/>
                <a:gd name="T31" fmla="*/ 1265 h 2040"/>
                <a:gd name="T32" fmla="*/ 1573 w 1594"/>
                <a:gd name="T33" fmla="*/ 1249 h 2040"/>
                <a:gd name="T34" fmla="*/ 1576 w 1594"/>
                <a:gd name="T35" fmla="*/ 1315 h 2040"/>
                <a:gd name="T36" fmla="*/ 1061 w 1594"/>
                <a:gd name="T37" fmla="*/ 1653 h 2040"/>
                <a:gd name="T38" fmla="*/ 916 w 1594"/>
                <a:gd name="T39" fmla="*/ 1676 h 2040"/>
                <a:gd name="T40" fmla="*/ 916 w 1594"/>
                <a:gd name="T41" fmla="*/ 1956 h 2040"/>
                <a:gd name="T42" fmla="*/ 937 w 1594"/>
                <a:gd name="T43" fmla="*/ 1956 h 2040"/>
                <a:gd name="T44" fmla="*/ 1145 w 1594"/>
                <a:gd name="T45" fmla="*/ 1956 h 2040"/>
                <a:gd name="T46" fmla="*/ 1187 w 1594"/>
                <a:gd name="T47" fmla="*/ 2018 h 2040"/>
                <a:gd name="T48" fmla="*/ 1143 w 1594"/>
                <a:gd name="T49" fmla="*/ 2040 h 2040"/>
                <a:gd name="T50" fmla="*/ 651 w 1594"/>
                <a:gd name="T51" fmla="*/ 2040 h 2040"/>
                <a:gd name="T52" fmla="*/ 593 w 1594"/>
                <a:gd name="T53" fmla="*/ 2039 h 2040"/>
                <a:gd name="T54" fmla="*/ 556 w 1594"/>
                <a:gd name="T55" fmla="*/ 2011 h 2040"/>
                <a:gd name="T56" fmla="*/ 570 w 1594"/>
                <a:gd name="T57" fmla="*/ 1966 h 2040"/>
                <a:gd name="T58" fmla="*/ 605 w 1594"/>
                <a:gd name="T59" fmla="*/ 1957 h 2040"/>
                <a:gd name="T60" fmla="*/ 807 w 1594"/>
                <a:gd name="T61" fmla="*/ 1956 h 2040"/>
                <a:gd name="T62" fmla="*/ 831 w 1594"/>
                <a:gd name="T63" fmla="*/ 1956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4" h="2040">
                  <a:moveTo>
                    <a:pt x="831" y="1956"/>
                  </a:moveTo>
                  <a:cubicBezTo>
                    <a:pt x="831" y="1861"/>
                    <a:pt x="831" y="1768"/>
                    <a:pt x="831" y="1675"/>
                  </a:cubicBezTo>
                  <a:cubicBezTo>
                    <a:pt x="799" y="1671"/>
                    <a:pt x="768" y="1669"/>
                    <a:pt x="737" y="1664"/>
                  </a:cubicBezTo>
                  <a:cubicBezTo>
                    <a:pt x="598" y="1641"/>
                    <a:pt x="470" y="1589"/>
                    <a:pt x="357" y="1503"/>
                  </a:cubicBezTo>
                  <a:cubicBezTo>
                    <a:pt x="193" y="1380"/>
                    <a:pt x="85" y="1220"/>
                    <a:pt x="33" y="1022"/>
                  </a:cubicBezTo>
                  <a:cubicBezTo>
                    <a:pt x="6" y="916"/>
                    <a:pt x="0" y="809"/>
                    <a:pt x="13" y="701"/>
                  </a:cubicBezTo>
                  <a:cubicBezTo>
                    <a:pt x="32" y="550"/>
                    <a:pt x="86" y="414"/>
                    <a:pt x="176" y="292"/>
                  </a:cubicBezTo>
                  <a:cubicBezTo>
                    <a:pt x="269" y="166"/>
                    <a:pt x="388" y="73"/>
                    <a:pt x="531" y="11"/>
                  </a:cubicBezTo>
                  <a:cubicBezTo>
                    <a:pt x="556" y="0"/>
                    <a:pt x="580" y="8"/>
                    <a:pt x="590" y="30"/>
                  </a:cubicBezTo>
                  <a:cubicBezTo>
                    <a:pt x="599" y="51"/>
                    <a:pt x="590" y="75"/>
                    <a:pt x="565" y="86"/>
                  </a:cubicBezTo>
                  <a:cubicBezTo>
                    <a:pt x="503" y="115"/>
                    <a:pt x="443" y="148"/>
                    <a:pt x="389" y="191"/>
                  </a:cubicBezTo>
                  <a:cubicBezTo>
                    <a:pt x="236" y="314"/>
                    <a:pt x="139" y="470"/>
                    <a:pt x="103" y="663"/>
                  </a:cubicBezTo>
                  <a:cubicBezTo>
                    <a:pt x="63" y="882"/>
                    <a:pt x="108" y="1084"/>
                    <a:pt x="238" y="1265"/>
                  </a:cubicBezTo>
                  <a:cubicBezTo>
                    <a:pt x="362" y="1438"/>
                    <a:pt x="531" y="1545"/>
                    <a:pt x="741" y="1579"/>
                  </a:cubicBezTo>
                  <a:cubicBezTo>
                    <a:pt x="1019" y="1624"/>
                    <a:pt x="1257" y="1540"/>
                    <a:pt x="1451" y="1337"/>
                  </a:cubicBezTo>
                  <a:cubicBezTo>
                    <a:pt x="1472" y="1314"/>
                    <a:pt x="1490" y="1289"/>
                    <a:pt x="1509" y="1265"/>
                  </a:cubicBezTo>
                  <a:cubicBezTo>
                    <a:pt x="1529" y="1240"/>
                    <a:pt x="1554" y="1234"/>
                    <a:pt x="1573" y="1249"/>
                  </a:cubicBezTo>
                  <a:cubicBezTo>
                    <a:pt x="1593" y="1265"/>
                    <a:pt x="1594" y="1290"/>
                    <a:pt x="1576" y="1315"/>
                  </a:cubicBezTo>
                  <a:cubicBezTo>
                    <a:pt x="1446" y="1491"/>
                    <a:pt x="1275" y="1604"/>
                    <a:pt x="1061" y="1653"/>
                  </a:cubicBezTo>
                  <a:cubicBezTo>
                    <a:pt x="1014" y="1664"/>
                    <a:pt x="966" y="1668"/>
                    <a:pt x="916" y="1676"/>
                  </a:cubicBezTo>
                  <a:cubicBezTo>
                    <a:pt x="916" y="1768"/>
                    <a:pt x="916" y="1860"/>
                    <a:pt x="916" y="1956"/>
                  </a:cubicBezTo>
                  <a:cubicBezTo>
                    <a:pt x="923" y="1956"/>
                    <a:pt x="930" y="1956"/>
                    <a:pt x="937" y="1956"/>
                  </a:cubicBezTo>
                  <a:cubicBezTo>
                    <a:pt x="1007" y="1956"/>
                    <a:pt x="1076" y="1956"/>
                    <a:pt x="1145" y="1956"/>
                  </a:cubicBezTo>
                  <a:cubicBezTo>
                    <a:pt x="1183" y="1957"/>
                    <a:pt x="1203" y="1987"/>
                    <a:pt x="1187" y="2018"/>
                  </a:cubicBezTo>
                  <a:cubicBezTo>
                    <a:pt x="1178" y="2036"/>
                    <a:pt x="1162" y="2040"/>
                    <a:pt x="1143" y="2040"/>
                  </a:cubicBezTo>
                  <a:cubicBezTo>
                    <a:pt x="979" y="2040"/>
                    <a:pt x="815" y="2040"/>
                    <a:pt x="651" y="2040"/>
                  </a:cubicBezTo>
                  <a:cubicBezTo>
                    <a:pt x="632" y="2040"/>
                    <a:pt x="612" y="2040"/>
                    <a:pt x="593" y="2039"/>
                  </a:cubicBezTo>
                  <a:cubicBezTo>
                    <a:pt x="574" y="2039"/>
                    <a:pt x="562" y="2028"/>
                    <a:pt x="556" y="2011"/>
                  </a:cubicBezTo>
                  <a:cubicBezTo>
                    <a:pt x="550" y="1994"/>
                    <a:pt x="554" y="1976"/>
                    <a:pt x="570" y="1966"/>
                  </a:cubicBezTo>
                  <a:cubicBezTo>
                    <a:pt x="580" y="1960"/>
                    <a:pt x="593" y="1957"/>
                    <a:pt x="605" y="1957"/>
                  </a:cubicBezTo>
                  <a:cubicBezTo>
                    <a:pt x="673" y="1956"/>
                    <a:pt x="740" y="1956"/>
                    <a:pt x="807" y="1956"/>
                  </a:cubicBezTo>
                  <a:cubicBezTo>
                    <a:pt x="814" y="1956"/>
                    <a:pt x="822" y="1956"/>
                    <a:pt x="831" y="19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grpSp>
      <p:grpSp>
        <p:nvGrpSpPr>
          <p:cNvPr id="18" name="Group 17">
            <a:extLst>
              <a:ext uri="{FF2B5EF4-FFF2-40B4-BE49-F238E27FC236}">
                <a16:creationId xmlns:a16="http://schemas.microsoft.com/office/drawing/2014/main" id="{202AE3AD-3A77-44E1-A3CF-FADF1B70C28C}"/>
              </a:ext>
            </a:extLst>
          </p:cNvPr>
          <p:cNvGrpSpPr>
            <a:grpSpLocks noChangeAspect="1"/>
          </p:cNvGrpSpPr>
          <p:nvPr/>
        </p:nvGrpSpPr>
        <p:grpSpPr>
          <a:xfrm>
            <a:off x="5669065" y="5044709"/>
            <a:ext cx="741485" cy="738260"/>
            <a:chOff x="-4168775" y="3656013"/>
            <a:chExt cx="2554288" cy="2543175"/>
          </a:xfrm>
          <a:solidFill>
            <a:schemeClr val="accent6"/>
          </a:solidFill>
        </p:grpSpPr>
        <p:sp>
          <p:nvSpPr>
            <p:cNvPr id="19" name="Freeform 37">
              <a:extLst>
                <a:ext uri="{FF2B5EF4-FFF2-40B4-BE49-F238E27FC236}">
                  <a16:creationId xmlns:a16="http://schemas.microsoft.com/office/drawing/2014/main" id="{D3338EF6-B925-4C25-BB60-F058B6E9BDC1}"/>
                </a:ext>
              </a:extLst>
            </p:cNvPr>
            <p:cNvSpPr>
              <a:spLocks noEditPoints="1"/>
            </p:cNvSpPr>
            <p:nvPr/>
          </p:nvSpPr>
          <p:spPr bwMode="auto">
            <a:xfrm>
              <a:off x="-4168775" y="3656013"/>
              <a:ext cx="2554288" cy="2132012"/>
            </a:xfrm>
            <a:custGeom>
              <a:avLst/>
              <a:gdLst>
                <a:gd name="T0" fmla="*/ 476 w 1915"/>
                <a:gd name="T1" fmla="*/ 374 h 1602"/>
                <a:gd name="T2" fmla="*/ 2 w 1915"/>
                <a:gd name="T3" fmla="*/ 337 h 1602"/>
                <a:gd name="T4" fmla="*/ 43 w 1915"/>
                <a:gd name="T5" fmla="*/ 150 h 1602"/>
                <a:gd name="T6" fmla="*/ 500 w 1915"/>
                <a:gd name="T7" fmla="*/ 150 h 1602"/>
                <a:gd name="T8" fmla="*/ 556 w 1915"/>
                <a:gd name="T9" fmla="*/ 0 h 1602"/>
                <a:gd name="T10" fmla="*/ 1414 w 1915"/>
                <a:gd name="T11" fmla="*/ 57 h 1602"/>
                <a:gd name="T12" fmla="*/ 1438 w 1915"/>
                <a:gd name="T13" fmla="*/ 150 h 1602"/>
                <a:gd name="T14" fmla="*/ 1915 w 1915"/>
                <a:gd name="T15" fmla="*/ 196 h 1602"/>
                <a:gd name="T16" fmla="*/ 1868 w 1915"/>
                <a:gd name="T17" fmla="*/ 374 h 1602"/>
                <a:gd name="T18" fmla="*/ 1414 w 1915"/>
                <a:gd name="T19" fmla="*/ 374 h 1602"/>
                <a:gd name="T20" fmla="*/ 1150 w 1915"/>
                <a:gd name="T21" fmla="*/ 675 h 1602"/>
                <a:gd name="T22" fmla="*/ 1123 w 1915"/>
                <a:gd name="T23" fmla="*/ 826 h 1602"/>
                <a:gd name="T24" fmla="*/ 1010 w 1915"/>
                <a:gd name="T25" fmla="*/ 926 h 1602"/>
                <a:gd name="T26" fmla="*/ 996 w 1915"/>
                <a:gd name="T27" fmla="*/ 1067 h 1602"/>
                <a:gd name="T28" fmla="*/ 1176 w 1915"/>
                <a:gd name="T29" fmla="*/ 1136 h 1602"/>
                <a:gd name="T30" fmla="*/ 1124 w 1915"/>
                <a:gd name="T31" fmla="*/ 1383 h 1602"/>
                <a:gd name="T32" fmla="*/ 854 w 1915"/>
                <a:gd name="T33" fmla="*/ 1449 h 1602"/>
                <a:gd name="T34" fmla="*/ 1011 w 1915"/>
                <a:gd name="T35" fmla="*/ 1509 h 1602"/>
                <a:gd name="T36" fmla="*/ 1407 w 1915"/>
                <a:gd name="T37" fmla="*/ 1118 h 1602"/>
                <a:gd name="T38" fmla="*/ 1352 w 1915"/>
                <a:gd name="T39" fmla="*/ 832 h 1602"/>
                <a:gd name="T40" fmla="*/ 1421 w 1915"/>
                <a:gd name="T41" fmla="*/ 798 h 1602"/>
                <a:gd name="T42" fmla="*/ 1372 w 1915"/>
                <a:gd name="T43" fmla="*/ 1389 h 1602"/>
                <a:gd name="T44" fmla="*/ 624 w 1915"/>
                <a:gd name="T45" fmla="*/ 1469 h 1602"/>
                <a:gd name="T46" fmla="*/ 514 w 1915"/>
                <a:gd name="T47" fmla="*/ 767 h 1602"/>
                <a:gd name="T48" fmla="*/ 632 w 1915"/>
                <a:gd name="T49" fmla="*/ 681 h 1602"/>
                <a:gd name="T50" fmla="*/ 522 w 1915"/>
                <a:gd name="T51" fmla="*/ 927 h 1602"/>
                <a:gd name="T52" fmla="*/ 778 w 1915"/>
                <a:gd name="T53" fmla="*/ 1476 h 1602"/>
                <a:gd name="T54" fmla="*/ 915 w 1915"/>
                <a:gd name="T55" fmla="*/ 1306 h 1602"/>
                <a:gd name="T56" fmla="*/ 1189 w 1915"/>
                <a:gd name="T57" fmla="*/ 1257 h 1602"/>
                <a:gd name="T58" fmla="*/ 1036 w 1915"/>
                <a:gd name="T59" fmla="*/ 1202 h 1602"/>
                <a:gd name="T60" fmla="*/ 920 w 1915"/>
                <a:gd name="T61" fmla="*/ 953 h 1602"/>
                <a:gd name="T62" fmla="*/ 819 w 1915"/>
                <a:gd name="T63" fmla="*/ 874 h 1602"/>
                <a:gd name="T64" fmla="*/ 794 w 1915"/>
                <a:gd name="T65" fmla="*/ 712 h 1602"/>
                <a:gd name="T66" fmla="*/ 763 w 1915"/>
                <a:gd name="T67" fmla="*/ 674 h 1602"/>
                <a:gd name="T68" fmla="*/ 501 w 1915"/>
                <a:gd name="T69" fmla="*/ 374 h 1602"/>
                <a:gd name="T70" fmla="*/ 1336 w 1915"/>
                <a:gd name="T71" fmla="*/ 357 h 1602"/>
                <a:gd name="T72" fmla="*/ 580 w 1915"/>
                <a:gd name="T73" fmla="*/ 79 h 1602"/>
                <a:gd name="T74" fmla="*/ 605 w 1915"/>
                <a:gd name="T75" fmla="*/ 178 h 1602"/>
                <a:gd name="T76" fmla="*/ 1022 w 1915"/>
                <a:gd name="T77" fmla="*/ 182 h 1602"/>
                <a:gd name="T78" fmla="*/ 1017 w 1915"/>
                <a:gd name="T79" fmla="*/ 254 h 1602"/>
                <a:gd name="T80" fmla="*/ 603 w 1915"/>
                <a:gd name="T81" fmla="*/ 255 h 1602"/>
                <a:gd name="T82" fmla="*/ 579 w 1915"/>
                <a:gd name="T83" fmla="*/ 357 h 1602"/>
                <a:gd name="T84" fmla="*/ 633 w 1915"/>
                <a:gd name="T85" fmla="*/ 442 h 1602"/>
                <a:gd name="T86" fmla="*/ 833 w 1915"/>
                <a:gd name="T87" fmla="*/ 622 h 1602"/>
                <a:gd name="T88" fmla="*/ 1108 w 1915"/>
                <a:gd name="T89" fmla="*/ 610 h 1602"/>
                <a:gd name="T90" fmla="*/ 1282 w 1915"/>
                <a:gd name="T91" fmla="*/ 437 h 1602"/>
                <a:gd name="T92" fmla="*/ 1415 w 1915"/>
                <a:gd name="T93" fmla="*/ 296 h 1602"/>
                <a:gd name="T94" fmla="*/ 1838 w 1915"/>
                <a:gd name="T95" fmla="*/ 227 h 1602"/>
                <a:gd name="T96" fmla="*/ 1415 w 1915"/>
                <a:gd name="T97" fmla="*/ 296 h 1602"/>
                <a:gd name="T98" fmla="*/ 499 w 1915"/>
                <a:gd name="T99" fmla="*/ 296 h 1602"/>
                <a:gd name="T100" fmla="*/ 79 w 1915"/>
                <a:gd name="T101" fmla="*/ 227 h 1602"/>
                <a:gd name="T102" fmla="*/ 871 w 1915"/>
                <a:gd name="T103" fmla="*/ 699 h 1602"/>
                <a:gd name="T104" fmla="*/ 879 w 1915"/>
                <a:gd name="T105" fmla="*/ 820 h 1602"/>
                <a:gd name="T106" fmla="*/ 967 w 1915"/>
                <a:gd name="T107" fmla="*/ 861 h 1602"/>
                <a:gd name="T108" fmla="*/ 1044 w 1915"/>
                <a:gd name="T109" fmla="*/ 807 h 1602"/>
                <a:gd name="T110" fmla="*/ 871 w 1915"/>
                <a:gd name="T111" fmla="*/ 699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15" h="1602">
                  <a:moveTo>
                    <a:pt x="501" y="374"/>
                  </a:moveTo>
                  <a:cubicBezTo>
                    <a:pt x="491" y="374"/>
                    <a:pt x="484" y="374"/>
                    <a:pt x="476" y="374"/>
                  </a:cubicBezTo>
                  <a:cubicBezTo>
                    <a:pt x="332" y="374"/>
                    <a:pt x="188" y="374"/>
                    <a:pt x="44" y="374"/>
                  </a:cubicBezTo>
                  <a:cubicBezTo>
                    <a:pt x="19" y="374"/>
                    <a:pt x="3" y="363"/>
                    <a:pt x="2" y="337"/>
                  </a:cubicBezTo>
                  <a:cubicBezTo>
                    <a:pt x="0" y="286"/>
                    <a:pt x="0" y="235"/>
                    <a:pt x="3" y="184"/>
                  </a:cubicBezTo>
                  <a:cubicBezTo>
                    <a:pt x="4" y="160"/>
                    <a:pt x="19" y="150"/>
                    <a:pt x="43" y="150"/>
                  </a:cubicBezTo>
                  <a:cubicBezTo>
                    <a:pt x="187" y="150"/>
                    <a:pt x="331" y="150"/>
                    <a:pt x="475" y="150"/>
                  </a:cubicBezTo>
                  <a:cubicBezTo>
                    <a:pt x="483" y="150"/>
                    <a:pt x="490" y="150"/>
                    <a:pt x="500" y="150"/>
                  </a:cubicBezTo>
                  <a:cubicBezTo>
                    <a:pt x="500" y="117"/>
                    <a:pt x="500" y="87"/>
                    <a:pt x="500" y="57"/>
                  </a:cubicBezTo>
                  <a:cubicBezTo>
                    <a:pt x="501" y="13"/>
                    <a:pt x="513" y="0"/>
                    <a:pt x="556" y="0"/>
                  </a:cubicBezTo>
                  <a:cubicBezTo>
                    <a:pt x="823" y="0"/>
                    <a:pt x="1091" y="0"/>
                    <a:pt x="1359" y="0"/>
                  </a:cubicBezTo>
                  <a:cubicBezTo>
                    <a:pt x="1402" y="0"/>
                    <a:pt x="1414" y="13"/>
                    <a:pt x="1414" y="57"/>
                  </a:cubicBezTo>
                  <a:cubicBezTo>
                    <a:pt x="1414" y="87"/>
                    <a:pt x="1414" y="117"/>
                    <a:pt x="1414" y="150"/>
                  </a:cubicBezTo>
                  <a:cubicBezTo>
                    <a:pt x="1423" y="150"/>
                    <a:pt x="1431" y="150"/>
                    <a:pt x="1438" y="150"/>
                  </a:cubicBezTo>
                  <a:cubicBezTo>
                    <a:pt x="1582" y="150"/>
                    <a:pt x="1725" y="150"/>
                    <a:pt x="1868" y="150"/>
                  </a:cubicBezTo>
                  <a:cubicBezTo>
                    <a:pt x="1899" y="150"/>
                    <a:pt x="1914" y="164"/>
                    <a:pt x="1915" y="196"/>
                  </a:cubicBezTo>
                  <a:cubicBezTo>
                    <a:pt x="1915" y="240"/>
                    <a:pt x="1915" y="284"/>
                    <a:pt x="1915" y="328"/>
                  </a:cubicBezTo>
                  <a:cubicBezTo>
                    <a:pt x="1914" y="360"/>
                    <a:pt x="1899" y="374"/>
                    <a:pt x="1868" y="374"/>
                  </a:cubicBezTo>
                  <a:cubicBezTo>
                    <a:pt x="1725" y="374"/>
                    <a:pt x="1581" y="374"/>
                    <a:pt x="1438" y="374"/>
                  </a:cubicBezTo>
                  <a:cubicBezTo>
                    <a:pt x="1431" y="374"/>
                    <a:pt x="1424" y="374"/>
                    <a:pt x="1414" y="374"/>
                  </a:cubicBezTo>
                  <a:cubicBezTo>
                    <a:pt x="1420" y="407"/>
                    <a:pt x="1400" y="427"/>
                    <a:pt x="1380" y="447"/>
                  </a:cubicBezTo>
                  <a:cubicBezTo>
                    <a:pt x="1303" y="523"/>
                    <a:pt x="1229" y="601"/>
                    <a:pt x="1150" y="675"/>
                  </a:cubicBezTo>
                  <a:cubicBezTo>
                    <a:pt x="1127" y="696"/>
                    <a:pt x="1120" y="715"/>
                    <a:pt x="1122" y="744"/>
                  </a:cubicBezTo>
                  <a:cubicBezTo>
                    <a:pt x="1124" y="771"/>
                    <a:pt x="1122" y="798"/>
                    <a:pt x="1123" y="826"/>
                  </a:cubicBezTo>
                  <a:cubicBezTo>
                    <a:pt x="1124" y="849"/>
                    <a:pt x="1114" y="865"/>
                    <a:pt x="1094" y="876"/>
                  </a:cubicBezTo>
                  <a:cubicBezTo>
                    <a:pt x="1066" y="892"/>
                    <a:pt x="1037" y="908"/>
                    <a:pt x="1010" y="926"/>
                  </a:cubicBezTo>
                  <a:cubicBezTo>
                    <a:pt x="1004" y="930"/>
                    <a:pt x="997" y="941"/>
                    <a:pt x="997" y="949"/>
                  </a:cubicBezTo>
                  <a:cubicBezTo>
                    <a:pt x="996" y="988"/>
                    <a:pt x="996" y="1027"/>
                    <a:pt x="996" y="1067"/>
                  </a:cubicBezTo>
                  <a:cubicBezTo>
                    <a:pt x="997" y="1110"/>
                    <a:pt x="1016" y="1127"/>
                    <a:pt x="1059" y="1129"/>
                  </a:cubicBezTo>
                  <a:cubicBezTo>
                    <a:pt x="1098" y="1130"/>
                    <a:pt x="1139" y="1126"/>
                    <a:pt x="1176" y="1136"/>
                  </a:cubicBezTo>
                  <a:cubicBezTo>
                    <a:pt x="1262" y="1156"/>
                    <a:pt x="1292" y="1271"/>
                    <a:pt x="1234" y="1337"/>
                  </a:cubicBezTo>
                  <a:cubicBezTo>
                    <a:pt x="1205" y="1371"/>
                    <a:pt x="1168" y="1384"/>
                    <a:pt x="1124" y="1383"/>
                  </a:cubicBezTo>
                  <a:cubicBezTo>
                    <a:pt x="1056" y="1383"/>
                    <a:pt x="988" y="1384"/>
                    <a:pt x="920" y="1383"/>
                  </a:cubicBezTo>
                  <a:cubicBezTo>
                    <a:pt x="878" y="1383"/>
                    <a:pt x="851" y="1399"/>
                    <a:pt x="854" y="1449"/>
                  </a:cubicBezTo>
                  <a:cubicBezTo>
                    <a:pt x="855" y="1465"/>
                    <a:pt x="854" y="1482"/>
                    <a:pt x="854" y="1500"/>
                  </a:cubicBezTo>
                  <a:cubicBezTo>
                    <a:pt x="907" y="1514"/>
                    <a:pt x="959" y="1516"/>
                    <a:pt x="1011" y="1509"/>
                  </a:cubicBezTo>
                  <a:cubicBezTo>
                    <a:pt x="1098" y="1498"/>
                    <a:pt x="1176" y="1466"/>
                    <a:pt x="1244" y="1410"/>
                  </a:cubicBezTo>
                  <a:cubicBezTo>
                    <a:pt x="1336" y="1334"/>
                    <a:pt x="1391" y="1236"/>
                    <a:pt x="1407" y="1118"/>
                  </a:cubicBezTo>
                  <a:cubicBezTo>
                    <a:pt x="1421" y="1023"/>
                    <a:pt x="1404" y="933"/>
                    <a:pt x="1360" y="848"/>
                  </a:cubicBezTo>
                  <a:cubicBezTo>
                    <a:pt x="1358" y="842"/>
                    <a:pt x="1355" y="837"/>
                    <a:pt x="1352" y="832"/>
                  </a:cubicBezTo>
                  <a:cubicBezTo>
                    <a:pt x="1343" y="810"/>
                    <a:pt x="1350" y="788"/>
                    <a:pt x="1368" y="779"/>
                  </a:cubicBezTo>
                  <a:cubicBezTo>
                    <a:pt x="1387" y="770"/>
                    <a:pt x="1409" y="777"/>
                    <a:pt x="1421" y="798"/>
                  </a:cubicBezTo>
                  <a:cubicBezTo>
                    <a:pt x="1448" y="849"/>
                    <a:pt x="1469" y="903"/>
                    <a:pt x="1479" y="960"/>
                  </a:cubicBezTo>
                  <a:cubicBezTo>
                    <a:pt x="1506" y="1119"/>
                    <a:pt x="1472" y="1263"/>
                    <a:pt x="1372" y="1389"/>
                  </a:cubicBezTo>
                  <a:cubicBezTo>
                    <a:pt x="1285" y="1498"/>
                    <a:pt x="1171" y="1563"/>
                    <a:pt x="1032" y="1582"/>
                  </a:cubicBezTo>
                  <a:cubicBezTo>
                    <a:pt x="880" y="1602"/>
                    <a:pt x="743" y="1566"/>
                    <a:pt x="624" y="1469"/>
                  </a:cubicBezTo>
                  <a:cubicBezTo>
                    <a:pt x="521" y="1386"/>
                    <a:pt x="457" y="1277"/>
                    <a:pt x="435" y="1146"/>
                  </a:cubicBezTo>
                  <a:cubicBezTo>
                    <a:pt x="412" y="1010"/>
                    <a:pt x="439" y="883"/>
                    <a:pt x="514" y="767"/>
                  </a:cubicBezTo>
                  <a:cubicBezTo>
                    <a:pt x="532" y="739"/>
                    <a:pt x="556" y="713"/>
                    <a:pt x="579" y="687"/>
                  </a:cubicBezTo>
                  <a:cubicBezTo>
                    <a:pt x="593" y="670"/>
                    <a:pt x="618" y="668"/>
                    <a:pt x="632" y="681"/>
                  </a:cubicBezTo>
                  <a:cubicBezTo>
                    <a:pt x="649" y="697"/>
                    <a:pt x="650" y="720"/>
                    <a:pt x="633" y="738"/>
                  </a:cubicBezTo>
                  <a:cubicBezTo>
                    <a:pt x="582" y="793"/>
                    <a:pt x="543" y="855"/>
                    <a:pt x="522" y="927"/>
                  </a:cubicBezTo>
                  <a:cubicBezTo>
                    <a:pt x="477" y="1086"/>
                    <a:pt x="510" y="1229"/>
                    <a:pt x="615" y="1356"/>
                  </a:cubicBezTo>
                  <a:cubicBezTo>
                    <a:pt x="658" y="1408"/>
                    <a:pt x="713" y="1445"/>
                    <a:pt x="778" y="1476"/>
                  </a:cubicBezTo>
                  <a:cubicBezTo>
                    <a:pt x="778" y="1460"/>
                    <a:pt x="778" y="1446"/>
                    <a:pt x="778" y="1432"/>
                  </a:cubicBezTo>
                  <a:cubicBezTo>
                    <a:pt x="778" y="1366"/>
                    <a:pt x="833" y="1305"/>
                    <a:pt x="915" y="1306"/>
                  </a:cubicBezTo>
                  <a:cubicBezTo>
                    <a:pt x="987" y="1307"/>
                    <a:pt x="1059" y="1305"/>
                    <a:pt x="1131" y="1307"/>
                  </a:cubicBezTo>
                  <a:cubicBezTo>
                    <a:pt x="1161" y="1308"/>
                    <a:pt x="1188" y="1286"/>
                    <a:pt x="1189" y="1257"/>
                  </a:cubicBezTo>
                  <a:cubicBezTo>
                    <a:pt x="1190" y="1227"/>
                    <a:pt x="1167" y="1205"/>
                    <a:pt x="1134" y="1204"/>
                  </a:cubicBezTo>
                  <a:cubicBezTo>
                    <a:pt x="1101" y="1202"/>
                    <a:pt x="1068" y="1202"/>
                    <a:pt x="1036" y="1202"/>
                  </a:cubicBezTo>
                  <a:cubicBezTo>
                    <a:pt x="982" y="1201"/>
                    <a:pt x="929" y="1154"/>
                    <a:pt x="924" y="1097"/>
                  </a:cubicBezTo>
                  <a:cubicBezTo>
                    <a:pt x="919" y="1049"/>
                    <a:pt x="920" y="1001"/>
                    <a:pt x="920" y="953"/>
                  </a:cubicBezTo>
                  <a:cubicBezTo>
                    <a:pt x="920" y="939"/>
                    <a:pt x="917" y="930"/>
                    <a:pt x="903" y="923"/>
                  </a:cubicBezTo>
                  <a:cubicBezTo>
                    <a:pt x="875" y="908"/>
                    <a:pt x="847" y="890"/>
                    <a:pt x="819" y="874"/>
                  </a:cubicBezTo>
                  <a:cubicBezTo>
                    <a:pt x="802" y="864"/>
                    <a:pt x="794" y="851"/>
                    <a:pt x="795" y="830"/>
                  </a:cubicBezTo>
                  <a:cubicBezTo>
                    <a:pt x="796" y="791"/>
                    <a:pt x="795" y="751"/>
                    <a:pt x="794" y="712"/>
                  </a:cubicBezTo>
                  <a:cubicBezTo>
                    <a:pt x="794" y="705"/>
                    <a:pt x="788" y="698"/>
                    <a:pt x="783" y="693"/>
                  </a:cubicBezTo>
                  <a:cubicBezTo>
                    <a:pt x="777" y="686"/>
                    <a:pt x="769" y="680"/>
                    <a:pt x="763" y="674"/>
                  </a:cubicBezTo>
                  <a:cubicBezTo>
                    <a:pt x="685" y="597"/>
                    <a:pt x="609" y="520"/>
                    <a:pt x="531" y="444"/>
                  </a:cubicBezTo>
                  <a:cubicBezTo>
                    <a:pt x="512" y="425"/>
                    <a:pt x="498" y="405"/>
                    <a:pt x="501" y="374"/>
                  </a:cubicBezTo>
                  <a:close/>
                  <a:moveTo>
                    <a:pt x="579" y="357"/>
                  </a:moveTo>
                  <a:cubicBezTo>
                    <a:pt x="833" y="357"/>
                    <a:pt x="1084" y="357"/>
                    <a:pt x="1336" y="357"/>
                  </a:cubicBezTo>
                  <a:cubicBezTo>
                    <a:pt x="1336" y="263"/>
                    <a:pt x="1336" y="171"/>
                    <a:pt x="1336" y="79"/>
                  </a:cubicBezTo>
                  <a:cubicBezTo>
                    <a:pt x="1083" y="79"/>
                    <a:pt x="831" y="79"/>
                    <a:pt x="580" y="79"/>
                  </a:cubicBezTo>
                  <a:cubicBezTo>
                    <a:pt x="580" y="113"/>
                    <a:pt x="580" y="145"/>
                    <a:pt x="580" y="178"/>
                  </a:cubicBezTo>
                  <a:cubicBezTo>
                    <a:pt x="589" y="178"/>
                    <a:pt x="597" y="178"/>
                    <a:pt x="605" y="178"/>
                  </a:cubicBezTo>
                  <a:cubicBezTo>
                    <a:pt x="734" y="178"/>
                    <a:pt x="863" y="178"/>
                    <a:pt x="993" y="179"/>
                  </a:cubicBezTo>
                  <a:cubicBezTo>
                    <a:pt x="1003" y="179"/>
                    <a:pt x="1013" y="180"/>
                    <a:pt x="1022" y="182"/>
                  </a:cubicBezTo>
                  <a:cubicBezTo>
                    <a:pt x="1040" y="187"/>
                    <a:pt x="1049" y="202"/>
                    <a:pt x="1047" y="222"/>
                  </a:cubicBezTo>
                  <a:cubicBezTo>
                    <a:pt x="1045" y="240"/>
                    <a:pt x="1035" y="251"/>
                    <a:pt x="1017" y="254"/>
                  </a:cubicBezTo>
                  <a:cubicBezTo>
                    <a:pt x="1008" y="255"/>
                    <a:pt x="998" y="255"/>
                    <a:pt x="989" y="255"/>
                  </a:cubicBezTo>
                  <a:cubicBezTo>
                    <a:pt x="860" y="255"/>
                    <a:pt x="732" y="255"/>
                    <a:pt x="603" y="255"/>
                  </a:cubicBezTo>
                  <a:cubicBezTo>
                    <a:pt x="595" y="255"/>
                    <a:pt x="588" y="255"/>
                    <a:pt x="579" y="255"/>
                  </a:cubicBezTo>
                  <a:cubicBezTo>
                    <a:pt x="579" y="291"/>
                    <a:pt x="579" y="323"/>
                    <a:pt x="579" y="357"/>
                  </a:cubicBezTo>
                  <a:close/>
                  <a:moveTo>
                    <a:pt x="637" y="437"/>
                  </a:moveTo>
                  <a:cubicBezTo>
                    <a:pt x="636" y="438"/>
                    <a:pt x="634" y="440"/>
                    <a:pt x="633" y="442"/>
                  </a:cubicBezTo>
                  <a:cubicBezTo>
                    <a:pt x="692" y="500"/>
                    <a:pt x="752" y="558"/>
                    <a:pt x="811" y="616"/>
                  </a:cubicBezTo>
                  <a:cubicBezTo>
                    <a:pt x="816" y="621"/>
                    <a:pt x="826" y="622"/>
                    <a:pt x="833" y="622"/>
                  </a:cubicBezTo>
                  <a:cubicBezTo>
                    <a:pt x="916" y="622"/>
                    <a:pt x="998" y="622"/>
                    <a:pt x="1081" y="622"/>
                  </a:cubicBezTo>
                  <a:cubicBezTo>
                    <a:pt x="1090" y="621"/>
                    <a:pt x="1102" y="617"/>
                    <a:pt x="1108" y="610"/>
                  </a:cubicBezTo>
                  <a:cubicBezTo>
                    <a:pt x="1162" y="558"/>
                    <a:pt x="1215" y="505"/>
                    <a:pt x="1269" y="452"/>
                  </a:cubicBezTo>
                  <a:cubicBezTo>
                    <a:pt x="1273" y="448"/>
                    <a:pt x="1276" y="443"/>
                    <a:pt x="1282" y="437"/>
                  </a:cubicBezTo>
                  <a:cubicBezTo>
                    <a:pt x="1065" y="437"/>
                    <a:pt x="851" y="437"/>
                    <a:pt x="637" y="437"/>
                  </a:cubicBezTo>
                  <a:close/>
                  <a:moveTo>
                    <a:pt x="1415" y="296"/>
                  </a:moveTo>
                  <a:cubicBezTo>
                    <a:pt x="1558" y="296"/>
                    <a:pt x="1698" y="296"/>
                    <a:pt x="1838" y="296"/>
                  </a:cubicBezTo>
                  <a:cubicBezTo>
                    <a:pt x="1838" y="272"/>
                    <a:pt x="1838" y="250"/>
                    <a:pt x="1838" y="227"/>
                  </a:cubicBezTo>
                  <a:cubicBezTo>
                    <a:pt x="1696" y="227"/>
                    <a:pt x="1556" y="227"/>
                    <a:pt x="1415" y="227"/>
                  </a:cubicBezTo>
                  <a:cubicBezTo>
                    <a:pt x="1415" y="251"/>
                    <a:pt x="1415" y="273"/>
                    <a:pt x="1415" y="296"/>
                  </a:cubicBezTo>
                  <a:close/>
                  <a:moveTo>
                    <a:pt x="79" y="296"/>
                  </a:moveTo>
                  <a:cubicBezTo>
                    <a:pt x="221" y="296"/>
                    <a:pt x="360" y="296"/>
                    <a:pt x="499" y="296"/>
                  </a:cubicBezTo>
                  <a:cubicBezTo>
                    <a:pt x="499" y="272"/>
                    <a:pt x="499" y="250"/>
                    <a:pt x="499" y="227"/>
                  </a:cubicBezTo>
                  <a:cubicBezTo>
                    <a:pt x="358" y="227"/>
                    <a:pt x="219" y="227"/>
                    <a:pt x="79" y="227"/>
                  </a:cubicBezTo>
                  <a:cubicBezTo>
                    <a:pt x="79" y="251"/>
                    <a:pt x="79" y="273"/>
                    <a:pt x="79" y="296"/>
                  </a:cubicBezTo>
                  <a:close/>
                  <a:moveTo>
                    <a:pt x="871" y="699"/>
                  </a:moveTo>
                  <a:cubicBezTo>
                    <a:pt x="871" y="735"/>
                    <a:pt x="870" y="771"/>
                    <a:pt x="871" y="806"/>
                  </a:cubicBezTo>
                  <a:cubicBezTo>
                    <a:pt x="871" y="811"/>
                    <a:pt x="875" y="817"/>
                    <a:pt x="879" y="820"/>
                  </a:cubicBezTo>
                  <a:cubicBezTo>
                    <a:pt x="902" y="834"/>
                    <a:pt x="926" y="848"/>
                    <a:pt x="949" y="861"/>
                  </a:cubicBezTo>
                  <a:cubicBezTo>
                    <a:pt x="954" y="864"/>
                    <a:pt x="962" y="864"/>
                    <a:pt x="967" y="861"/>
                  </a:cubicBezTo>
                  <a:cubicBezTo>
                    <a:pt x="990" y="849"/>
                    <a:pt x="1013" y="835"/>
                    <a:pt x="1035" y="821"/>
                  </a:cubicBezTo>
                  <a:cubicBezTo>
                    <a:pt x="1039" y="818"/>
                    <a:pt x="1044" y="812"/>
                    <a:pt x="1044" y="807"/>
                  </a:cubicBezTo>
                  <a:cubicBezTo>
                    <a:pt x="1045" y="772"/>
                    <a:pt x="1044" y="736"/>
                    <a:pt x="1044" y="699"/>
                  </a:cubicBezTo>
                  <a:cubicBezTo>
                    <a:pt x="986" y="699"/>
                    <a:pt x="930" y="699"/>
                    <a:pt x="871" y="6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sp>
          <p:nvSpPr>
            <p:cNvPr id="20" name="Freeform 38">
              <a:extLst>
                <a:ext uri="{FF2B5EF4-FFF2-40B4-BE49-F238E27FC236}">
                  <a16:creationId xmlns:a16="http://schemas.microsoft.com/office/drawing/2014/main" id="{E19A9F07-AF6C-49F0-898A-833CC928CBF7}"/>
                </a:ext>
              </a:extLst>
            </p:cNvPr>
            <p:cNvSpPr>
              <a:spLocks/>
            </p:cNvSpPr>
            <p:nvPr/>
          </p:nvSpPr>
          <p:spPr bwMode="auto">
            <a:xfrm>
              <a:off x="-4030663" y="4237038"/>
              <a:ext cx="2279650" cy="1962150"/>
            </a:xfrm>
            <a:custGeom>
              <a:avLst/>
              <a:gdLst>
                <a:gd name="T0" fmla="*/ 440 w 1710"/>
                <a:gd name="T1" fmla="*/ 1192 h 1474"/>
                <a:gd name="T2" fmla="*/ 704 w 1710"/>
                <a:gd name="T3" fmla="*/ 1270 h 1474"/>
                <a:gd name="T4" fmla="*/ 742 w 1710"/>
                <a:gd name="T5" fmla="*/ 1400 h 1474"/>
                <a:gd name="T6" fmla="*/ 966 w 1710"/>
                <a:gd name="T7" fmla="*/ 1322 h 1474"/>
                <a:gd name="T8" fmla="*/ 1204 w 1710"/>
                <a:gd name="T9" fmla="*/ 1188 h 1474"/>
                <a:gd name="T10" fmla="*/ 1323 w 1710"/>
                <a:gd name="T11" fmla="*/ 1245 h 1474"/>
                <a:gd name="T12" fmla="*/ 1483 w 1710"/>
                <a:gd name="T13" fmla="*/ 1088 h 1474"/>
                <a:gd name="T14" fmla="*/ 1419 w 1710"/>
                <a:gd name="T15" fmla="*/ 974 h 1474"/>
                <a:gd name="T16" fmla="*/ 1551 w 1710"/>
                <a:gd name="T17" fmla="*/ 733 h 1474"/>
                <a:gd name="T18" fmla="*/ 1634 w 1710"/>
                <a:gd name="T19" fmla="*/ 509 h 1474"/>
                <a:gd name="T20" fmla="*/ 1505 w 1710"/>
                <a:gd name="T21" fmla="*/ 473 h 1474"/>
                <a:gd name="T22" fmla="*/ 1427 w 1710"/>
                <a:gd name="T23" fmla="*/ 205 h 1474"/>
                <a:gd name="T24" fmla="*/ 1408 w 1710"/>
                <a:gd name="T25" fmla="*/ 71 h 1474"/>
                <a:gd name="T26" fmla="*/ 1453 w 1710"/>
                <a:gd name="T27" fmla="*/ 13 h 1474"/>
                <a:gd name="T28" fmla="*/ 1560 w 1710"/>
                <a:gd name="T29" fmla="*/ 177 h 1474"/>
                <a:gd name="T30" fmla="*/ 1500 w 1710"/>
                <a:gd name="T31" fmla="*/ 258 h 1474"/>
                <a:gd name="T32" fmla="*/ 1585 w 1710"/>
                <a:gd name="T33" fmla="*/ 433 h 1474"/>
                <a:gd name="T34" fmla="*/ 1710 w 1710"/>
                <a:gd name="T35" fmla="*/ 480 h 1474"/>
                <a:gd name="T36" fmla="*/ 1666 w 1710"/>
                <a:gd name="T37" fmla="*/ 807 h 1474"/>
                <a:gd name="T38" fmla="*/ 1568 w 1710"/>
                <a:gd name="T39" fmla="*/ 821 h 1474"/>
                <a:gd name="T40" fmla="*/ 1505 w 1710"/>
                <a:gd name="T41" fmla="*/ 1008 h 1474"/>
                <a:gd name="T42" fmla="*/ 1558 w 1710"/>
                <a:gd name="T43" fmla="*/ 1125 h 1474"/>
                <a:gd name="T44" fmla="*/ 1295 w 1710"/>
                <a:gd name="T45" fmla="*/ 1322 h 1474"/>
                <a:gd name="T46" fmla="*/ 1219 w 1710"/>
                <a:gd name="T47" fmla="*/ 1265 h 1474"/>
                <a:gd name="T48" fmla="*/ 1042 w 1710"/>
                <a:gd name="T49" fmla="*/ 1353 h 1474"/>
                <a:gd name="T50" fmla="*/ 996 w 1710"/>
                <a:gd name="T51" fmla="*/ 1473 h 1474"/>
                <a:gd name="T52" fmla="*/ 668 w 1710"/>
                <a:gd name="T53" fmla="*/ 1429 h 1474"/>
                <a:gd name="T54" fmla="*/ 657 w 1710"/>
                <a:gd name="T55" fmla="*/ 1334 h 1474"/>
                <a:gd name="T56" fmla="*/ 413 w 1710"/>
                <a:gd name="T57" fmla="*/ 1324 h 1474"/>
                <a:gd name="T58" fmla="*/ 150 w 1710"/>
                <a:gd name="T59" fmla="*/ 1126 h 1474"/>
                <a:gd name="T60" fmla="*/ 205 w 1710"/>
                <a:gd name="T61" fmla="*/ 1007 h 1474"/>
                <a:gd name="T62" fmla="*/ 141 w 1710"/>
                <a:gd name="T63" fmla="*/ 821 h 1474"/>
                <a:gd name="T64" fmla="*/ 45 w 1710"/>
                <a:gd name="T65" fmla="*/ 807 h 1474"/>
                <a:gd name="T66" fmla="*/ 0 w 1710"/>
                <a:gd name="T67" fmla="*/ 481 h 1474"/>
                <a:gd name="T68" fmla="*/ 124 w 1710"/>
                <a:gd name="T69" fmla="*/ 433 h 1474"/>
                <a:gd name="T70" fmla="*/ 210 w 1710"/>
                <a:gd name="T71" fmla="*/ 242 h 1474"/>
                <a:gd name="T72" fmla="*/ 153 w 1710"/>
                <a:gd name="T73" fmla="*/ 113 h 1474"/>
                <a:gd name="T74" fmla="*/ 291 w 1710"/>
                <a:gd name="T75" fmla="*/ 45 h 1474"/>
                <a:gd name="T76" fmla="*/ 221 w 1710"/>
                <a:gd name="T77" fmla="*/ 149 h 1474"/>
                <a:gd name="T78" fmla="*/ 292 w 1710"/>
                <a:gd name="T79" fmla="*/ 262 h 1474"/>
                <a:gd name="T80" fmla="*/ 160 w 1710"/>
                <a:gd name="T81" fmla="*/ 509 h 1474"/>
                <a:gd name="T82" fmla="*/ 75 w 1710"/>
                <a:gd name="T83" fmla="*/ 733 h 1474"/>
                <a:gd name="T84" fmla="*/ 205 w 1710"/>
                <a:gd name="T85" fmla="*/ 773 h 1474"/>
                <a:gd name="T86" fmla="*/ 278 w 1710"/>
                <a:gd name="T87" fmla="*/ 1039 h 1474"/>
                <a:gd name="T88" fmla="*/ 228 w 1710"/>
                <a:gd name="T89" fmla="*/ 1090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10" h="1474">
                  <a:moveTo>
                    <a:pt x="387" y="1249"/>
                  </a:moveTo>
                  <a:cubicBezTo>
                    <a:pt x="403" y="1232"/>
                    <a:pt x="421" y="1211"/>
                    <a:pt x="440" y="1192"/>
                  </a:cubicBezTo>
                  <a:cubicBezTo>
                    <a:pt x="462" y="1170"/>
                    <a:pt x="474" y="1168"/>
                    <a:pt x="500" y="1184"/>
                  </a:cubicBezTo>
                  <a:cubicBezTo>
                    <a:pt x="564" y="1223"/>
                    <a:pt x="631" y="1253"/>
                    <a:pt x="704" y="1270"/>
                  </a:cubicBezTo>
                  <a:cubicBezTo>
                    <a:pt x="734" y="1277"/>
                    <a:pt x="741" y="1288"/>
                    <a:pt x="742" y="1319"/>
                  </a:cubicBezTo>
                  <a:cubicBezTo>
                    <a:pt x="742" y="1346"/>
                    <a:pt x="742" y="1372"/>
                    <a:pt x="742" y="1400"/>
                  </a:cubicBezTo>
                  <a:cubicBezTo>
                    <a:pt x="817" y="1400"/>
                    <a:pt x="890" y="1400"/>
                    <a:pt x="966" y="1400"/>
                  </a:cubicBezTo>
                  <a:cubicBezTo>
                    <a:pt x="966" y="1374"/>
                    <a:pt x="966" y="1348"/>
                    <a:pt x="966" y="1322"/>
                  </a:cubicBezTo>
                  <a:cubicBezTo>
                    <a:pt x="966" y="1286"/>
                    <a:pt x="973" y="1277"/>
                    <a:pt x="1009" y="1269"/>
                  </a:cubicBezTo>
                  <a:cubicBezTo>
                    <a:pt x="1078" y="1252"/>
                    <a:pt x="1142" y="1224"/>
                    <a:pt x="1204" y="1188"/>
                  </a:cubicBezTo>
                  <a:cubicBezTo>
                    <a:pt x="1236" y="1169"/>
                    <a:pt x="1247" y="1171"/>
                    <a:pt x="1273" y="1196"/>
                  </a:cubicBezTo>
                  <a:cubicBezTo>
                    <a:pt x="1290" y="1213"/>
                    <a:pt x="1307" y="1229"/>
                    <a:pt x="1323" y="1245"/>
                  </a:cubicBezTo>
                  <a:cubicBezTo>
                    <a:pt x="1324" y="1246"/>
                    <a:pt x="1326" y="1247"/>
                    <a:pt x="1325" y="1246"/>
                  </a:cubicBezTo>
                  <a:cubicBezTo>
                    <a:pt x="1377" y="1194"/>
                    <a:pt x="1428" y="1143"/>
                    <a:pt x="1483" y="1088"/>
                  </a:cubicBezTo>
                  <a:cubicBezTo>
                    <a:pt x="1466" y="1073"/>
                    <a:pt x="1447" y="1054"/>
                    <a:pt x="1428" y="1036"/>
                  </a:cubicBezTo>
                  <a:cubicBezTo>
                    <a:pt x="1406" y="1014"/>
                    <a:pt x="1404" y="999"/>
                    <a:pt x="1419" y="974"/>
                  </a:cubicBezTo>
                  <a:cubicBezTo>
                    <a:pt x="1459" y="910"/>
                    <a:pt x="1488" y="842"/>
                    <a:pt x="1505" y="768"/>
                  </a:cubicBezTo>
                  <a:cubicBezTo>
                    <a:pt x="1511" y="742"/>
                    <a:pt x="1524" y="733"/>
                    <a:pt x="1551" y="733"/>
                  </a:cubicBezTo>
                  <a:cubicBezTo>
                    <a:pt x="1578" y="733"/>
                    <a:pt x="1605" y="733"/>
                    <a:pt x="1634" y="733"/>
                  </a:cubicBezTo>
                  <a:cubicBezTo>
                    <a:pt x="1634" y="658"/>
                    <a:pt x="1634" y="585"/>
                    <a:pt x="1634" y="509"/>
                  </a:cubicBezTo>
                  <a:cubicBezTo>
                    <a:pt x="1606" y="509"/>
                    <a:pt x="1579" y="509"/>
                    <a:pt x="1552" y="509"/>
                  </a:cubicBezTo>
                  <a:cubicBezTo>
                    <a:pt x="1524" y="509"/>
                    <a:pt x="1511" y="500"/>
                    <a:pt x="1505" y="473"/>
                  </a:cubicBezTo>
                  <a:cubicBezTo>
                    <a:pt x="1488" y="398"/>
                    <a:pt x="1459" y="330"/>
                    <a:pt x="1419" y="265"/>
                  </a:cubicBezTo>
                  <a:cubicBezTo>
                    <a:pt x="1403" y="240"/>
                    <a:pt x="1405" y="227"/>
                    <a:pt x="1427" y="205"/>
                  </a:cubicBezTo>
                  <a:cubicBezTo>
                    <a:pt x="1446" y="186"/>
                    <a:pt x="1464" y="167"/>
                    <a:pt x="1485" y="146"/>
                  </a:cubicBezTo>
                  <a:cubicBezTo>
                    <a:pt x="1459" y="121"/>
                    <a:pt x="1433" y="96"/>
                    <a:pt x="1408" y="71"/>
                  </a:cubicBezTo>
                  <a:cubicBezTo>
                    <a:pt x="1390" y="53"/>
                    <a:pt x="1390" y="27"/>
                    <a:pt x="1406" y="14"/>
                  </a:cubicBezTo>
                  <a:cubicBezTo>
                    <a:pt x="1419" y="2"/>
                    <a:pt x="1440" y="0"/>
                    <a:pt x="1453" y="13"/>
                  </a:cubicBezTo>
                  <a:cubicBezTo>
                    <a:pt x="1491" y="49"/>
                    <a:pt x="1529" y="86"/>
                    <a:pt x="1565" y="124"/>
                  </a:cubicBezTo>
                  <a:cubicBezTo>
                    <a:pt x="1581" y="140"/>
                    <a:pt x="1578" y="159"/>
                    <a:pt x="1560" y="177"/>
                  </a:cubicBezTo>
                  <a:cubicBezTo>
                    <a:pt x="1542" y="196"/>
                    <a:pt x="1524" y="214"/>
                    <a:pt x="1505" y="232"/>
                  </a:cubicBezTo>
                  <a:cubicBezTo>
                    <a:pt x="1497" y="240"/>
                    <a:pt x="1495" y="246"/>
                    <a:pt x="1500" y="258"/>
                  </a:cubicBezTo>
                  <a:cubicBezTo>
                    <a:pt x="1524" y="312"/>
                    <a:pt x="1545" y="367"/>
                    <a:pt x="1568" y="421"/>
                  </a:cubicBezTo>
                  <a:cubicBezTo>
                    <a:pt x="1571" y="427"/>
                    <a:pt x="1579" y="433"/>
                    <a:pt x="1585" y="433"/>
                  </a:cubicBezTo>
                  <a:cubicBezTo>
                    <a:pt x="1610" y="434"/>
                    <a:pt x="1636" y="433"/>
                    <a:pt x="1661" y="433"/>
                  </a:cubicBezTo>
                  <a:cubicBezTo>
                    <a:pt x="1695" y="434"/>
                    <a:pt x="1710" y="447"/>
                    <a:pt x="1710" y="480"/>
                  </a:cubicBezTo>
                  <a:cubicBezTo>
                    <a:pt x="1710" y="574"/>
                    <a:pt x="1710" y="668"/>
                    <a:pt x="1710" y="762"/>
                  </a:cubicBezTo>
                  <a:cubicBezTo>
                    <a:pt x="1709" y="793"/>
                    <a:pt x="1697" y="806"/>
                    <a:pt x="1666" y="807"/>
                  </a:cubicBezTo>
                  <a:cubicBezTo>
                    <a:pt x="1640" y="808"/>
                    <a:pt x="1614" y="808"/>
                    <a:pt x="1588" y="807"/>
                  </a:cubicBezTo>
                  <a:cubicBezTo>
                    <a:pt x="1576" y="806"/>
                    <a:pt x="1572" y="811"/>
                    <a:pt x="1568" y="821"/>
                  </a:cubicBezTo>
                  <a:cubicBezTo>
                    <a:pt x="1546" y="875"/>
                    <a:pt x="1524" y="928"/>
                    <a:pt x="1501" y="981"/>
                  </a:cubicBezTo>
                  <a:cubicBezTo>
                    <a:pt x="1496" y="992"/>
                    <a:pt x="1495" y="999"/>
                    <a:pt x="1505" y="1008"/>
                  </a:cubicBezTo>
                  <a:cubicBezTo>
                    <a:pt x="1524" y="1025"/>
                    <a:pt x="1541" y="1042"/>
                    <a:pt x="1558" y="1060"/>
                  </a:cubicBezTo>
                  <a:cubicBezTo>
                    <a:pt x="1581" y="1082"/>
                    <a:pt x="1581" y="1103"/>
                    <a:pt x="1558" y="1125"/>
                  </a:cubicBezTo>
                  <a:cubicBezTo>
                    <a:pt x="1492" y="1191"/>
                    <a:pt x="1426" y="1257"/>
                    <a:pt x="1360" y="1323"/>
                  </a:cubicBezTo>
                  <a:cubicBezTo>
                    <a:pt x="1336" y="1346"/>
                    <a:pt x="1319" y="1346"/>
                    <a:pt x="1295" y="1322"/>
                  </a:cubicBezTo>
                  <a:cubicBezTo>
                    <a:pt x="1278" y="1305"/>
                    <a:pt x="1260" y="1288"/>
                    <a:pt x="1243" y="1269"/>
                  </a:cubicBezTo>
                  <a:cubicBezTo>
                    <a:pt x="1235" y="1261"/>
                    <a:pt x="1229" y="1261"/>
                    <a:pt x="1219" y="1265"/>
                  </a:cubicBezTo>
                  <a:cubicBezTo>
                    <a:pt x="1165" y="1288"/>
                    <a:pt x="1111" y="1311"/>
                    <a:pt x="1057" y="1333"/>
                  </a:cubicBezTo>
                  <a:cubicBezTo>
                    <a:pt x="1046" y="1337"/>
                    <a:pt x="1041" y="1341"/>
                    <a:pt x="1042" y="1353"/>
                  </a:cubicBezTo>
                  <a:cubicBezTo>
                    <a:pt x="1043" y="1378"/>
                    <a:pt x="1042" y="1403"/>
                    <a:pt x="1042" y="1427"/>
                  </a:cubicBezTo>
                  <a:cubicBezTo>
                    <a:pt x="1041" y="1462"/>
                    <a:pt x="1030" y="1473"/>
                    <a:pt x="996" y="1473"/>
                  </a:cubicBezTo>
                  <a:cubicBezTo>
                    <a:pt x="902" y="1474"/>
                    <a:pt x="807" y="1474"/>
                    <a:pt x="712" y="1473"/>
                  </a:cubicBezTo>
                  <a:cubicBezTo>
                    <a:pt x="682" y="1473"/>
                    <a:pt x="669" y="1460"/>
                    <a:pt x="668" y="1429"/>
                  </a:cubicBezTo>
                  <a:cubicBezTo>
                    <a:pt x="668" y="1403"/>
                    <a:pt x="669" y="1377"/>
                    <a:pt x="668" y="1351"/>
                  </a:cubicBezTo>
                  <a:cubicBezTo>
                    <a:pt x="668" y="1345"/>
                    <a:pt x="662" y="1337"/>
                    <a:pt x="657" y="1334"/>
                  </a:cubicBezTo>
                  <a:cubicBezTo>
                    <a:pt x="597" y="1311"/>
                    <a:pt x="537" y="1288"/>
                    <a:pt x="473" y="1263"/>
                  </a:cubicBezTo>
                  <a:cubicBezTo>
                    <a:pt x="456" y="1281"/>
                    <a:pt x="435" y="1303"/>
                    <a:pt x="413" y="1324"/>
                  </a:cubicBezTo>
                  <a:cubicBezTo>
                    <a:pt x="391" y="1346"/>
                    <a:pt x="372" y="1346"/>
                    <a:pt x="350" y="1324"/>
                  </a:cubicBezTo>
                  <a:cubicBezTo>
                    <a:pt x="283" y="1259"/>
                    <a:pt x="216" y="1193"/>
                    <a:pt x="150" y="1126"/>
                  </a:cubicBezTo>
                  <a:cubicBezTo>
                    <a:pt x="129" y="1105"/>
                    <a:pt x="129" y="1083"/>
                    <a:pt x="150" y="1062"/>
                  </a:cubicBezTo>
                  <a:cubicBezTo>
                    <a:pt x="168" y="1043"/>
                    <a:pt x="187" y="1026"/>
                    <a:pt x="205" y="1007"/>
                  </a:cubicBezTo>
                  <a:cubicBezTo>
                    <a:pt x="209" y="1002"/>
                    <a:pt x="210" y="992"/>
                    <a:pt x="208" y="987"/>
                  </a:cubicBezTo>
                  <a:cubicBezTo>
                    <a:pt x="186" y="931"/>
                    <a:pt x="163" y="877"/>
                    <a:pt x="141" y="821"/>
                  </a:cubicBezTo>
                  <a:cubicBezTo>
                    <a:pt x="136" y="810"/>
                    <a:pt x="132" y="807"/>
                    <a:pt x="121" y="807"/>
                  </a:cubicBezTo>
                  <a:cubicBezTo>
                    <a:pt x="95" y="807"/>
                    <a:pt x="70" y="807"/>
                    <a:pt x="45" y="807"/>
                  </a:cubicBezTo>
                  <a:cubicBezTo>
                    <a:pt x="13" y="806"/>
                    <a:pt x="0" y="792"/>
                    <a:pt x="0" y="761"/>
                  </a:cubicBezTo>
                  <a:cubicBezTo>
                    <a:pt x="0" y="667"/>
                    <a:pt x="0" y="574"/>
                    <a:pt x="0" y="481"/>
                  </a:cubicBezTo>
                  <a:cubicBezTo>
                    <a:pt x="0" y="448"/>
                    <a:pt x="14" y="434"/>
                    <a:pt x="48" y="433"/>
                  </a:cubicBezTo>
                  <a:cubicBezTo>
                    <a:pt x="73" y="433"/>
                    <a:pt x="99" y="434"/>
                    <a:pt x="124" y="433"/>
                  </a:cubicBezTo>
                  <a:cubicBezTo>
                    <a:pt x="130" y="433"/>
                    <a:pt x="138" y="427"/>
                    <a:pt x="140" y="421"/>
                  </a:cubicBezTo>
                  <a:cubicBezTo>
                    <a:pt x="164" y="362"/>
                    <a:pt x="186" y="303"/>
                    <a:pt x="210" y="242"/>
                  </a:cubicBezTo>
                  <a:cubicBezTo>
                    <a:pt x="194" y="225"/>
                    <a:pt x="174" y="204"/>
                    <a:pt x="154" y="183"/>
                  </a:cubicBezTo>
                  <a:cubicBezTo>
                    <a:pt x="128" y="157"/>
                    <a:pt x="128" y="138"/>
                    <a:pt x="153" y="113"/>
                  </a:cubicBezTo>
                  <a:cubicBezTo>
                    <a:pt x="178" y="87"/>
                    <a:pt x="203" y="61"/>
                    <a:pt x="230" y="37"/>
                  </a:cubicBezTo>
                  <a:cubicBezTo>
                    <a:pt x="251" y="16"/>
                    <a:pt x="279" y="21"/>
                    <a:pt x="291" y="45"/>
                  </a:cubicBezTo>
                  <a:cubicBezTo>
                    <a:pt x="301" y="63"/>
                    <a:pt x="293" y="78"/>
                    <a:pt x="281" y="90"/>
                  </a:cubicBezTo>
                  <a:cubicBezTo>
                    <a:pt x="263" y="109"/>
                    <a:pt x="244" y="127"/>
                    <a:pt x="221" y="149"/>
                  </a:cubicBezTo>
                  <a:cubicBezTo>
                    <a:pt x="243" y="170"/>
                    <a:pt x="264" y="188"/>
                    <a:pt x="285" y="208"/>
                  </a:cubicBezTo>
                  <a:cubicBezTo>
                    <a:pt x="303" y="227"/>
                    <a:pt x="306" y="239"/>
                    <a:pt x="292" y="262"/>
                  </a:cubicBezTo>
                  <a:cubicBezTo>
                    <a:pt x="252" y="329"/>
                    <a:pt x="221" y="400"/>
                    <a:pt x="203" y="477"/>
                  </a:cubicBezTo>
                  <a:cubicBezTo>
                    <a:pt x="198" y="501"/>
                    <a:pt x="185" y="509"/>
                    <a:pt x="160" y="509"/>
                  </a:cubicBezTo>
                  <a:cubicBezTo>
                    <a:pt x="132" y="509"/>
                    <a:pt x="104" y="509"/>
                    <a:pt x="75" y="509"/>
                  </a:cubicBezTo>
                  <a:cubicBezTo>
                    <a:pt x="75" y="584"/>
                    <a:pt x="75" y="657"/>
                    <a:pt x="75" y="733"/>
                  </a:cubicBezTo>
                  <a:cubicBezTo>
                    <a:pt x="101" y="733"/>
                    <a:pt x="127" y="733"/>
                    <a:pt x="152" y="733"/>
                  </a:cubicBezTo>
                  <a:cubicBezTo>
                    <a:pt x="186" y="733"/>
                    <a:pt x="197" y="740"/>
                    <a:pt x="205" y="773"/>
                  </a:cubicBezTo>
                  <a:cubicBezTo>
                    <a:pt x="222" y="843"/>
                    <a:pt x="249" y="909"/>
                    <a:pt x="287" y="971"/>
                  </a:cubicBezTo>
                  <a:cubicBezTo>
                    <a:pt x="306" y="1003"/>
                    <a:pt x="304" y="1013"/>
                    <a:pt x="278" y="1039"/>
                  </a:cubicBezTo>
                  <a:cubicBezTo>
                    <a:pt x="261" y="1056"/>
                    <a:pt x="245" y="1072"/>
                    <a:pt x="228" y="1089"/>
                  </a:cubicBezTo>
                  <a:cubicBezTo>
                    <a:pt x="227" y="1090"/>
                    <a:pt x="227" y="1091"/>
                    <a:pt x="228" y="1090"/>
                  </a:cubicBezTo>
                  <a:cubicBezTo>
                    <a:pt x="280" y="1142"/>
                    <a:pt x="332" y="1194"/>
                    <a:pt x="387" y="12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sp>
          <p:nvSpPr>
            <p:cNvPr id="21" name="Freeform 39">
              <a:extLst>
                <a:ext uri="{FF2B5EF4-FFF2-40B4-BE49-F238E27FC236}">
                  <a16:creationId xmlns:a16="http://schemas.microsoft.com/office/drawing/2014/main" id="{F467254C-D6B8-495D-9690-191E19DDC6CE}"/>
                </a:ext>
              </a:extLst>
            </p:cNvPr>
            <p:cNvSpPr>
              <a:spLocks/>
            </p:cNvSpPr>
            <p:nvPr/>
          </p:nvSpPr>
          <p:spPr bwMode="auto">
            <a:xfrm>
              <a:off x="-2476500" y="4549775"/>
              <a:ext cx="98425" cy="100012"/>
            </a:xfrm>
            <a:custGeom>
              <a:avLst/>
              <a:gdLst>
                <a:gd name="T0" fmla="*/ 74 w 74"/>
                <a:gd name="T1" fmla="*/ 38 h 75"/>
                <a:gd name="T2" fmla="*/ 38 w 74"/>
                <a:gd name="T3" fmla="*/ 74 h 75"/>
                <a:gd name="T4" fmla="*/ 0 w 74"/>
                <a:gd name="T5" fmla="*/ 37 h 75"/>
                <a:gd name="T6" fmla="*/ 36 w 74"/>
                <a:gd name="T7" fmla="*/ 0 h 75"/>
                <a:gd name="T8" fmla="*/ 74 w 74"/>
                <a:gd name="T9" fmla="*/ 38 h 75"/>
              </a:gdLst>
              <a:ahLst/>
              <a:cxnLst>
                <a:cxn ang="0">
                  <a:pos x="T0" y="T1"/>
                </a:cxn>
                <a:cxn ang="0">
                  <a:pos x="T2" y="T3"/>
                </a:cxn>
                <a:cxn ang="0">
                  <a:pos x="T4" y="T5"/>
                </a:cxn>
                <a:cxn ang="0">
                  <a:pos x="T6" y="T7"/>
                </a:cxn>
                <a:cxn ang="0">
                  <a:pos x="T8" y="T9"/>
                </a:cxn>
              </a:cxnLst>
              <a:rect l="0" t="0" r="r" b="b"/>
              <a:pathLst>
                <a:path w="74" h="75">
                  <a:moveTo>
                    <a:pt x="74" y="38"/>
                  </a:moveTo>
                  <a:cubicBezTo>
                    <a:pt x="74" y="59"/>
                    <a:pt x="59" y="74"/>
                    <a:pt x="38" y="74"/>
                  </a:cubicBezTo>
                  <a:cubicBezTo>
                    <a:pt x="17" y="75"/>
                    <a:pt x="0" y="58"/>
                    <a:pt x="0" y="37"/>
                  </a:cubicBezTo>
                  <a:cubicBezTo>
                    <a:pt x="0" y="17"/>
                    <a:pt x="16" y="1"/>
                    <a:pt x="36" y="0"/>
                  </a:cubicBezTo>
                  <a:cubicBezTo>
                    <a:pt x="57" y="0"/>
                    <a:pt x="74" y="18"/>
                    <a:pt x="74"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sp>
          <p:nvSpPr>
            <p:cNvPr id="28" name="Freeform 45">
              <a:extLst>
                <a:ext uri="{FF2B5EF4-FFF2-40B4-BE49-F238E27FC236}">
                  <a16:creationId xmlns:a16="http://schemas.microsoft.com/office/drawing/2014/main" id="{0D446C7D-7EBC-4EEC-A422-4CB398FA5828}"/>
                </a:ext>
              </a:extLst>
            </p:cNvPr>
            <p:cNvSpPr>
              <a:spLocks/>
            </p:cNvSpPr>
            <p:nvPr/>
          </p:nvSpPr>
          <p:spPr bwMode="auto">
            <a:xfrm>
              <a:off x="-2660650" y="3897313"/>
              <a:ext cx="100013" cy="96837"/>
            </a:xfrm>
            <a:custGeom>
              <a:avLst/>
              <a:gdLst>
                <a:gd name="T0" fmla="*/ 38 w 75"/>
                <a:gd name="T1" fmla="*/ 0 h 73"/>
                <a:gd name="T2" fmla="*/ 75 w 75"/>
                <a:gd name="T3" fmla="*/ 37 h 73"/>
                <a:gd name="T4" fmla="*/ 37 w 75"/>
                <a:gd name="T5" fmla="*/ 73 h 73"/>
                <a:gd name="T6" fmla="*/ 0 w 75"/>
                <a:gd name="T7" fmla="*/ 36 h 73"/>
                <a:gd name="T8" fmla="*/ 38 w 75"/>
                <a:gd name="T9" fmla="*/ 0 h 73"/>
              </a:gdLst>
              <a:ahLst/>
              <a:cxnLst>
                <a:cxn ang="0">
                  <a:pos x="T0" y="T1"/>
                </a:cxn>
                <a:cxn ang="0">
                  <a:pos x="T2" y="T3"/>
                </a:cxn>
                <a:cxn ang="0">
                  <a:pos x="T4" y="T5"/>
                </a:cxn>
                <a:cxn ang="0">
                  <a:pos x="T6" y="T7"/>
                </a:cxn>
                <a:cxn ang="0">
                  <a:pos x="T8" y="T9"/>
                </a:cxn>
              </a:cxnLst>
              <a:rect l="0" t="0" r="r" b="b"/>
              <a:pathLst>
                <a:path w="75" h="73">
                  <a:moveTo>
                    <a:pt x="38" y="0"/>
                  </a:moveTo>
                  <a:cubicBezTo>
                    <a:pt x="58" y="0"/>
                    <a:pt x="75" y="17"/>
                    <a:pt x="75" y="37"/>
                  </a:cubicBezTo>
                  <a:cubicBezTo>
                    <a:pt x="75" y="57"/>
                    <a:pt x="57" y="73"/>
                    <a:pt x="37" y="73"/>
                  </a:cubicBezTo>
                  <a:cubicBezTo>
                    <a:pt x="17" y="73"/>
                    <a:pt x="0" y="56"/>
                    <a:pt x="0" y="36"/>
                  </a:cubicBezTo>
                  <a:cubicBezTo>
                    <a:pt x="1" y="16"/>
                    <a:pt x="18" y="0"/>
                    <a:pt x="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3F3F3F"/>
                </a:solidFill>
                <a:effectLst/>
                <a:uLnTx/>
                <a:uFillTx/>
                <a:latin typeface="Arial" charset="0"/>
                <a:ea typeface="+mn-ea"/>
                <a:cs typeface="Arial" charset="0"/>
              </a:endParaRPr>
            </a:p>
          </p:txBody>
        </p:sp>
      </p:grpSp>
      <p:sp>
        <p:nvSpPr>
          <p:cNvPr id="35" name="Rectangle 14">
            <a:extLst>
              <a:ext uri="{FF2B5EF4-FFF2-40B4-BE49-F238E27FC236}">
                <a16:creationId xmlns:a16="http://schemas.microsoft.com/office/drawing/2014/main" id="{4BBD885B-E5B9-4996-A917-E02645FEEC84}"/>
              </a:ext>
            </a:extLst>
          </p:cNvPr>
          <p:cNvSpPr txBox="1">
            <a:spLocks noChangeArrowheads="1"/>
          </p:cNvSpPr>
          <p:nvPr/>
        </p:nvSpPr>
        <p:spPr>
          <a:xfrm>
            <a:off x="310896" y="1666875"/>
            <a:ext cx="11612880" cy="2942216"/>
          </a:xfrm>
          <a:prstGeom prst="rect">
            <a:avLst/>
          </a:prstGeom>
        </p:spPr>
        <p:txBody>
          <a:bodyPr wrap="square" lIns="0" tIns="0" rIns="0" bIns="0">
            <a:spAutoFit/>
          </a:bodyPr>
          <a:lstStyle>
            <a:lvl1pPr marL="0" indent="0" algn="l" rtl="0" eaLnBrk="1" fontAlgn="base" hangingPunct="1">
              <a:spcBef>
                <a:spcPct val="0"/>
              </a:spcBef>
              <a:spcAft>
                <a:spcPct val="0"/>
              </a:spcAft>
              <a:buClr>
                <a:schemeClr val="accent2"/>
              </a:buClr>
              <a:buSzPct val="70000"/>
              <a:buFont typeface="Wingdings" panose="05000000000000000000" pitchFamily="2" charset="2"/>
              <a:buNone/>
              <a:defRPr sz="1803">
                <a:solidFill>
                  <a:schemeClr val="tx1"/>
                </a:solidFill>
                <a:latin typeface="+mn-lt"/>
                <a:ea typeface="+mn-ea"/>
                <a:cs typeface="+mn-cs"/>
              </a:defRPr>
            </a:lvl1pPr>
            <a:lvl2pPr marL="228600" indent="-228600" algn="l" rtl="0" eaLnBrk="1" fontAlgn="base" hangingPunct="1">
              <a:spcBef>
                <a:spcPct val="0"/>
              </a:spcBef>
              <a:spcAft>
                <a:spcPct val="0"/>
              </a:spcAft>
              <a:buClr>
                <a:schemeClr val="accent2"/>
              </a:buClr>
              <a:buSzPct val="70000"/>
              <a:buFont typeface="Wingdings" panose="05000000000000000000" pitchFamily="2" charset="2"/>
              <a:buChar char="l"/>
              <a:defRPr sz="1803">
                <a:solidFill>
                  <a:schemeClr val="tx1"/>
                </a:solidFill>
                <a:latin typeface="+mn-lt"/>
              </a:defRPr>
            </a:lvl2pPr>
            <a:lvl3pPr marL="457200" indent="-228600" algn="l" rtl="0" eaLnBrk="1" fontAlgn="base" hangingPunct="1">
              <a:spcBef>
                <a:spcPct val="0"/>
              </a:spcBef>
              <a:spcAft>
                <a:spcPct val="0"/>
              </a:spcAft>
              <a:buClr>
                <a:schemeClr val="bg2"/>
              </a:buClr>
              <a:buSzPct val="100000"/>
              <a:buFont typeface="Arial" panose="020B0604020202020204" pitchFamily="34" charset="0"/>
              <a:buChar char="–"/>
              <a:defRPr sz="1803">
                <a:solidFill>
                  <a:schemeClr val="tx1"/>
                </a:solidFill>
                <a:latin typeface="+mn-lt"/>
              </a:defRPr>
            </a:lvl3pPr>
            <a:lvl4pPr marL="685800" indent="-228600" algn="l" rtl="0" eaLnBrk="1" fontAlgn="base" hangingPunct="1">
              <a:spcBef>
                <a:spcPct val="0"/>
              </a:spcBef>
              <a:spcAft>
                <a:spcPct val="0"/>
              </a:spcAft>
              <a:buClr>
                <a:schemeClr val="accent5"/>
              </a:buClr>
              <a:buSzPct val="55000"/>
              <a:buFont typeface="Wingdings" panose="05000000000000000000" pitchFamily="2" charset="2"/>
              <a:buChar char="u"/>
              <a:defRPr sz="1803">
                <a:solidFill>
                  <a:schemeClr val="tx1"/>
                </a:solidFill>
                <a:latin typeface="+mn-lt"/>
              </a:defRPr>
            </a:lvl4pPr>
            <a:lvl5pPr marL="914400" indent="-228600" algn="l" rtl="0" eaLnBrk="1" fontAlgn="base" hangingPunct="1">
              <a:spcBef>
                <a:spcPct val="0"/>
              </a:spcBef>
              <a:spcAft>
                <a:spcPct val="0"/>
              </a:spcAft>
              <a:buClr>
                <a:schemeClr val="tx1"/>
              </a:buClr>
              <a:buSzPct val="70000"/>
              <a:buFont typeface="Courier New" pitchFamily="49" charset="0"/>
              <a:buChar char="o"/>
              <a:defRPr sz="1803">
                <a:solidFill>
                  <a:schemeClr val="tx1"/>
                </a:solidFill>
                <a:latin typeface="+mn-lt"/>
              </a:defRPr>
            </a:lvl5pPr>
            <a:lvl6pPr marL="1369883" indent="-227255" algn="l" rtl="0" eaLnBrk="1" fontAlgn="base" hangingPunct="1">
              <a:spcBef>
                <a:spcPct val="0"/>
              </a:spcBef>
              <a:spcAft>
                <a:spcPct val="0"/>
              </a:spcAft>
              <a:buClr>
                <a:srgbClr val="3DA7A7"/>
              </a:buClr>
              <a:buChar char="•"/>
              <a:defRPr sz="1602">
                <a:solidFill>
                  <a:schemeClr val="tx1"/>
                </a:solidFill>
                <a:latin typeface="+mn-lt"/>
              </a:defRPr>
            </a:lvl6pPr>
            <a:lvl7pPr marL="1827569" indent="-227255" algn="l" rtl="0" eaLnBrk="1" fontAlgn="base" hangingPunct="1">
              <a:spcBef>
                <a:spcPct val="0"/>
              </a:spcBef>
              <a:spcAft>
                <a:spcPct val="0"/>
              </a:spcAft>
              <a:buClr>
                <a:srgbClr val="3DA7A7"/>
              </a:buClr>
              <a:buChar char="•"/>
              <a:defRPr sz="1602">
                <a:solidFill>
                  <a:schemeClr val="tx1"/>
                </a:solidFill>
                <a:latin typeface="+mn-lt"/>
              </a:defRPr>
            </a:lvl7pPr>
            <a:lvl8pPr marL="2285256" indent="-227255" algn="l" rtl="0" eaLnBrk="1" fontAlgn="base" hangingPunct="1">
              <a:spcBef>
                <a:spcPct val="0"/>
              </a:spcBef>
              <a:spcAft>
                <a:spcPct val="0"/>
              </a:spcAft>
              <a:buClr>
                <a:srgbClr val="3DA7A7"/>
              </a:buClr>
              <a:buChar char="•"/>
              <a:defRPr sz="1602">
                <a:solidFill>
                  <a:schemeClr val="tx1"/>
                </a:solidFill>
                <a:latin typeface="+mn-lt"/>
              </a:defRPr>
            </a:lvl8pPr>
            <a:lvl9pPr marL="2742942" indent="-227255" algn="l" rtl="0" eaLnBrk="1" fontAlgn="base" hangingPunct="1">
              <a:spcBef>
                <a:spcPct val="0"/>
              </a:spcBef>
              <a:spcAft>
                <a:spcPct val="0"/>
              </a:spcAft>
              <a:buClr>
                <a:srgbClr val="3DA7A7"/>
              </a:buClr>
              <a:buChar char="•"/>
              <a:defRPr sz="1602">
                <a:solidFill>
                  <a:schemeClr val="tx1"/>
                </a:solidFill>
                <a:latin typeface="+mn-lt"/>
              </a:defRPr>
            </a:lvl9pPr>
          </a:lstStyle>
          <a:p>
            <a:pPr>
              <a:lnSpc>
                <a:spcPct val="117000"/>
              </a:lnSpc>
              <a:spcAft>
                <a:spcPts val="600"/>
              </a:spcAft>
            </a:pPr>
            <a:r>
              <a:rPr lang="en-US" sz="1100"/>
              <a:t>Everest Group defines Process Orchestration (PO) as software that helps business users design, manage, and monitor end-to-end business processes. It includes key capabilities such as process modeling, business rules management, the ability to design user interfaces for capturing/presenting data, hybrid (human + digital) workforce management, and the ability to provide process-related insights. It should be able to orchestrate the flow of work across human workers, digital workers (such as RPA, IDP, and conversational AI), and enterprise applications in long-running workflows. </a:t>
            </a:r>
          </a:p>
          <a:p>
            <a:pPr>
              <a:lnSpc>
                <a:spcPct val="117000"/>
              </a:lnSpc>
              <a:spcAft>
                <a:spcPts val="600"/>
              </a:spcAft>
            </a:pPr>
            <a:r>
              <a:rPr lang="en-US" sz="1100"/>
              <a:t>For the scope of this study, we cover products in the market that are low-code / no-code and broad-based business process-centric products (not focused on a particular use case / function / industry) and are available for independent licensing. The product should also be capable of handling workflows that may not involve digital workers.</a:t>
            </a:r>
          </a:p>
          <a:p>
            <a:pPr lvl="0">
              <a:lnSpc>
                <a:spcPct val="117000"/>
              </a:lnSpc>
              <a:spcAft>
                <a:spcPts val="300"/>
              </a:spcAft>
              <a:defRPr/>
            </a:pPr>
            <a:r>
              <a:rPr lang="en-US" sz="1100" b="1"/>
              <a:t>In this study, we investigate the state of the process orchestration market and focus on:</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a:t>Overview of process orchestration</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a:t>Market size and adoption trends across buyer geography, industry, and business function</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a:t>Buyer expectations including barriers to adoption, and best practices</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a:t>Process orchestration solution characteristics and key product capabilities and trends</a:t>
            </a:r>
          </a:p>
          <a:p>
            <a:pPr marL="171450" indent="-171450">
              <a:lnSpc>
                <a:spcPct val="117000"/>
              </a:lnSpc>
              <a:spcBef>
                <a:spcPts val="0"/>
              </a:spcBef>
              <a:spcAft>
                <a:spcPts val="300"/>
              </a:spcAft>
              <a:buClr>
                <a:schemeClr val="accent2"/>
              </a:buClr>
              <a:buSzPct val="70000"/>
              <a:buFont typeface="Wingdings" panose="05000000000000000000" pitchFamily="2" charset="2"/>
              <a:buChar char="l"/>
            </a:pPr>
            <a:r>
              <a:rPr lang="en-US" sz="1100"/>
              <a:t>Process orchestration provider landscape</a:t>
            </a:r>
          </a:p>
          <a:p>
            <a:pPr marL="171450" indent="-171450">
              <a:lnSpc>
                <a:spcPct val="117000"/>
              </a:lnSpc>
              <a:spcBef>
                <a:spcPts val="0"/>
              </a:spcBef>
              <a:spcAft>
                <a:spcPts val="300"/>
              </a:spcAft>
              <a:buFont typeface="Wingdings" panose="05000000000000000000" pitchFamily="2" charset="2"/>
              <a:buChar char="l"/>
            </a:pPr>
            <a:r>
              <a:rPr lang="en-US" sz="1100"/>
              <a:t>Outlook for 2023</a:t>
            </a:r>
          </a:p>
        </p:txBody>
      </p:sp>
      <p:grpSp>
        <p:nvGrpSpPr>
          <p:cNvPr id="32" name="Group 31">
            <a:extLst>
              <a:ext uri="{FF2B5EF4-FFF2-40B4-BE49-F238E27FC236}">
                <a16:creationId xmlns:a16="http://schemas.microsoft.com/office/drawing/2014/main" id="{B3525D7A-C427-451F-A013-CA1D521F110B}"/>
              </a:ext>
            </a:extLst>
          </p:cNvPr>
          <p:cNvGrpSpPr>
            <a:grpSpLocks noChangeAspect="1"/>
          </p:cNvGrpSpPr>
          <p:nvPr/>
        </p:nvGrpSpPr>
        <p:grpSpPr>
          <a:xfrm>
            <a:off x="8969376" y="5002024"/>
            <a:ext cx="715447" cy="704850"/>
            <a:chOff x="13935076" y="1231900"/>
            <a:chExt cx="4394200" cy="4329113"/>
          </a:xfrm>
          <a:solidFill>
            <a:schemeClr val="accent2"/>
          </a:solidFill>
        </p:grpSpPr>
        <p:sp>
          <p:nvSpPr>
            <p:cNvPr id="33" name="Freeform 6">
              <a:extLst>
                <a:ext uri="{FF2B5EF4-FFF2-40B4-BE49-F238E27FC236}">
                  <a16:creationId xmlns:a16="http://schemas.microsoft.com/office/drawing/2014/main" id="{973ECBE9-295D-4230-B65D-FA7F525A1D8D}"/>
                </a:ext>
              </a:extLst>
            </p:cNvPr>
            <p:cNvSpPr>
              <a:spLocks noEditPoints="1"/>
            </p:cNvSpPr>
            <p:nvPr/>
          </p:nvSpPr>
          <p:spPr bwMode="auto">
            <a:xfrm>
              <a:off x="14938376" y="2219325"/>
              <a:ext cx="2335213" cy="2338388"/>
            </a:xfrm>
            <a:custGeom>
              <a:avLst/>
              <a:gdLst>
                <a:gd name="T0" fmla="*/ 1055 w 1079"/>
                <a:gd name="T1" fmla="*/ 442 h 1083"/>
                <a:gd name="T2" fmla="*/ 981 w 1079"/>
                <a:gd name="T3" fmla="*/ 488 h 1083"/>
                <a:gd name="T4" fmla="*/ 993 w 1079"/>
                <a:gd name="T5" fmla="*/ 623 h 1083"/>
                <a:gd name="T6" fmla="*/ 1069 w 1079"/>
                <a:gd name="T7" fmla="*/ 687 h 1083"/>
                <a:gd name="T8" fmla="*/ 976 w 1079"/>
                <a:gd name="T9" fmla="*/ 823 h 1083"/>
                <a:gd name="T10" fmla="*/ 896 w 1079"/>
                <a:gd name="T11" fmla="*/ 807 h 1083"/>
                <a:gd name="T12" fmla="*/ 802 w 1079"/>
                <a:gd name="T13" fmla="*/ 919 h 1083"/>
                <a:gd name="T14" fmla="*/ 807 w 1079"/>
                <a:gd name="T15" fmla="*/ 1016 h 1083"/>
                <a:gd name="T16" fmla="*/ 647 w 1079"/>
                <a:gd name="T17" fmla="*/ 1045 h 1083"/>
                <a:gd name="T18" fmla="*/ 607 w 1079"/>
                <a:gd name="T19" fmla="*/ 979 h 1083"/>
                <a:gd name="T20" fmla="*/ 450 w 1079"/>
                <a:gd name="T21" fmla="*/ 992 h 1083"/>
                <a:gd name="T22" fmla="*/ 380 w 1079"/>
                <a:gd name="T23" fmla="*/ 1075 h 1083"/>
                <a:gd name="T24" fmla="*/ 249 w 1079"/>
                <a:gd name="T25" fmla="*/ 979 h 1083"/>
                <a:gd name="T26" fmla="*/ 275 w 1079"/>
                <a:gd name="T27" fmla="*/ 890 h 1083"/>
                <a:gd name="T28" fmla="*/ 171 w 1079"/>
                <a:gd name="T29" fmla="*/ 800 h 1083"/>
                <a:gd name="T30" fmla="*/ 66 w 1079"/>
                <a:gd name="T31" fmla="*/ 804 h 1083"/>
                <a:gd name="T32" fmla="*/ 42 w 1079"/>
                <a:gd name="T33" fmla="*/ 646 h 1083"/>
                <a:gd name="T34" fmla="*/ 113 w 1079"/>
                <a:gd name="T35" fmla="*/ 603 h 1083"/>
                <a:gd name="T36" fmla="*/ 103 w 1079"/>
                <a:gd name="T37" fmla="*/ 451 h 1083"/>
                <a:gd name="T38" fmla="*/ 9 w 1079"/>
                <a:gd name="T39" fmla="*/ 375 h 1083"/>
                <a:gd name="T40" fmla="*/ 105 w 1079"/>
                <a:gd name="T41" fmla="*/ 245 h 1083"/>
                <a:gd name="T42" fmla="*/ 207 w 1079"/>
                <a:gd name="T43" fmla="*/ 274 h 1083"/>
                <a:gd name="T44" fmla="*/ 298 w 1079"/>
                <a:gd name="T45" fmla="*/ 167 h 1083"/>
                <a:gd name="T46" fmla="*/ 289 w 1079"/>
                <a:gd name="T47" fmla="*/ 62 h 1083"/>
                <a:gd name="T48" fmla="*/ 449 w 1079"/>
                <a:gd name="T49" fmla="*/ 32 h 1083"/>
                <a:gd name="T50" fmla="*/ 498 w 1079"/>
                <a:gd name="T51" fmla="*/ 114 h 1083"/>
                <a:gd name="T52" fmla="*/ 630 w 1079"/>
                <a:gd name="T53" fmla="*/ 103 h 1083"/>
                <a:gd name="T54" fmla="*/ 705 w 1079"/>
                <a:gd name="T55" fmla="*/ 9 h 1083"/>
                <a:gd name="T56" fmla="*/ 837 w 1079"/>
                <a:gd name="T57" fmla="*/ 100 h 1083"/>
                <a:gd name="T58" fmla="*/ 814 w 1079"/>
                <a:gd name="T59" fmla="*/ 201 h 1083"/>
                <a:gd name="T60" fmla="*/ 929 w 1079"/>
                <a:gd name="T61" fmla="*/ 295 h 1083"/>
                <a:gd name="T62" fmla="*/ 1028 w 1079"/>
                <a:gd name="T63" fmla="*/ 290 h 1083"/>
                <a:gd name="T64" fmla="*/ 1079 w 1079"/>
                <a:gd name="T65" fmla="*/ 421 h 1083"/>
                <a:gd name="T66" fmla="*/ 535 w 1079"/>
                <a:gd name="T67" fmla="*/ 281 h 1083"/>
                <a:gd name="T68" fmla="*/ 552 w 1079"/>
                <a:gd name="T69" fmla="*/ 818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9" h="1083">
                  <a:moveTo>
                    <a:pt x="1079" y="421"/>
                  </a:moveTo>
                  <a:cubicBezTo>
                    <a:pt x="1072" y="427"/>
                    <a:pt x="1065" y="437"/>
                    <a:pt x="1055" y="442"/>
                  </a:cubicBezTo>
                  <a:cubicBezTo>
                    <a:pt x="1036" y="451"/>
                    <a:pt x="1015" y="459"/>
                    <a:pt x="994" y="466"/>
                  </a:cubicBezTo>
                  <a:cubicBezTo>
                    <a:pt x="983" y="470"/>
                    <a:pt x="980" y="477"/>
                    <a:pt x="981" y="488"/>
                  </a:cubicBezTo>
                  <a:cubicBezTo>
                    <a:pt x="982" y="526"/>
                    <a:pt x="982" y="564"/>
                    <a:pt x="981" y="602"/>
                  </a:cubicBezTo>
                  <a:cubicBezTo>
                    <a:pt x="981" y="613"/>
                    <a:pt x="982" y="619"/>
                    <a:pt x="993" y="623"/>
                  </a:cubicBezTo>
                  <a:cubicBezTo>
                    <a:pt x="1013" y="631"/>
                    <a:pt x="1032" y="641"/>
                    <a:pt x="1051" y="649"/>
                  </a:cubicBezTo>
                  <a:cubicBezTo>
                    <a:pt x="1070" y="656"/>
                    <a:pt x="1076" y="670"/>
                    <a:pt x="1069" y="687"/>
                  </a:cubicBezTo>
                  <a:cubicBezTo>
                    <a:pt x="1052" y="729"/>
                    <a:pt x="1034" y="771"/>
                    <a:pt x="1015" y="812"/>
                  </a:cubicBezTo>
                  <a:cubicBezTo>
                    <a:pt x="1008" y="828"/>
                    <a:pt x="992" y="830"/>
                    <a:pt x="976" y="823"/>
                  </a:cubicBezTo>
                  <a:cubicBezTo>
                    <a:pt x="958" y="816"/>
                    <a:pt x="940" y="809"/>
                    <a:pt x="923" y="801"/>
                  </a:cubicBezTo>
                  <a:cubicBezTo>
                    <a:pt x="911" y="795"/>
                    <a:pt x="905" y="797"/>
                    <a:pt x="896" y="807"/>
                  </a:cubicBezTo>
                  <a:cubicBezTo>
                    <a:pt x="868" y="837"/>
                    <a:pt x="838" y="866"/>
                    <a:pt x="808" y="894"/>
                  </a:cubicBezTo>
                  <a:cubicBezTo>
                    <a:pt x="800" y="902"/>
                    <a:pt x="796" y="908"/>
                    <a:pt x="802" y="919"/>
                  </a:cubicBezTo>
                  <a:cubicBezTo>
                    <a:pt x="810" y="939"/>
                    <a:pt x="817" y="959"/>
                    <a:pt x="824" y="979"/>
                  </a:cubicBezTo>
                  <a:cubicBezTo>
                    <a:pt x="831" y="997"/>
                    <a:pt x="824" y="1009"/>
                    <a:pt x="807" y="1016"/>
                  </a:cubicBezTo>
                  <a:cubicBezTo>
                    <a:pt x="767" y="1032"/>
                    <a:pt x="727" y="1047"/>
                    <a:pt x="686" y="1063"/>
                  </a:cubicBezTo>
                  <a:cubicBezTo>
                    <a:pt x="666" y="1070"/>
                    <a:pt x="655" y="1065"/>
                    <a:pt x="647" y="1045"/>
                  </a:cubicBezTo>
                  <a:cubicBezTo>
                    <a:pt x="639" y="1027"/>
                    <a:pt x="632" y="1008"/>
                    <a:pt x="624" y="990"/>
                  </a:cubicBezTo>
                  <a:cubicBezTo>
                    <a:pt x="621" y="985"/>
                    <a:pt x="613" y="979"/>
                    <a:pt x="607" y="979"/>
                  </a:cubicBezTo>
                  <a:cubicBezTo>
                    <a:pt x="562" y="978"/>
                    <a:pt x="518" y="979"/>
                    <a:pt x="473" y="977"/>
                  </a:cubicBezTo>
                  <a:cubicBezTo>
                    <a:pt x="460" y="977"/>
                    <a:pt x="454" y="979"/>
                    <a:pt x="450" y="992"/>
                  </a:cubicBezTo>
                  <a:cubicBezTo>
                    <a:pt x="442" y="1014"/>
                    <a:pt x="432" y="1036"/>
                    <a:pt x="422" y="1058"/>
                  </a:cubicBezTo>
                  <a:cubicBezTo>
                    <a:pt x="413" y="1078"/>
                    <a:pt x="400" y="1083"/>
                    <a:pt x="380" y="1075"/>
                  </a:cubicBezTo>
                  <a:cubicBezTo>
                    <a:pt x="342" y="1059"/>
                    <a:pt x="304" y="1042"/>
                    <a:pt x="267" y="1025"/>
                  </a:cubicBezTo>
                  <a:cubicBezTo>
                    <a:pt x="243" y="1015"/>
                    <a:pt x="239" y="1003"/>
                    <a:pt x="249" y="979"/>
                  </a:cubicBezTo>
                  <a:cubicBezTo>
                    <a:pt x="259" y="956"/>
                    <a:pt x="270" y="933"/>
                    <a:pt x="279" y="910"/>
                  </a:cubicBezTo>
                  <a:cubicBezTo>
                    <a:pt x="281" y="904"/>
                    <a:pt x="279" y="895"/>
                    <a:pt x="275" y="890"/>
                  </a:cubicBezTo>
                  <a:cubicBezTo>
                    <a:pt x="248" y="861"/>
                    <a:pt x="221" y="833"/>
                    <a:pt x="193" y="806"/>
                  </a:cubicBezTo>
                  <a:cubicBezTo>
                    <a:pt x="188" y="801"/>
                    <a:pt x="178" y="798"/>
                    <a:pt x="171" y="800"/>
                  </a:cubicBezTo>
                  <a:cubicBezTo>
                    <a:pt x="150" y="806"/>
                    <a:pt x="130" y="815"/>
                    <a:pt x="110" y="823"/>
                  </a:cubicBezTo>
                  <a:cubicBezTo>
                    <a:pt x="86" y="832"/>
                    <a:pt x="75" y="827"/>
                    <a:pt x="66" y="804"/>
                  </a:cubicBezTo>
                  <a:cubicBezTo>
                    <a:pt x="51" y="766"/>
                    <a:pt x="36" y="729"/>
                    <a:pt x="22" y="691"/>
                  </a:cubicBezTo>
                  <a:cubicBezTo>
                    <a:pt x="13" y="666"/>
                    <a:pt x="18" y="656"/>
                    <a:pt x="42" y="646"/>
                  </a:cubicBezTo>
                  <a:cubicBezTo>
                    <a:pt x="61" y="638"/>
                    <a:pt x="80" y="630"/>
                    <a:pt x="100" y="623"/>
                  </a:cubicBezTo>
                  <a:cubicBezTo>
                    <a:pt x="110" y="620"/>
                    <a:pt x="113" y="614"/>
                    <a:pt x="113" y="603"/>
                  </a:cubicBezTo>
                  <a:cubicBezTo>
                    <a:pt x="113" y="560"/>
                    <a:pt x="114" y="516"/>
                    <a:pt x="117" y="473"/>
                  </a:cubicBezTo>
                  <a:cubicBezTo>
                    <a:pt x="117" y="462"/>
                    <a:pt x="115" y="455"/>
                    <a:pt x="103" y="451"/>
                  </a:cubicBezTo>
                  <a:cubicBezTo>
                    <a:pt x="77" y="440"/>
                    <a:pt x="52" y="429"/>
                    <a:pt x="26" y="418"/>
                  </a:cubicBezTo>
                  <a:cubicBezTo>
                    <a:pt x="5" y="409"/>
                    <a:pt x="0" y="396"/>
                    <a:pt x="9" y="375"/>
                  </a:cubicBezTo>
                  <a:cubicBezTo>
                    <a:pt x="25" y="338"/>
                    <a:pt x="41" y="300"/>
                    <a:pt x="58" y="263"/>
                  </a:cubicBezTo>
                  <a:cubicBezTo>
                    <a:pt x="69" y="238"/>
                    <a:pt x="78" y="235"/>
                    <a:pt x="105" y="245"/>
                  </a:cubicBezTo>
                  <a:cubicBezTo>
                    <a:pt x="131" y="256"/>
                    <a:pt x="158" y="267"/>
                    <a:pt x="184" y="279"/>
                  </a:cubicBezTo>
                  <a:cubicBezTo>
                    <a:pt x="194" y="284"/>
                    <a:pt x="199" y="282"/>
                    <a:pt x="207" y="274"/>
                  </a:cubicBezTo>
                  <a:cubicBezTo>
                    <a:pt x="235" y="246"/>
                    <a:pt x="262" y="218"/>
                    <a:pt x="292" y="192"/>
                  </a:cubicBezTo>
                  <a:cubicBezTo>
                    <a:pt x="301" y="184"/>
                    <a:pt x="302" y="178"/>
                    <a:pt x="298" y="167"/>
                  </a:cubicBezTo>
                  <a:cubicBezTo>
                    <a:pt x="288" y="145"/>
                    <a:pt x="280" y="122"/>
                    <a:pt x="272" y="100"/>
                  </a:cubicBezTo>
                  <a:cubicBezTo>
                    <a:pt x="265" y="82"/>
                    <a:pt x="271" y="69"/>
                    <a:pt x="289" y="62"/>
                  </a:cubicBezTo>
                  <a:cubicBezTo>
                    <a:pt x="329" y="45"/>
                    <a:pt x="369" y="29"/>
                    <a:pt x="409" y="14"/>
                  </a:cubicBezTo>
                  <a:cubicBezTo>
                    <a:pt x="429" y="7"/>
                    <a:pt x="440" y="12"/>
                    <a:pt x="449" y="32"/>
                  </a:cubicBezTo>
                  <a:cubicBezTo>
                    <a:pt x="458" y="55"/>
                    <a:pt x="468" y="78"/>
                    <a:pt x="476" y="101"/>
                  </a:cubicBezTo>
                  <a:cubicBezTo>
                    <a:pt x="480" y="111"/>
                    <a:pt x="487" y="114"/>
                    <a:pt x="498" y="114"/>
                  </a:cubicBezTo>
                  <a:cubicBezTo>
                    <a:pt x="535" y="113"/>
                    <a:pt x="572" y="113"/>
                    <a:pt x="609" y="115"/>
                  </a:cubicBezTo>
                  <a:cubicBezTo>
                    <a:pt x="621" y="116"/>
                    <a:pt x="626" y="112"/>
                    <a:pt x="630" y="103"/>
                  </a:cubicBezTo>
                  <a:cubicBezTo>
                    <a:pt x="641" y="76"/>
                    <a:pt x="652" y="50"/>
                    <a:pt x="664" y="24"/>
                  </a:cubicBezTo>
                  <a:cubicBezTo>
                    <a:pt x="673" y="5"/>
                    <a:pt x="685" y="0"/>
                    <a:pt x="705" y="9"/>
                  </a:cubicBezTo>
                  <a:cubicBezTo>
                    <a:pt x="743" y="25"/>
                    <a:pt x="782" y="42"/>
                    <a:pt x="820" y="59"/>
                  </a:cubicBezTo>
                  <a:cubicBezTo>
                    <a:pt x="840" y="67"/>
                    <a:pt x="845" y="79"/>
                    <a:pt x="837" y="100"/>
                  </a:cubicBezTo>
                  <a:cubicBezTo>
                    <a:pt x="828" y="125"/>
                    <a:pt x="818" y="150"/>
                    <a:pt x="806" y="174"/>
                  </a:cubicBezTo>
                  <a:cubicBezTo>
                    <a:pt x="801" y="186"/>
                    <a:pt x="805" y="192"/>
                    <a:pt x="814" y="201"/>
                  </a:cubicBezTo>
                  <a:cubicBezTo>
                    <a:pt x="843" y="229"/>
                    <a:pt x="871" y="257"/>
                    <a:pt x="899" y="287"/>
                  </a:cubicBezTo>
                  <a:cubicBezTo>
                    <a:pt x="908" y="298"/>
                    <a:pt x="916" y="301"/>
                    <a:pt x="929" y="295"/>
                  </a:cubicBezTo>
                  <a:cubicBezTo>
                    <a:pt x="948" y="286"/>
                    <a:pt x="968" y="279"/>
                    <a:pt x="987" y="272"/>
                  </a:cubicBezTo>
                  <a:cubicBezTo>
                    <a:pt x="1010" y="264"/>
                    <a:pt x="1019" y="268"/>
                    <a:pt x="1028" y="290"/>
                  </a:cubicBezTo>
                  <a:cubicBezTo>
                    <a:pt x="1043" y="327"/>
                    <a:pt x="1058" y="364"/>
                    <a:pt x="1072" y="401"/>
                  </a:cubicBezTo>
                  <a:cubicBezTo>
                    <a:pt x="1074" y="406"/>
                    <a:pt x="1075" y="411"/>
                    <a:pt x="1079" y="421"/>
                  </a:cubicBezTo>
                  <a:close/>
                  <a:moveTo>
                    <a:pt x="817" y="550"/>
                  </a:moveTo>
                  <a:cubicBezTo>
                    <a:pt x="819" y="401"/>
                    <a:pt x="693" y="276"/>
                    <a:pt x="535" y="281"/>
                  </a:cubicBezTo>
                  <a:cubicBezTo>
                    <a:pt x="395" y="286"/>
                    <a:pt x="280" y="407"/>
                    <a:pt x="281" y="555"/>
                  </a:cubicBezTo>
                  <a:cubicBezTo>
                    <a:pt x="282" y="699"/>
                    <a:pt x="405" y="819"/>
                    <a:pt x="552" y="818"/>
                  </a:cubicBezTo>
                  <a:cubicBezTo>
                    <a:pt x="696" y="816"/>
                    <a:pt x="818" y="694"/>
                    <a:pt x="817"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06605FF0-D4B8-4733-B6E4-534C17FF5A90}"/>
                </a:ext>
              </a:extLst>
            </p:cNvPr>
            <p:cNvSpPr>
              <a:spLocks/>
            </p:cNvSpPr>
            <p:nvPr/>
          </p:nvSpPr>
          <p:spPr bwMode="auto">
            <a:xfrm>
              <a:off x="14805026" y="5038725"/>
              <a:ext cx="1081088" cy="463550"/>
            </a:xfrm>
            <a:custGeom>
              <a:avLst/>
              <a:gdLst>
                <a:gd name="T0" fmla="*/ 0 w 499"/>
                <a:gd name="T1" fmla="*/ 1 h 215"/>
                <a:gd name="T2" fmla="*/ 89 w 499"/>
                <a:gd name="T3" fmla="*/ 1 h 215"/>
                <a:gd name="T4" fmla="*/ 107 w 499"/>
                <a:gd name="T5" fmla="*/ 8 h 215"/>
                <a:gd name="T6" fmla="*/ 478 w 499"/>
                <a:gd name="T7" fmla="*/ 147 h 215"/>
                <a:gd name="T8" fmla="*/ 498 w 499"/>
                <a:gd name="T9" fmla="*/ 170 h 215"/>
                <a:gd name="T10" fmla="*/ 497 w 499"/>
                <a:gd name="T11" fmla="*/ 215 h 215"/>
                <a:gd name="T12" fmla="*/ 0 w 499"/>
                <a:gd name="T13" fmla="*/ 1 h 215"/>
              </a:gdLst>
              <a:ahLst/>
              <a:cxnLst>
                <a:cxn ang="0">
                  <a:pos x="T0" y="T1"/>
                </a:cxn>
                <a:cxn ang="0">
                  <a:pos x="T2" y="T3"/>
                </a:cxn>
                <a:cxn ang="0">
                  <a:pos x="T4" y="T5"/>
                </a:cxn>
                <a:cxn ang="0">
                  <a:pos x="T6" y="T7"/>
                </a:cxn>
                <a:cxn ang="0">
                  <a:pos x="T8" y="T9"/>
                </a:cxn>
                <a:cxn ang="0">
                  <a:pos x="T10" y="T11"/>
                </a:cxn>
                <a:cxn ang="0">
                  <a:pos x="T12" y="T13"/>
                </a:cxn>
              </a:cxnLst>
              <a:rect l="0" t="0" r="r" b="b"/>
              <a:pathLst>
                <a:path w="499" h="215">
                  <a:moveTo>
                    <a:pt x="0" y="1"/>
                  </a:moveTo>
                  <a:cubicBezTo>
                    <a:pt x="30" y="1"/>
                    <a:pt x="59" y="0"/>
                    <a:pt x="89" y="1"/>
                  </a:cubicBezTo>
                  <a:cubicBezTo>
                    <a:pt x="95" y="1"/>
                    <a:pt x="102" y="5"/>
                    <a:pt x="107" y="8"/>
                  </a:cubicBezTo>
                  <a:cubicBezTo>
                    <a:pt x="221" y="81"/>
                    <a:pt x="345" y="126"/>
                    <a:pt x="478" y="147"/>
                  </a:cubicBezTo>
                  <a:cubicBezTo>
                    <a:pt x="492" y="150"/>
                    <a:pt x="499" y="154"/>
                    <a:pt x="498" y="170"/>
                  </a:cubicBezTo>
                  <a:cubicBezTo>
                    <a:pt x="496" y="184"/>
                    <a:pt x="497" y="199"/>
                    <a:pt x="497" y="215"/>
                  </a:cubicBezTo>
                  <a:cubicBezTo>
                    <a:pt x="310" y="191"/>
                    <a:pt x="144" y="122"/>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8">
              <a:extLst>
                <a:ext uri="{FF2B5EF4-FFF2-40B4-BE49-F238E27FC236}">
                  <a16:creationId xmlns:a16="http://schemas.microsoft.com/office/drawing/2014/main" id="{989B5C1E-91DC-4D94-9E51-B32DAFC0AE6F}"/>
                </a:ext>
              </a:extLst>
            </p:cNvPr>
            <p:cNvSpPr>
              <a:spLocks/>
            </p:cNvSpPr>
            <p:nvPr/>
          </p:nvSpPr>
          <p:spPr bwMode="auto">
            <a:xfrm>
              <a:off x="14814551" y="1292225"/>
              <a:ext cx="1065213" cy="449263"/>
            </a:xfrm>
            <a:custGeom>
              <a:avLst/>
              <a:gdLst>
                <a:gd name="T0" fmla="*/ 0 w 492"/>
                <a:gd name="T1" fmla="*/ 207 h 208"/>
                <a:gd name="T2" fmla="*/ 492 w 492"/>
                <a:gd name="T3" fmla="*/ 0 h 208"/>
                <a:gd name="T4" fmla="*/ 492 w 492"/>
                <a:gd name="T5" fmla="*/ 60 h 208"/>
                <a:gd name="T6" fmla="*/ 351 w 492"/>
                <a:gd name="T7" fmla="*/ 92 h 208"/>
                <a:gd name="T8" fmla="*/ 122 w 492"/>
                <a:gd name="T9" fmla="*/ 193 h 208"/>
                <a:gd name="T10" fmla="*/ 74 w 492"/>
                <a:gd name="T11" fmla="*/ 207 h 208"/>
                <a:gd name="T12" fmla="*/ 0 w 492"/>
                <a:gd name="T13" fmla="*/ 207 h 208"/>
              </a:gdLst>
              <a:ahLst/>
              <a:cxnLst>
                <a:cxn ang="0">
                  <a:pos x="T0" y="T1"/>
                </a:cxn>
                <a:cxn ang="0">
                  <a:pos x="T2" y="T3"/>
                </a:cxn>
                <a:cxn ang="0">
                  <a:pos x="T4" y="T5"/>
                </a:cxn>
                <a:cxn ang="0">
                  <a:pos x="T6" y="T7"/>
                </a:cxn>
                <a:cxn ang="0">
                  <a:pos x="T8" y="T9"/>
                </a:cxn>
                <a:cxn ang="0">
                  <a:pos x="T10" y="T11"/>
                </a:cxn>
                <a:cxn ang="0">
                  <a:pos x="T12" y="T13"/>
                </a:cxn>
              </a:cxnLst>
              <a:rect l="0" t="0" r="r" b="b"/>
              <a:pathLst>
                <a:path w="492" h="208">
                  <a:moveTo>
                    <a:pt x="0" y="207"/>
                  </a:moveTo>
                  <a:cubicBezTo>
                    <a:pt x="92" y="126"/>
                    <a:pt x="276" y="24"/>
                    <a:pt x="492" y="0"/>
                  </a:cubicBezTo>
                  <a:cubicBezTo>
                    <a:pt x="492" y="20"/>
                    <a:pt x="492" y="40"/>
                    <a:pt x="492" y="60"/>
                  </a:cubicBezTo>
                  <a:cubicBezTo>
                    <a:pt x="445" y="71"/>
                    <a:pt x="397" y="79"/>
                    <a:pt x="351" y="92"/>
                  </a:cubicBezTo>
                  <a:cubicBezTo>
                    <a:pt x="270" y="115"/>
                    <a:pt x="193" y="147"/>
                    <a:pt x="122" y="193"/>
                  </a:cubicBezTo>
                  <a:cubicBezTo>
                    <a:pt x="107" y="203"/>
                    <a:pt x="92" y="208"/>
                    <a:pt x="74" y="207"/>
                  </a:cubicBezTo>
                  <a:cubicBezTo>
                    <a:pt x="51" y="206"/>
                    <a:pt x="28" y="207"/>
                    <a:pt x="0"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9">
              <a:extLst>
                <a:ext uri="{FF2B5EF4-FFF2-40B4-BE49-F238E27FC236}">
                  <a16:creationId xmlns:a16="http://schemas.microsoft.com/office/drawing/2014/main" id="{921AA03C-557A-44E1-9CCE-6E5637C15976}"/>
                </a:ext>
              </a:extLst>
            </p:cNvPr>
            <p:cNvSpPr>
              <a:spLocks/>
            </p:cNvSpPr>
            <p:nvPr/>
          </p:nvSpPr>
          <p:spPr bwMode="auto">
            <a:xfrm>
              <a:off x="16373476" y="5043488"/>
              <a:ext cx="1082675" cy="457200"/>
            </a:xfrm>
            <a:custGeom>
              <a:avLst/>
              <a:gdLst>
                <a:gd name="T0" fmla="*/ 2 w 500"/>
                <a:gd name="T1" fmla="*/ 212 h 212"/>
                <a:gd name="T2" fmla="*/ 1 w 500"/>
                <a:gd name="T3" fmla="*/ 198 h 212"/>
                <a:gd name="T4" fmla="*/ 1 w 500"/>
                <a:gd name="T5" fmla="*/ 154 h 212"/>
                <a:gd name="T6" fmla="*/ 166 w 500"/>
                <a:gd name="T7" fmla="*/ 113 h 212"/>
                <a:gd name="T8" fmla="*/ 377 w 500"/>
                <a:gd name="T9" fmla="*/ 14 h 212"/>
                <a:gd name="T10" fmla="*/ 424 w 500"/>
                <a:gd name="T11" fmla="*/ 1 h 212"/>
                <a:gd name="T12" fmla="*/ 500 w 500"/>
                <a:gd name="T13" fmla="*/ 1 h 212"/>
                <a:gd name="T14" fmla="*/ 2 w 500"/>
                <a:gd name="T15" fmla="*/ 212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0" h="212">
                  <a:moveTo>
                    <a:pt x="2" y="212"/>
                  </a:moveTo>
                  <a:cubicBezTo>
                    <a:pt x="1" y="207"/>
                    <a:pt x="1" y="202"/>
                    <a:pt x="1" y="198"/>
                  </a:cubicBezTo>
                  <a:cubicBezTo>
                    <a:pt x="0" y="182"/>
                    <a:pt x="1" y="167"/>
                    <a:pt x="1" y="154"/>
                  </a:cubicBezTo>
                  <a:cubicBezTo>
                    <a:pt x="57" y="140"/>
                    <a:pt x="113" y="129"/>
                    <a:pt x="166" y="113"/>
                  </a:cubicBezTo>
                  <a:cubicBezTo>
                    <a:pt x="241" y="90"/>
                    <a:pt x="311" y="57"/>
                    <a:pt x="377" y="14"/>
                  </a:cubicBezTo>
                  <a:cubicBezTo>
                    <a:pt x="392" y="5"/>
                    <a:pt x="406" y="0"/>
                    <a:pt x="424" y="1"/>
                  </a:cubicBezTo>
                  <a:cubicBezTo>
                    <a:pt x="448" y="2"/>
                    <a:pt x="472" y="1"/>
                    <a:pt x="500" y="1"/>
                  </a:cubicBezTo>
                  <a:cubicBezTo>
                    <a:pt x="353" y="119"/>
                    <a:pt x="187" y="189"/>
                    <a:pt x="2" y="2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0">
              <a:extLst>
                <a:ext uri="{FF2B5EF4-FFF2-40B4-BE49-F238E27FC236}">
                  <a16:creationId xmlns:a16="http://schemas.microsoft.com/office/drawing/2014/main" id="{941289FA-0549-4171-9E1C-CBF2699C1DBF}"/>
                </a:ext>
              </a:extLst>
            </p:cNvPr>
            <p:cNvSpPr>
              <a:spLocks/>
            </p:cNvSpPr>
            <p:nvPr/>
          </p:nvSpPr>
          <p:spPr bwMode="auto">
            <a:xfrm>
              <a:off x="16378238" y="1290638"/>
              <a:ext cx="1054100" cy="471488"/>
            </a:xfrm>
            <a:custGeom>
              <a:avLst/>
              <a:gdLst>
                <a:gd name="T0" fmla="*/ 0 w 487"/>
                <a:gd name="T1" fmla="*/ 62 h 218"/>
                <a:gd name="T2" fmla="*/ 0 w 487"/>
                <a:gd name="T3" fmla="*/ 15 h 218"/>
                <a:gd name="T4" fmla="*/ 1 w 487"/>
                <a:gd name="T5" fmla="*/ 0 h 218"/>
                <a:gd name="T6" fmla="*/ 487 w 487"/>
                <a:gd name="T7" fmla="*/ 206 h 218"/>
                <a:gd name="T8" fmla="*/ 360 w 487"/>
                <a:gd name="T9" fmla="*/ 190 h 218"/>
                <a:gd name="T10" fmla="*/ 24 w 487"/>
                <a:gd name="T11" fmla="*/ 67 h 218"/>
                <a:gd name="T12" fmla="*/ 0 w 487"/>
                <a:gd name="T13" fmla="*/ 62 h 218"/>
              </a:gdLst>
              <a:ahLst/>
              <a:cxnLst>
                <a:cxn ang="0">
                  <a:pos x="T0" y="T1"/>
                </a:cxn>
                <a:cxn ang="0">
                  <a:pos x="T2" y="T3"/>
                </a:cxn>
                <a:cxn ang="0">
                  <a:pos x="T4" y="T5"/>
                </a:cxn>
                <a:cxn ang="0">
                  <a:pos x="T6" y="T7"/>
                </a:cxn>
                <a:cxn ang="0">
                  <a:pos x="T8" y="T9"/>
                </a:cxn>
                <a:cxn ang="0">
                  <a:pos x="T10" y="T11"/>
                </a:cxn>
                <a:cxn ang="0">
                  <a:pos x="T12" y="T13"/>
                </a:cxn>
              </a:cxnLst>
              <a:rect l="0" t="0" r="r" b="b"/>
              <a:pathLst>
                <a:path w="487" h="218">
                  <a:moveTo>
                    <a:pt x="0" y="62"/>
                  </a:moveTo>
                  <a:cubicBezTo>
                    <a:pt x="0" y="46"/>
                    <a:pt x="0" y="31"/>
                    <a:pt x="0" y="15"/>
                  </a:cubicBezTo>
                  <a:cubicBezTo>
                    <a:pt x="0" y="11"/>
                    <a:pt x="0" y="6"/>
                    <a:pt x="1" y="0"/>
                  </a:cubicBezTo>
                  <a:cubicBezTo>
                    <a:pt x="183" y="23"/>
                    <a:pt x="345" y="91"/>
                    <a:pt x="487" y="206"/>
                  </a:cubicBezTo>
                  <a:cubicBezTo>
                    <a:pt x="444" y="203"/>
                    <a:pt x="402" y="218"/>
                    <a:pt x="360" y="190"/>
                  </a:cubicBezTo>
                  <a:cubicBezTo>
                    <a:pt x="258" y="124"/>
                    <a:pt x="144" y="85"/>
                    <a:pt x="24" y="67"/>
                  </a:cubicBezTo>
                  <a:cubicBezTo>
                    <a:pt x="17" y="66"/>
                    <a:pt x="9" y="64"/>
                    <a:pt x="0"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1">
              <a:extLst>
                <a:ext uri="{FF2B5EF4-FFF2-40B4-BE49-F238E27FC236}">
                  <a16:creationId xmlns:a16="http://schemas.microsoft.com/office/drawing/2014/main" id="{E35729C6-FCCD-4EFC-9FD4-7B42D198BFFC}"/>
                </a:ext>
              </a:extLst>
            </p:cNvPr>
            <p:cNvSpPr>
              <a:spLocks/>
            </p:cNvSpPr>
            <p:nvPr/>
          </p:nvSpPr>
          <p:spPr bwMode="auto">
            <a:xfrm>
              <a:off x="17753013" y="3619500"/>
              <a:ext cx="481013" cy="928688"/>
            </a:xfrm>
            <a:custGeom>
              <a:avLst/>
              <a:gdLst>
                <a:gd name="T0" fmla="*/ 222 w 222"/>
                <a:gd name="T1" fmla="*/ 5 h 430"/>
                <a:gd name="T2" fmla="*/ 84 w 222"/>
                <a:gd name="T3" fmla="*/ 411 h 430"/>
                <a:gd name="T4" fmla="*/ 52 w 222"/>
                <a:gd name="T5" fmla="*/ 429 h 430"/>
                <a:gd name="T6" fmla="*/ 0 w 222"/>
                <a:gd name="T7" fmla="*/ 429 h 430"/>
                <a:gd name="T8" fmla="*/ 44 w 222"/>
                <a:gd name="T9" fmla="*/ 355 h 430"/>
                <a:gd name="T10" fmla="*/ 160 w 222"/>
                <a:gd name="T11" fmla="*/ 19 h 430"/>
                <a:gd name="T12" fmla="*/ 181 w 222"/>
                <a:gd name="T13" fmla="*/ 2 h 430"/>
                <a:gd name="T14" fmla="*/ 222 w 222"/>
                <a:gd name="T15" fmla="*/ 5 h 4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430">
                  <a:moveTo>
                    <a:pt x="222" y="5"/>
                  </a:moveTo>
                  <a:cubicBezTo>
                    <a:pt x="207" y="153"/>
                    <a:pt x="159" y="287"/>
                    <a:pt x="84" y="411"/>
                  </a:cubicBezTo>
                  <a:cubicBezTo>
                    <a:pt x="76" y="424"/>
                    <a:pt x="67" y="430"/>
                    <a:pt x="52" y="429"/>
                  </a:cubicBezTo>
                  <a:cubicBezTo>
                    <a:pt x="36" y="427"/>
                    <a:pt x="19" y="429"/>
                    <a:pt x="0" y="429"/>
                  </a:cubicBezTo>
                  <a:cubicBezTo>
                    <a:pt x="16" y="402"/>
                    <a:pt x="31" y="379"/>
                    <a:pt x="44" y="355"/>
                  </a:cubicBezTo>
                  <a:cubicBezTo>
                    <a:pt x="105" y="251"/>
                    <a:pt x="142" y="138"/>
                    <a:pt x="160" y="19"/>
                  </a:cubicBezTo>
                  <a:cubicBezTo>
                    <a:pt x="162" y="5"/>
                    <a:pt x="167" y="0"/>
                    <a:pt x="181" y="2"/>
                  </a:cubicBezTo>
                  <a:cubicBezTo>
                    <a:pt x="194" y="4"/>
                    <a:pt x="208" y="4"/>
                    <a:pt x="222"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2">
              <a:extLst>
                <a:ext uri="{FF2B5EF4-FFF2-40B4-BE49-F238E27FC236}">
                  <a16:creationId xmlns:a16="http://schemas.microsoft.com/office/drawing/2014/main" id="{FCE2A651-6D4E-40B9-A605-B31C4D99729C}"/>
                </a:ext>
              </a:extLst>
            </p:cNvPr>
            <p:cNvSpPr>
              <a:spLocks/>
            </p:cNvSpPr>
            <p:nvPr/>
          </p:nvSpPr>
          <p:spPr bwMode="auto">
            <a:xfrm>
              <a:off x="14017626" y="2227263"/>
              <a:ext cx="490538" cy="900113"/>
            </a:xfrm>
            <a:custGeom>
              <a:avLst/>
              <a:gdLst>
                <a:gd name="T0" fmla="*/ 0 w 227"/>
                <a:gd name="T1" fmla="*/ 416 h 417"/>
                <a:gd name="T2" fmla="*/ 42 w 227"/>
                <a:gd name="T3" fmla="*/ 240 h 417"/>
                <a:gd name="T4" fmla="*/ 147 w 227"/>
                <a:gd name="T5" fmla="*/ 17 h 417"/>
                <a:gd name="T6" fmla="*/ 176 w 227"/>
                <a:gd name="T7" fmla="*/ 1 h 417"/>
                <a:gd name="T8" fmla="*/ 227 w 227"/>
                <a:gd name="T9" fmla="*/ 1 h 417"/>
                <a:gd name="T10" fmla="*/ 156 w 227"/>
                <a:gd name="T11" fmla="*/ 127 h 417"/>
                <a:gd name="T12" fmla="*/ 70 w 227"/>
                <a:gd name="T13" fmla="*/ 397 h 417"/>
                <a:gd name="T14" fmla="*/ 47 w 227"/>
                <a:gd name="T15" fmla="*/ 416 h 417"/>
                <a:gd name="T16" fmla="*/ 0 w 227"/>
                <a:gd name="T17" fmla="*/ 416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417">
                  <a:moveTo>
                    <a:pt x="0" y="416"/>
                  </a:moveTo>
                  <a:cubicBezTo>
                    <a:pt x="15" y="354"/>
                    <a:pt x="26" y="296"/>
                    <a:pt x="42" y="240"/>
                  </a:cubicBezTo>
                  <a:cubicBezTo>
                    <a:pt x="66" y="161"/>
                    <a:pt x="103" y="87"/>
                    <a:pt x="147" y="17"/>
                  </a:cubicBezTo>
                  <a:cubicBezTo>
                    <a:pt x="154" y="5"/>
                    <a:pt x="162" y="0"/>
                    <a:pt x="176" y="1"/>
                  </a:cubicBezTo>
                  <a:cubicBezTo>
                    <a:pt x="193" y="2"/>
                    <a:pt x="210" y="1"/>
                    <a:pt x="227" y="1"/>
                  </a:cubicBezTo>
                  <a:cubicBezTo>
                    <a:pt x="203" y="44"/>
                    <a:pt x="178" y="85"/>
                    <a:pt x="156" y="127"/>
                  </a:cubicBezTo>
                  <a:cubicBezTo>
                    <a:pt x="112" y="212"/>
                    <a:pt x="84" y="303"/>
                    <a:pt x="70" y="397"/>
                  </a:cubicBezTo>
                  <a:cubicBezTo>
                    <a:pt x="67" y="413"/>
                    <a:pt x="62" y="417"/>
                    <a:pt x="47" y="416"/>
                  </a:cubicBezTo>
                  <a:cubicBezTo>
                    <a:pt x="34" y="415"/>
                    <a:pt x="20" y="416"/>
                    <a:pt x="0" y="4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3">
              <a:extLst>
                <a:ext uri="{FF2B5EF4-FFF2-40B4-BE49-F238E27FC236}">
                  <a16:creationId xmlns:a16="http://schemas.microsoft.com/office/drawing/2014/main" id="{DDAD3E71-DC41-4A71-874E-440EBA17A13E}"/>
                </a:ext>
              </a:extLst>
            </p:cNvPr>
            <p:cNvSpPr>
              <a:spLocks/>
            </p:cNvSpPr>
            <p:nvPr/>
          </p:nvSpPr>
          <p:spPr bwMode="auto">
            <a:xfrm>
              <a:off x="14020801" y="3619500"/>
              <a:ext cx="473075" cy="920750"/>
            </a:xfrm>
            <a:custGeom>
              <a:avLst/>
              <a:gdLst>
                <a:gd name="T0" fmla="*/ 218 w 218"/>
                <a:gd name="T1" fmla="*/ 425 h 426"/>
                <a:gd name="T2" fmla="*/ 158 w 218"/>
                <a:gd name="T3" fmla="*/ 425 h 426"/>
                <a:gd name="T4" fmla="*/ 143 w 218"/>
                <a:gd name="T5" fmla="*/ 415 h 426"/>
                <a:gd name="T6" fmla="*/ 7 w 218"/>
                <a:gd name="T7" fmla="*/ 47 h 426"/>
                <a:gd name="T8" fmla="*/ 3 w 218"/>
                <a:gd name="T9" fmla="*/ 25 h 426"/>
                <a:gd name="T10" fmla="*/ 0 w 218"/>
                <a:gd name="T11" fmla="*/ 2 h 426"/>
                <a:gd name="T12" fmla="*/ 50 w 218"/>
                <a:gd name="T13" fmla="*/ 2 h 426"/>
                <a:gd name="T14" fmla="*/ 63 w 218"/>
                <a:gd name="T15" fmla="*/ 20 h 426"/>
                <a:gd name="T16" fmla="*/ 142 w 218"/>
                <a:gd name="T17" fmla="*/ 285 h 426"/>
                <a:gd name="T18" fmla="*/ 218 w 218"/>
                <a:gd name="T19" fmla="*/ 425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426">
                  <a:moveTo>
                    <a:pt x="218" y="425"/>
                  </a:moveTo>
                  <a:cubicBezTo>
                    <a:pt x="199" y="425"/>
                    <a:pt x="178" y="426"/>
                    <a:pt x="158" y="425"/>
                  </a:cubicBezTo>
                  <a:cubicBezTo>
                    <a:pt x="152" y="425"/>
                    <a:pt x="146" y="419"/>
                    <a:pt x="143" y="415"/>
                  </a:cubicBezTo>
                  <a:cubicBezTo>
                    <a:pt x="73" y="301"/>
                    <a:pt x="27" y="179"/>
                    <a:pt x="7" y="47"/>
                  </a:cubicBezTo>
                  <a:cubicBezTo>
                    <a:pt x="6" y="40"/>
                    <a:pt x="4" y="33"/>
                    <a:pt x="3" y="25"/>
                  </a:cubicBezTo>
                  <a:cubicBezTo>
                    <a:pt x="2" y="18"/>
                    <a:pt x="1" y="11"/>
                    <a:pt x="0" y="2"/>
                  </a:cubicBezTo>
                  <a:cubicBezTo>
                    <a:pt x="17" y="2"/>
                    <a:pt x="34" y="0"/>
                    <a:pt x="50" y="2"/>
                  </a:cubicBezTo>
                  <a:cubicBezTo>
                    <a:pt x="55" y="3"/>
                    <a:pt x="62" y="14"/>
                    <a:pt x="63" y="20"/>
                  </a:cubicBezTo>
                  <a:cubicBezTo>
                    <a:pt x="77" y="112"/>
                    <a:pt x="102" y="201"/>
                    <a:pt x="142" y="285"/>
                  </a:cubicBezTo>
                  <a:cubicBezTo>
                    <a:pt x="165" y="332"/>
                    <a:pt x="192" y="377"/>
                    <a:pt x="218" y="4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4">
              <a:extLst>
                <a:ext uri="{FF2B5EF4-FFF2-40B4-BE49-F238E27FC236}">
                  <a16:creationId xmlns:a16="http://schemas.microsoft.com/office/drawing/2014/main" id="{DF2D95E2-B88D-4EE2-80A2-B40BAA48C4A8}"/>
                </a:ext>
              </a:extLst>
            </p:cNvPr>
            <p:cNvSpPr>
              <a:spLocks/>
            </p:cNvSpPr>
            <p:nvPr/>
          </p:nvSpPr>
          <p:spPr bwMode="auto">
            <a:xfrm>
              <a:off x="17748251" y="2238375"/>
              <a:ext cx="485775" cy="889000"/>
            </a:xfrm>
            <a:custGeom>
              <a:avLst/>
              <a:gdLst>
                <a:gd name="T0" fmla="*/ 224 w 224"/>
                <a:gd name="T1" fmla="*/ 412 h 412"/>
                <a:gd name="T2" fmla="*/ 169 w 224"/>
                <a:gd name="T3" fmla="*/ 412 h 412"/>
                <a:gd name="T4" fmla="*/ 106 w 224"/>
                <a:gd name="T5" fmla="*/ 200 h 412"/>
                <a:gd name="T6" fmla="*/ 0 w 224"/>
                <a:gd name="T7" fmla="*/ 1 h 412"/>
                <a:gd name="T8" fmla="*/ 69 w 224"/>
                <a:gd name="T9" fmla="*/ 1 h 412"/>
                <a:gd name="T10" fmla="*/ 80 w 224"/>
                <a:gd name="T11" fmla="*/ 12 h 412"/>
                <a:gd name="T12" fmla="*/ 224 w 224"/>
                <a:gd name="T13" fmla="*/ 412 h 412"/>
              </a:gdLst>
              <a:ahLst/>
              <a:cxnLst>
                <a:cxn ang="0">
                  <a:pos x="T0" y="T1"/>
                </a:cxn>
                <a:cxn ang="0">
                  <a:pos x="T2" y="T3"/>
                </a:cxn>
                <a:cxn ang="0">
                  <a:pos x="T4" y="T5"/>
                </a:cxn>
                <a:cxn ang="0">
                  <a:pos x="T6" y="T7"/>
                </a:cxn>
                <a:cxn ang="0">
                  <a:pos x="T8" y="T9"/>
                </a:cxn>
                <a:cxn ang="0">
                  <a:pos x="T10" y="T11"/>
                </a:cxn>
                <a:cxn ang="0">
                  <a:pos x="T12" y="T13"/>
                </a:cxn>
              </a:cxnLst>
              <a:rect l="0" t="0" r="r" b="b"/>
              <a:pathLst>
                <a:path w="224" h="412">
                  <a:moveTo>
                    <a:pt x="224" y="412"/>
                  </a:moveTo>
                  <a:cubicBezTo>
                    <a:pt x="204" y="412"/>
                    <a:pt x="184" y="412"/>
                    <a:pt x="169" y="412"/>
                  </a:cubicBezTo>
                  <a:cubicBezTo>
                    <a:pt x="148" y="340"/>
                    <a:pt x="129" y="269"/>
                    <a:pt x="106" y="200"/>
                  </a:cubicBezTo>
                  <a:cubicBezTo>
                    <a:pt x="82" y="130"/>
                    <a:pt x="45" y="65"/>
                    <a:pt x="0" y="1"/>
                  </a:cubicBezTo>
                  <a:cubicBezTo>
                    <a:pt x="25" y="1"/>
                    <a:pt x="47" y="0"/>
                    <a:pt x="69" y="1"/>
                  </a:cubicBezTo>
                  <a:cubicBezTo>
                    <a:pt x="73" y="1"/>
                    <a:pt x="77" y="7"/>
                    <a:pt x="80" y="12"/>
                  </a:cubicBezTo>
                  <a:cubicBezTo>
                    <a:pt x="157" y="135"/>
                    <a:pt x="205" y="268"/>
                    <a:pt x="224" y="4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5">
              <a:extLst>
                <a:ext uri="{FF2B5EF4-FFF2-40B4-BE49-F238E27FC236}">
                  <a16:creationId xmlns:a16="http://schemas.microsoft.com/office/drawing/2014/main" id="{2F88BFF2-6E33-473D-8A59-21CC2557059D}"/>
                </a:ext>
              </a:extLst>
            </p:cNvPr>
            <p:cNvSpPr>
              <a:spLocks/>
            </p:cNvSpPr>
            <p:nvPr/>
          </p:nvSpPr>
          <p:spPr bwMode="auto">
            <a:xfrm>
              <a:off x="18103851" y="3262313"/>
              <a:ext cx="225425" cy="225425"/>
            </a:xfrm>
            <a:custGeom>
              <a:avLst/>
              <a:gdLst>
                <a:gd name="T0" fmla="*/ 0 w 104"/>
                <a:gd name="T1" fmla="*/ 0 h 105"/>
                <a:gd name="T2" fmla="*/ 104 w 104"/>
                <a:gd name="T3" fmla="*/ 0 h 105"/>
                <a:gd name="T4" fmla="*/ 104 w 104"/>
                <a:gd name="T5" fmla="*/ 105 h 105"/>
                <a:gd name="T6" fmla="*/ 0 w 104"/>
                <a:gd name="T7" fmla="*/ 105 h 105"/>
                <a:gd name="T8" fmla="*/ 0 w 104"/>
                <a:gd name="T9" fmla="*/ 0 h 105"/>
              </a:gdLst>
              <a:ahLst/>
              <a:cxnLst>
                <a:cxn ang="0">
                  <a:pos x="T0" y="T1"/>
                </a:cxn>
                <a:cxn ang="0">
                  <a:pos x="T2" y="T3"/>
                </a:cxn>
                <a:cxn ang="0">
                  <a:pos x="T4" y="T5"/>
                </a:cxn>
                <a:cxn ang="0">
                  <a:pos x="T6" y="T7"/>
                </a:cxn>
                <a:cxn ang="0">
                  <a:pos x="T8" y="T9"/>
                </a:cxn>
              </a:cxnLst>
              <a:rect l="0" t="0" r="r" b="b"/>
              <a:pathLst>
                <a:path w="104" h="105">
                  <a:moveTo>
                    <a:pt x="0" y="0"/>
                  </a:moveTo>
                  <a:cubicBezTo>
                    <a:pt x="36" y="0"/>
                    <a:pt x="69" y="0"/>
                    <a:pt x="104" y="0"/>
                  </a:cubicBezTo>
                  <a:cubicBezTo>
                    <a:pt x="104" y="35"/>
                    <a:pt x="104" y="69"/>
                    <a:pt x="104" y="105"/>
                  </a:cubicBezTo>
                  <a:cubicBezTo>
                    <a:pt x="69" y="105"/>
                    <a:pt x="35" y="105"/>
                    <a:pt x="0" y="105"/>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6">
              <a:extLst>
                <a:ext uri="{FF2B5EF4-FFF2-40B4-BE49-F238E27FC236}">
                  <a16:creationId xmlns:a16="http://schemas.microsoft.com/office/drawing/2014/main" id="{519DE734-23C6-428B-A571-25D582B23A71}"/>
                </a:ext>
              </a:extLst>
            </p:cNvPr>
            <p:cNvSpPr>
              <a:spLocks/>
            </p:cNvSpPr>
            <p:nvPr/>
          </p:nvSpPr>
          <p:spPr bwMode="auto">
            <a:xfrm>
              <a:off x="16016288" y="5335588"/>
              <a:ext cx="225425" cy="225425"/>
            </a:xfrm>
            <a:custGeom>
              <a:avLst/>
              <a:gdLst>
                <a:gd name="T0" fmla="*/ 104 w 104"/>
                <a:gd name="T1" fmla="*/ 104 h 104"/>
                <a:gd name="T2" fmla="*/ 0 w 104"/>
                <a:gd name="T3" fmla="*/ 104 h 104"/>
                <a:gd name="T4" fmla="*/ 0 w 104"/>
                <a:gd name="T5" fmla="*/ 0 h 104"/>
                <a:gd name="T6" fmla="*/ 104 w 104"/>
                <a:gd name="T7" fmla="*/ 0 h 104"/>
                <a:gd name="T8" fmla="*/ 104 w 104"/>
                <a:gd name="T9" fmla="*/ 104 h 104"/>
              </a:gdLst>
              <a:ahLst/>
              <a:cxnLst>
                <a:cxn ang="0">
                  <a:pos x="T0" y="T1"/>
                </a:cxn>
                <a:cxn ang="0">
                  <a:pos x="T2" y="T3"/>
                </a:cxn>
                <a:cxn ang="0">
                  <a:pos x="T4" y="T5"/>
                </a:cxn>
                <a:cxn ang="0">
                  <a:pos x="T6" y="T7"/>
                </a:cxn>
                <a:cxn ang="0">
                  <a:pos x="T8" y="T9"/>
                </a:cxn>
              </a:cxnLst>
              <a:rect l="0" t="0" r="r" b="b"/>
              <a:pathLst>
                <a:path w="104" h="104">
                  <a:moveTo>
                    <a:pt x="104" y="104"/>
                  </a:moveTo>
                  <a:cubicBezTo>
                    <a:pt x="69" y="104"/>
                    <a:pt x="35" y="104"/>
                    <a:pt x="0" y="104"/>
                  </a:cubicBezTo>
                  <a:cubicBezTo>
                    <a:pt x="0" y="69"/>
                    <a:pt x="0" y="35"/>
                    <a:pt x="0" y="0"/>
                  </a:cubicBezTo>
                  <a:cubicBezTo>
                    <a:pt x="34" y="0"/>
                    <a:pt x="68" y="0"/>
                    <a:pt x="104" y="0"/>
                  </a:cubicBezTo>
                  <a:cubicBezTo>
                    <a:pt x="104" y="33"/>
                    <a:pt x="104" y="68"/>
                    <a:pt x="104"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7">
              <a:extLst>
                <a:ext uri="{FF2B5EF4-FFF2-40B4-BE49-F238E27FC236}">
                  <a16:creationId xmlns:a16="http://schemas.microsoft.com/office/drawing/2014/main" id="{E54C4608-7C41-4DC7-92CC-958D1C5AF45A}"/>
                </a:ext>
              </a:extLst>
            </p:cNvPr>
            <p:cNvSpPr>
              <a:spLocks/>
            </p:cNvSpPr>
            <p:nvPr/>
          </p:nvSpPr>
          <p:spPr bwMode="auto">
            <a:xfrm>
              <a:off x="16016288" y="1231900"/>
              <a:ext cx="225425" cy="222250"/>
            </a:xfrm>
            <a:custGeom>
              <a:avLst/>
              <a:gdLst>
                <a:gd name="T0" fmla="*/ 104 w 104"/>
                <a:gd name="T1" fmla="*/ 103 h 103"/>
                <a:gd name="T2" fmla="*/ 0 w 104"/>
                <a:gd name="T3" fmla="*/ 103 h 103"/>
                <a:gd name="T4" fmla="*/ 0 w 104"/>
                <a:gd name="T5" fmla="*/ 0 h 103"/>
                <a:gd name="T6" fmla="*/ 104 w 104"/>
                <a:gd name="T7" fmla="*/ 0 h 103"/>
                <a:gd name="T8" fmla="*/ 104 w 104"/>
                <a:gd name="T9" fmla="*/ 103 h 103"/>
              </a:gdLst>
              <a:ahLst/>
              <a:cxnLst>
                <a:cxn ang="0">
                  <a:pos x="T0" y="T1"/>
                </a:cxn>
                <a:cxn ang="0">
                  <a:pos x="T2" y="T3"/>
                </a:cxn>
                <a:cxn ang="0">
                  <a:pos x="T4" y="T5"/>
                </a:cxn>
                <a:cxn ang="0">
                  <a:pos x="T6" y="T7"/>
                </a:cxn>
                <a:cxn ang="0">
                  <a:pos x="T8" y="T9"/>
                </a:cxn>
              </a:cxnLst>
              <a:rect l="0" t="0" r="r" b="b"/>
              <a:pathLst>
                <a:path w="104" h="103">
                  <a:moveTo>
                    <a:pt x="104" y="103"/>
                  </a:moveTo>
                  <a:cubicBezTo>
                    <a:pt x="69" y="103"/>
                    <a:pt x="35" y="103"/>
                    <a:pt x="0" y="103"/>
                  </a:cubicBezTo>
                  <a:cubicBezTo>
                    <a:pt x="0" y="69"/>
                    <a:pt x="0" y="36"/>
                    <a:pt x="0" y="0"/>
                  </a:cubicBezTo>
                  <a:cubicBezTo>
                    <a:pt x="34" y="0"/>
                    <a:pt x="69" y="0"/>
                    <a:pt x="104" y="0"/>
                  </a:cubicBezTo>
                  <a:cubicBezTo>
                    <a:pt x="104" y="35"/>
                    <a:pt x="104" y="68"/>
                    <a:pt x="104"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8">
              <a:extLst>
                <a:ext uri="{FF2B5EF4-FFF2-40B4-BE49-F238E27FC236}">
                  <a16:creationId xmlns:a16="http://schemas.microsoft.com/office/drawing/2014/main" id="{0EB9E5FA-08CF-4BED-9906-518884F1BCB3}"/>
                </a:ext>
              </a:extLst>
            </p:cNvPr>
            <p:cNvSpPr>
              <a:spLocks/>
            </p:cNvSpPr>
            <p:nvPr/>
          </p:nvSpPr>
          <p:spPr bwMode="auto">
            <a:xfrm>
              <a:off x="14506576" y="1860550"/>
              <a:ext cx="227013" cy="222250"/>
            </a:xfrm>
            <a:custGeom>
              <a:avLst/>
              <a:gdLst>
                <a:gd name="T0" fmla="*/ 0 w 105"/>
                <a:gd name="T1" fmla="*/ 0 h 103"/>
                <a:gd name="T2" fmla="*/ 105 w 105"/>
                <a:gd name="T3" fmla="*/ 0 h 103"/>
                <a:gd name="T4" fmla="*/ 105 w 105"/>
                <a:gd name="T5" fmla="*/ 103 h 103"/>
                <a:gd name="T6" fmla="*/ 0 w 105"/>
                <a:gd name="T7" fmla="*/ 103 h 103"/>
                <a:gd name="T8" fmla="*/ 0 w 105"/>
                <a:gd name="T9" fmla="*/ 0 h 103"/>
              </a:gdLst>
              <a:ahLst/>
              <a:cxnLst>
                <a:cxn ang="0">
                  <a:pos x="T0" y="T1"/>
                </a:cxn>
                <a:cxn ang="0">
                  <a:pos x="T2" y="T3"/>
                </a:cxn>
                <a:cxn ang="0">
                  <a:pos x="T4" y="T5"/>
                </a:cxn>
                <a:cxn ang="0">
                  <a:pos x="T6" y="T7"/>
                </a:cxn>
                <a:cxn ang="0">
                  <a:pos x="T8" y="T9"/>
                </a:cxn>
              </a:cxnLst>
              <a:rect l="0" t="0" r="r" b="b"/>
              <a:pathLst>
                <a:path w="105" h="103">
                  <a:moveTo>
                    <a:pt x="0" y="0"/>
                  </a:moveTo>
                  <a:cubicBezTo>
                    <a:pt x="37" y="0"/>
                    <a:pt x="70" y="0"/>
                    <a:pt x="105" y="0"/>
                  </a:cubicBezTo>
                  <a:cubicBezTo>
                    <a:pt x="105" y="35"/>
                    <a:pt x="105" y="68"/>
                    <a:pt x="105" y="103"/>
                  </a:cubicBezTo>
                  <a:cubicBezTo>
                    <a:pt x="70" y="103"/>
                    <a:pt x="36" y="103"/>
                    <a:pt x="0" y="103"/>
                  </a:cubicBezTo>
                  <a:cubicBezTo>
                    <a:pt x="0" y="68"/>
                    <a:pt x="0" y="3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19">
              <a:extLst>
                <a:ext uri="{FF2B5EF4-FFF2-40B4-BE49-F238E27FC236}">
                  <a16:creationId xmlns:a16="http://schemas.microsoft.com/office/drawing/2014/main" id="{E07661D4-CFF4-443E-825D-A55412F3CE51}"/>
                </a:ext>
              </a:extLst>
            </p:cNvPr>
            <p:cNvSpPr>
              <a:spLocks/>
            </p:cNvSpPr>
            <p:nvPr/>
          </p:nvSpPr>
          <p:spPr bwMode="auto">
            <a:xfrm>
              <a:off x="13935076" y="3262313"/>
              <a:ext cx="220663" cy="225425"/>
            </a:xfrm>
            <a:custGeom>
              <a:avLst/>
              <a:gdLst>
                <a:gd name="T0" fmla="*/ 0 w 102"/>
                <a:gd name="T1" fmla="*/ 0 h 105"/>
                <a:gd name="T2" fmla="*/ 102 w 102"/>
                <a:gd name="T3" fmla="*/ 0 h 105"/>
                <a:gd name="T4" fmla="*/ 102 w 102"/>
                <a:gd name="T5" fmla="*/ 105 h 105"/>
                <a:gd name="T6" fmla="*/ 0 w 102"/>
                <a:gd name="T7" fmla="*/ 105 h 105"/>
                <a:gd name="T8" fmla="*/ 0 w 102"/>
                <a:gd name="T9" fmla="*/ 0 h 105"/>
              </a:gdLst>
              <a:ahLst/>
              <a:cxnLst>
                <a:cxn ang="0">
                  <a:pos x="T0" y="T1"/>
                </a:cxn>
                <a:cxn ang="0">
                  <a:pos x="T2" y="T3"/>
                </a:cxn>
                <a:cxn ang="0">
                  <a:pos x="T4" y="T5"/>
                </a:cxn>
                <a:cxn ang="0">
                  <a:pos x="T6" y="T7"/>
                </a:cxn>
                <a:cxn ang="0">
                  <a:pos x="T8" y="T9"/>
                </a:cxn>
              </a:cxnLst>
              <a:rect l="0" t="0" r="r" b="b"/>
              <a:pathLst>
                <a:path w="102" h="105">
                  <a:moveTo>
                    <a:pt x="0" y="0"/>
                  </a:moveTo>
                  <a:cubicBezTo>
                    <a:pt x="35" y="0"/>
                    <a:pt x="68" y="0"/>
                    <a:pt x="102" y="0"/>
                  </a:cubicBezTo>
                  <a:cubicBezTo>
                    <a:pt x="102" y="35"/>
                    <a:pt x="102" y="69"/>
                    <a:pt x="102" y="105"/>
                  </a:cubicBezTo>
                  <a:cubicBezTo>
                    <a:pt x="68" y="105"/>
                    <a:pt x="34" y="105"/>
                    <a:pt x="0" y="105"/>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0">
              <a:extLst>
                <a:ext uri="{FF2B5EF4-FFF2-40B4-BE49-F238E27FC236}">
                  <a16:creationId xmlns:a16="http://schemas.microsoft.com/office/drawing/2014/main" id="{01F3E360-2E0D-491B-990B-1DBC82D4D604}"/>
                </a:ext>
              </a:extLst>
            </p:cNvPr>
            <p:cNvSpPr>
              <a:spLocks/>
            </p:cNvSpPr>
            <p:nvPr/>
          </p:nvSpPr>
          <p:spPr bwMode="auto">
            <a:xfrm>
              <a:off x="14508163" y="4675188"/>
              <a:ext cx="225425" cy="222250"/>
            </a:xfrm>
            <a:custGeom>
              <a:avLst/>
              <a:gdLst>
                <a:gd name="T0" fmla="*/ 0 w 104"/>
                <a:gd name="T1" fmla="*/ 0 h 103"/>
                <a:gd name="T2" fmla="*/ 104 w 104"/>
                <a:gd name="T3" fmla="*/ 0 h 103"/>
                <a:gd name="T4" fmla="*/ 104 w 104"/>
                <a:gd name="T5" fmla="*/ 103 h 103"/>
                <a:gd name="T6" fmla="*/ 0 w 104"/>
                <a:gd name="T7" fmla="*/ 103 h 103"/>
                <a:gd name="T8" fmla="*/ 0 w 104"/>
                <a:gd name="T9" fmla="*/ 0 h 103"/>
              </a:gdLst>
              <a:ahLst/>
              <a:cxnLst>
                <a:cxn ang="0">
                  <a:pos x="T0" y="T1"/>
                </a:cxn>
                <a:cxn ang="0">
                  <a:pos x="T2" y="T3"/>
                </a:cxn>
                <a:cxn ang="0">
                  <a:pos x="T4" y="T5"/>
                </a:cxn>
                <a:cxn ang="0">
                  <a:pos x="T6" y="T7"/>
                </a:cxn>
                <a:cxn ang="0">
                  <a:pos x="T8" y="T9"/>
                </a:cxn>
              </a:cxnLst>
              <a:rect l="0" t="0" r="r" b="b"/>
              <a:pathLst>
                <a:path w="104" h="103">
                  <a:moveTo>
                    <a:pt x="0" y="0"/>
                  </a:moveTo>
                  <a:cubicBezTo>
                    <a:pt x="35" y="0"/>
                    <a:pt x="68" y="0"/>
                    <a:pt x="104" y="0"/>
                  </a:cubicBezTo>
                  <a:cubicBezTo>
                    <a:pt x="104" y="34"/>
                    <a:pt x="104" y="68"/>
                    <a:pt x="104" y="103"/>
                  </a:cubicBezTo>
                  <a:cubicBezTo>
                    <a:pt x="70" y="103"/>
                    <a:pt x="36" y="103"/>
                    <a:pt x="0" y="103"/>
                  </a:cubicBezTo>
                  <a:cubicBezTo>
                    <a:pt x="0" y="70"/>
                    <a:pt x="0" y="36"/>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1">
              <a:extLst>
                <a:ext uri="{FF2B5EF4-FFF2-40B4-BE49-F238E27FC236}">
                  <a16:creationId xmlns:a16="http://schemas.microsoft.com/office/drawing/2014/main" id="{4FA165FF-55DF-4DC6-8378-78AB205D9D4C}"/>
                </a:ext>
              </a:extLst>
            </p:cNvPr>
            <p:cNvSpPr>
              <a:spLocks/>
            </p:cNvSpPr>
            <p:nvPr/>
          </p:nvSpPr>
          <p:spPr bwMode="auto">
            <a:xfrm>
              <a:off x="17460913" y="1860550"/>
              <a:ext cx="222250" cy="222250"/>
            </a:xfrm>
            <a:custGeom>
              <a:avLst/>
              <a:gdLst>
                <a:gd name="T0" fmla="*/ 0 w 103"/>
                <a:gd name="T1" fmla="*/ 0 h 103"/>
                <a:gd name="T2" fmla="*/ 103 w 103"/>
                <a:gd name="T3" fmla="*/ 0 h 103"/>
                <a:gd name="T4" fmla="*/ 103 w 103"/>
                <a:gd name="T5" fmla="*/ 103 h 103"/>
                <a:gd name="T6" fmla="*/ 0 w 103"/>
                <a:gd name="T7" fmla="*/ 103 h 103"/>
                <a:gd name="T8" fmla="*/ 0 w 103"/>
                <a:gd name="T9" fmla="*/ 0 h 103"/>
              </a:gdLst>
              <a:ahLst/>
              <a:cxnLst>
                <a:cxn ang="0">
                  <a:pos x="T0" y="T1"/>
                </a:cxn>
                <a:cxn ang="0">
                  <a:pos x="T2" y="T3"/>
                </a:cxn>
                <a:cxn ang="0">
                  <a:pos x="T4" y="T5"/>
                </a:cxn>
                <a:cxn ang="0">
                  <a:pos x="T6" y="T7"/>
                </a:cxn>
                <a:cxn ang="0">
                  <a:pos x="T8" y="T9"/>
                </a:cxn>
              </a:cxnLst>
              <a:rect l="0" t="0" r="r" b="b"/>
              <a:pathLst>
                <a:path w="103" h="103">
                  <a:moveTo>
                    <a:pt x="0" y="0"/>
                  </a:moveTo>
                  <a:cubicBezTo>
                    <a:pt x="35" y="0"/>
                    <a:pt x="68" y="0"/>
                    <a:pt x="103" y="0"/>
                  </a:cubicBezTo>
                  <a:cubicBezTo>
                    <a:pt x="103" y="34"/>
                    <a:pt x="103" y="68"/>
                    <a:pt x="103" y="103"/>
                  </a:cubicBezTo>
                  <a:cubicBezTo>
                    <a:pt x="69" y="103"/>
                    <a:pt x="35" y="103"/>
                    <a:pt x="0" y="103"/>
                  </a:cubicBezTo>
                  <a:cubicBezTo>
                    <a:pt x="0" y="69"/>
                    <a:pt x="0" y="3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2">
              <a:extLst>
                <a:ext uri="{FF2B5EF4-FFF2-40B4-BE49-F238E27FC236}">
                  <a16:creationId xmlns:a16="http://schemas.microsoft.com/office/drawing/2014/main" id="{3B1041ED-9CBF-4EE4-9C96-2958346859B0}"/>
                </a:ext>
              </a:extLst>
            </p:cNvPr>
            <p:cNvSpPr>
              <a:spLocks/>
            </p:cNvSpPr>
            <p:nvPr/>
          </p:nvSpPr>
          <p:spPr bwMode="auto">
            <a:xfrm>
              <a:off x="17462501" y="4678363"/>
              <a:ext cx="220663" cy="222250"/>
            </a:xfrm>
            <a:custGeom>
              <a:avLst/>
              <a:gdLst>
                <a:gd name="T0" fmla="*/ 102 w 102"/>
                <a:gd name="T1" fmla="*/ 103 h 103"/>
                <a:gd name="T2" fmla="*/ 0 w 102"/>
                <a:gd name="T3" fmla="*/ 103 h 103"/>
                <a:gd name="T4" fmla="*/ 0 w 102"/>
                <a:gd name="T5" fmla="*/ 0 h 103"/>
                <a:gd name="T6" fmla="*/ 102 w 102"/>
                <a:gd name="T7" fmla="*/ 0 h 103"/>
                <a:gd name="T8" fmla="*/ 102 w 102"/>
                <a:gd name="T9" fmla="*/ 103 h 103"/>
              </a:gdLst>
              <a:ahLst/>
              <a:cxnLst>
                <a:cxn ang="0">
                  <a:pos x="T0" y="T1"/>
                </a:cxn>
                <a:cxn ang="0">
                  <a:pos x="T2" y="T3"/>
                </a:cxn>
                <a:cxn ang="0">
                  <a:pos x="T4" y="T5"/>
                </a:cxn>
                <a:cxn ang="0">
                  <a:pos x="T6" y="T7"/>
                </a:cxn>
                <a:cxn ang="0">
                  <a:pos x="T8" y="T9"/>
                </a:cxn>
              </a:cxnLst>
              <a:rect l="0" t="0" r="r" b="b"/>
              <a:pathLst>
                <a:path w="102" h="103">
                  <a:moveTo>
                    <a:pt x="102" y="103"/>
                  </a:moveTo>
                  <a:cubicBezTo>
                    <a:pt x="67" y="103"/>
                    <a:pt x="34" y="103"/>
                    <a:pt x="0" y="103"/>
                  </a:cubicBezTo>
                  <a:cubicBezTo>
                    <a:pt x="0" y="69"/>
                    <a:pt x="0" y="35"/>
                    <a:pt x="0" y="0"/>
                  </a:cubicBezTo>
                  <a:cubicBezTo>
                    <a:pt x="33" y="0"/>
                    <a:pt x="67" y="0"/>
                    <a:pt x="102" y="0"/>
                  </a:cubicBezTo>
                  <a:cubicBezTo>
                    <a:pt x="102" y="34"/>
                    <a:pt x="102" y="67"/>
                    <a:pt x="102"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233160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1AEF6A5-A15C-4947-AD35-807CFCA3E699}"/>
              </a:ext>
            </a:extLst>
          </p:cNvPr>
          <p:cNvSpPr txBox="1"/>
          <p:nvPr/>
        </p:nvSpPr>
        <p:spPr>
          <a:xfrm>
            <a:off x="2826258" y="2797667"/>
            <a:ext cx="9079992" cy="1011431"/>
          </a:xfrm>
          <a:prstGeom prst="rect">
            <a:avLst/>
          </a:prstGeom>
          <a:noFill/>
        </p:spPr>
        <p:txBody>
          <a:bodyPr wrap="square" lIns="0" tIns="0" rIns="0" bIns="0" rtlCol="0" anchor="t">
            <a:spAutoFit/>
          </a:bodyPr>
          <a:lstStyle/>
          <a:p>
            <a:pPr marL="173736" lvl="1" indent="-173736">
              <a:lnSpc>
                <a:spcPct val="117000"/>
              </a:lnSpc>
              <a:spcAft>
                <a:spcPts val="300"/>
              </a:spcAft>
              <a:buClr>
                <a:srgbClr val="005A8C"/>
              </a:buClr>
              <a:buSzPct val="70000"/>
              <a:buFont typeface="Wingdings" pitchFamily="2" charset="2"/>
              <a:buChar char="l"/>
              <a:defRPr/>
            </a:pPr>
            <a:r>
              <a:rPr lang="en-US" sz="1100">
                <a:latin typeface="Arial"/>
                <a:cs typeface="Arial"/>
              </a:rPr>
              <a:t>Process orchestration software provides capabilities for the design and management of end-to-end processes along with process and workforce insights. It should be able to orchestrate the flow of work across human workers, digital workers (such as RPA, IDP, and conversational AI), and enterprise applications in long-running workflows</a:t>
            </a:r>
          </a:p>
          <a:p>
            <a:pPr marL="173736" lvl="1" indent="-173736">
              <a:lnSpc>
                <a:spcPct val="117000"/>
              </a:lnSpc>
              <a:spcAft>
                <a:spcPts val="300"/>
              </a:spcAft>
              <a:buClr>
                <a:srgbClr val="005A8C"/>
              </a:buClr>
              <a:buSzPct val="70000"/>
              <a:buFont typeface="Wingdings" pitchFamily="2" charset="2"/>
              <a:buChar char="l"/>
              <a:defRPr/>
            </a:pPr>
            <a:r>
              <a:rPr lang="en-US" sz="1100">
                <a:highlight>
                  <a:srgbClr val="FFFFFF"/>
                </a:highlight>
                <a:latin typeface="+mn-lt"/>
              </a:rPr>
              <a:t>Enterprises adopt process orchestration solutions for several applications including process standardization, workflow automation, and process optimization and it offers several benefits including cost and operational efficiencies, leading to greater demand among enterprises</a:t>
            </a:r>
            <a:endParaRPr lang="en-US" sz="1100">
              <a:latin typeface="Arial"/>
              <a:cs typeface="Arial"/>
            </a:endParaRPr>
          </a:p>
        </p:txBody>
      </p:sp>
      <p:sp>
        <p:nvSpPr>
          <p:cNvPr id="16" name="Rectangle 4">
            <a:extLst>
              <a:ext uri="{FF2B5EF4-FFF2-40B4-BE49-F238E27FC236}">
                <a16:creationId xmlns:a16="http://schemas.microsoft.com/office/drawing/2014/main" id="{F2596971-D400-4913-B728-18122866CEE2}"/>
              </a:ext>
            </a:extLst>
          </p:cNvPr>
          <p:cNvSpPr>
            <a:spLocks noChangeArrowheads="1"/>
          </p:cNvSpPr>
          <p:nvPr/>
        </p:nvSpPr>
        <p:spPr bwMode="gray">
          <a:xfrm>
            <a:off x="310896" y="2439106"/>
            <a:ext cx="3635611" cy="169405"/>
          </a:xfrm>
          <a:prstGeom prst="rect">
            <a:avLst/>
          </a:prstGeom>
          <a:noFill/>
          <a:ln w="9525">
            <a:noFill/>
            <a:miter lim="800000"/>
            <a:headEnd/>
            <a:tailEnd/>
          </a:ln>
        </p:spPr>
        <p:txBody>
          <a:bodyPr wrap="none" lIns="0" tIns="0" rIns="0" bIns="0" anchor="b">
            <a:spAutoFit/>
          </a:bodyPr>
          <a:lstStyle/>
          <a:p>
            <a:pPr>
              <a:spcBef>
                <a:spcPts val="0"/>
              </a:spcBef>
              <a:spcAft>
                <a:spcPts val="0"/>
              </a:spcAft>
              <a:buClr>
                <a:srgbClr val="969696"/>
              </a:buClr>
              <a:buSzPct val="60000"/>
              <a:defRPr/>
            </a:pPr>
            <a:r>
              <a:rPr lang="en-US" sz="1101" b="1"/>
              <a:t>Some of the findings in this report, among others, are:</a:t>
            </a:r>
          </a:p>
        </p:txBody>
      </p:sp>
      <p:sp>
        <p:nvSpPr>
          <p:cNvPr id="7" name="TextBox 6">
            <a:extLst>
              <a:ext uri="{FF2B5EF4-FFF2-40B4-BE49-F238E27FC236}">
                <a16:creationId xmlns:a16="http://schemas.microsoft.com/office/drawing/2014/main" id="{4C51769B-1A75-4312-B44F-AD99D27B944F}"/>
              </a:ext>
            </a:extLst>
          </p:cNvPr>
          <p:cNvSpPr txBox="1"/>
          <p:nvPr/>
        </p:nvSpPr>
        <p:spPr>
          <a:xfrm>
            <a:off x="2826258" y="4037841"/>
            <a:ext cx="9079992" cy="1286442"/>
          </a:xfrm>
          <a:prstGeom prst="rect">
            <a:avLst/>
          </a:prstGeom>
          <a:noFill/>
        </p:spPr>
        <p:txBody>
          <a:bodyPr wrap="square" lIns="0" tIns="0" rIns="0" bIns="0" rtlCol="0" anchor="t">
            <a:spAutoFit/>
          </a:bodyPr>
          <a:lstStyle/>
          <a:p>
            <a:pPr marL="173736" lvl="1" indent="-173736">
              <a:lnSpc>
                <a:spcPct val="117000"/>
              </a:lnSpc>
              <a:spcAft>
                <a:spcPts val="300"/>
              </a:spcAft>
              <a:buClr>
                <a:srgbClr val="005A8C"/>
              </a:buClr>
              <a:buSzPct val="70000"/>
              <a:buFont typeface="Wingdings" pitchFamily="2" charset="2"/>
              <a:buChar char="l"/>
              <a:defRPr/>
            </a:pPr>
            <a:r>
              <a:rPr lang="en-US" sz="1100"/>
              <a:t>The process orchestration software market stood at almost US$2.4 billion in 2021, experiencing a YoY growth of over 20% due to the rapid spread of digital transformation all over the world</a:t>
            </a:r>
          </a:p>
          <a:p>
            <a:pPr marL="173736" lvl="1" indent="-173736">
              <a:lnSpc>
                <a:spcPct val="117000"/>
              </a:lnSpc>
              <a:spcAft>
                <a:spcPts val="300"/>
              </a:spcAft>
              <a:buClr>
                <a:srgbClr val="005A8C"/>
              </a:buClr>
              <a:buSzPct val="70000"/>
              <a:buFont typeface="Wingdings" pitchFamily="2" charset="2"/>
              <a:buChar char="l"/>
              <a:defRPr/>
            </a:pPr>
            <a:r>
              <a:rPr lang="en-US" sz="1100">
                <a:latin typeface="+mn-lt"/>
              </a:rPr>
              <a:t>W</a:t>
            </a:r>
            <a:r>
              <a:rPr lang="en-US" sz="1100"/>
              <a:t>hile North America continues to hold a dominant share of the process orchestration market, the UK experienced strong growth in adoption</a:t>
            </a:r>
          </a:p>
          <a:p>
            <a:pPr marL="173736" lvl="1" indent="-173736">
              <a:lnSpc>
                <a:spcPct val="117000"/>
              </a:lnSpc>
              <a:spcAft>
                <a:spcPts val="300"/>
              </a:spcAft>
              <a:buClr>
                <a:srgbClr val="005A8C"/>
              </a:buClr>
              <a:buSzPct val="70000"/>
              <a:buFont typeface="Wingdings" pitchFamily="2" charset="2"/>
              <a:buChar char="l"/>
              <a:defRPr/>
            </a:pPr>
            <a:r>
              <a:rPr lang="en-US" sz="1100">
                <a:latin typeface="+mn-lt"/>
              </a:rPr>
              <a:t>B</a:t>
            </a:r>
            <a:r>
              <a:rPr lang="en-US" sz="1100"/>
              <a:t>anking and capital markets, manufacturing, CPG &amp; retail, and high-tech &amp; telecom industries have </a:t>
            </a:r>
            <a:r>
              <a:rPr lang="en-US" sz="1100" kern="0"/>
              <a:t>experienced</a:t>
            </a:r>
            <a:r>
              <a:rPr lang="en-US" sz="1100"/>
              <a:t> strong growth in adoption post the pandemic</a:t>
            </a:r>
          </a:p>
          <a:p>
            <a:pPr marL="173736" lvl="1" indent="-173736">
              <a:lnSpc>
                <a:spcPct val="117000"/>
              </a:lnSpc>
              <a:spcAft>
                <a:spcPts val="300"/>
              </a:spcAft>
              <a:buClr>
                <a:srgbClr val="005A8C"/>
              </a:buClr>
              <a:buSzPct val="70000"/>
              <a:buFont typeface="Wingdings" pitchFamily="2" charset="2"/>
              <a:buChar char="l"/>
              <a:defRPr/>
            </a:pPr>
            <a:endParaRPr lang="en-US" sz="1100">
              <a:latin typeface="Arial"/>
              <a:cs typeface="Arial"/>
            </a:endParaRPr>
          </a:p>
        </p:txBody>
      </p:sp>
      <p:cxnSp>
        <p:nvCxnSpPr>
          <p:cNvPr id="10" name="Straight Connector 9">
            <a:extLst>
              <a:ext uri="{FF2B5EF4-FFF2-40B4-BE49-F238E27FC236}">
                <a16:creationId xmlns:a16="http://schemas.microsoft.com/office/drawing/2014/main" id="{D371B6AD-631D-4012-A5EE-CC99860A5C02}"/>
              </a:ext>
            </a:extLst>
          </p:cNvPr>
          <p:cNvCxnSpPr/>
          <p:nvPr/>
        </p:nvCxnSpPr>
        <p:spPr bwMode="auto">
          <a:xfrm>
            <a:off x="292606" y="3951429"/>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0" name="KMA1D1FEAF">
            <a:extLst>
              <a:ext uri="{FF2B5EF4-FFF2-40B4-BE49-F238E27FC236}">
                <a16:creationId xmlns:a16="http://schemas.microsoft.com/office/drawing/2014/main" id="{7E60A716-5263-40D7-A37B-54040E4316B3}"/>
              </a:ext>
            </a:extLst>
          </p:cNvPr>
          <p:cNvSpPr>
            <a:spLocks noChangeArrowheads="1"/>
          </p:cNvSpPr>
          <p:nvPr>
            <p:custDataLst>
              <p:tags r:id="rId1"/>
            </p:custDataLst>
          </p:nvPr>
        </p:nvSpPr>
        <p:spPr bwMode="gray">
          <a:xfrm>
            <a:off x="0" y="3951429"/>
            <a:ext cx="2423886" cy="485506"/>
          </a:xfrm>
          <a:prstGeom prst="homePlate">
            <a:avLst>
              <a:gd name="adj" fmla="val 43081"/>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a:solidFill>
                  <a:schemeClr val="bg1"/>
                </a:solidFill>
                <a:latin typeface="Arial"/>
              </a:rPr>
              <a:t>Market size and adoption trends</a:t>
            </a:r>
          </a:p>
        </p:txBody>
      </p:sp>
      <p:sp>
        <p:nvSpPr>
          <p:cNvPr id="8" name="TextBox 7">
            <a:extLst>
              <a:ext uri="{FF2B5EF4-FFF2-40B4-BE49-F238E27FC236}">
                <a16:creationId xmlns:a16="http://schemas.microsoft.com/office/drawing/2014/main" id="{6E5D878F-44F1-45FD-9C5D-FA05DCBDF0CF}"/>
              </a:ext>
            </a:extLst>
          </p:cNvPr>
          <p:cNvSpPr txBox="1"/>
          <p:nvPr/>
        </p:nvSpPr>
        <p:spPr>
          <a:xfrm>
            <a:off x="2826258" y="5302156"/>
            <a:ext cx="9079992" cy="1049903"/>
          </a:xfrm>
          <a:prstGeom prst="rect">
            <a:avLst/>
          </a:prstGeom>
          <a:noFill/>
        </p:spPr>
        <p:txBody>
          <a:bodyPr wrap="square" lIns="0" tIns="0" rIns="0" bIns="0" rtlCol="0" anchor="t">
            <a:spAutoFit/>
          </a:bodyPr>
          <a:lstStyle/>
          <a:p>
            <a:pPr marL="173355" lvl="1" indent="-173355">
              <a:lnSpc>
                <a:spcPct val="117000"/>
              </a:lnSpc>
              <a:spcAft>
                <a:spcPts val="300"/>
              </a:spcAft>
              <a:buClr>
                <a:srgbClr val="005A8C"/>
              </a:buClr>
              <a:buSzPct val="70000"/>
              <a:buFont typeface="Wingdings" pitchFamily="2" charset="2"/>
              <a:buChar char="l"/>
              <a:defRPr/>
            </a:pPr>
            <a:r>
              <a:rPr lang="en-US" sz="1100">
                <a:latin typeface="+mn-lt"/>
              </a:rPr>
              <a:t>Buyers have indicated a high level of satisfaction with the providers on their overall performance, though there is further scope to improve product training and support</a:t>
            </a:r>
          </a:p>
          <a:p>
            <a:pPr marL="173355" lvl="1" indent="-173355">
              <a:lnSpc>
                <a:spcPct val="117000"/>
              </a:lnSpc>
              <a:spcAft>
                <a:spcPts val="300"/>
              </a:spcAft>
              <a:buClr>
                <a:srgbClr val="005A8C"/>
              </a:buClr>
              <a:buSzPct val="70000"/>
              <a:buFont typeface="Wingdings" pitchFamily="2" charset="2"/>
              <a:buChar char="l"/>
              <a:defRPr/>
            </a:pPr>
            <a:r>
              <a:rPr lang="en-US" sz="1100">
                <a:latin typeface="+mn-lt"/>
              </a:rPr>
              <a:t>Lack of overall as-is process visibility, internal resistance, lack of stakeholder alignment, measuring </a:t>
            </a:r>
            <a:r>
              <a:rPr lang="en-US" sz="1100" err="1">
                <a:latin typeface="+mn-lt"/>
              </a:rPr>
              <a:t>RoI</a:t>
            </a:r>
            <a:r>
              <a:rPr lang="en-US" sz="1100">
                <a:latin typeface="+mn-lt"/>
              </a:rPr>
              <a:t>, and inadequate technology awareness are the main barriers to the adoption of process orchestration solutions</a:t>
            </a:r>
          </a:p>
          <a:p>
            <a:pPr marL="173355" lvl="1" indent="-173355">
              <a:lnSpc>
                <a:spcPct val="117000"/>
              </a:lnSpc>
              <a:spcAft>
                <a:spcPts val="300"/>
              </a:spcAft>
              <a:buClr>
                <a:srgbClr val="005A8C"/>
              </a:buClr>
              <a:buSzPct val="70000"/>
              <a:buFont typeface="Wingdings" pitchFamily="2" charset="2"/>
              <a:buChar char="l"/>
              <a:defRPr/>
            </a:pPr>
            <a:endParaRPr lang="en-US" sz="1100">
              <a:latin typeface="Arial"/>
              <a:cs typeface="Arial"/>
            </a:endParaRPr>
          </a:p>
        </p:txBody>
      </p:sp>
      <p:cxnSp>
        <p:nvCxnSpPr>
          <p:cNvPr id="11" name="Straight Connector 10">
            <a:extLst>
              <a:ext uri="{FF2B5EF4-FFF2-40B4-BE49-F238E27FC236}">
                <a16:creationId xmlns:a16="http://schemas.microsoft.com/office/drawing/2014/main" id="{9E2458B0-F349-499D-AAA2-28025EF1BC63}"/>
              </a:ext>
            </a:extLst>
          </p:cNvPr>
          <p:cNvCxnSpPr/>
          <p:nvPr/>
        </p:nvCxnSpPr>
        <p:spPr bwMode="auto">
          <a:xfrm>
            <a:off x="292606" y="5215655"/>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1" name="KMA1D1FEAF">
            <a:extLst>
              <a:ext uri="{FF2B5EF4-FFF2-40B4-BE49-F238E27FC236}">
                <a16:creationId xmlns:a16="http://schemas.microsoft.com/office/drawing/2014/main" id="{170AADAA-B247-4BC4-B3B0-E0510863B815}"/>
              </a:ext>
            </a:extLst>
          </p:cNvPr>
          <p:cNvSpPr>
            <a:spLocks noChangeArrowheads="1"/>
          </p:cNvSpPr>
          <p:nvPr>
            <p:custDataLst>
              <p:tags r:id="rId2"/>
            </p:custDataLst>
          </p:nvPr>
        </p:nvSpPr>
        <p:spPr bwMode="gray">
          <a:xfrm>
            <a:off x="0" y="5215655"/>
            <a:ext cx="2423886" cy="485506"/>
          </a:xfrm>
          <a:prstGeom prst="homePlate">
            <a:avLst>
              <a:gd name="adj" fmla="val 46071"/>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a:solidFill>
                  <a:schemeClr val="bg1"/>
                </a:solidFill>
                <a:latin typeface="Arial"/>
              </a:rPr>
              <a:t>Buyer expectations</a:t>
            </a:r>
          </a:p>
        </p:txBody>
      </p:sp>
      <p:sp>
        <p:nvSpPr>
          <p:cNvPr id="26" name="object 3">
            <a:extLst>
              <a:ext uri="{FF2B5EF4-FFF2-40B4-BE49-F238E27FC236}">
                <a16:creationId xmlns:a16="http://schemas.microsoft.com/office/drawing/2014/main" id="{CA0451B7-610A-4DBE-ADD3-624003A3D608}"/>
              </a:ext>
            </a:extLst>
          </p:cNvPr>
          <p:cNvSpPr txBox="1"/>
          <p:nvPr/>
        </p:nvSpPr>
        <p:spPr>
          <a:xfrm>
            <a:off x="310896" y="1665758"/>
            <a:ext cx="11612880" cy="576825"/>
          </a:xfrm>
          <a:prstGeom prst="rect">
            <a:avLst/>
          </a:prstGeom>
        </p:spPr>
        <p:txBody>
          <a:bodyPr vert="horz" wrap="square" lIns="0" tIns="0" rIns="0" bIns="0" rtlCol="0">
            <a:spAutoFit/>
          </a:bodyPr>
          <a:lstStyle/>
          <a:p>
            <a:pPr marL="12700" marR="5080">
              <a:lnSpc>
                <a:spcPct val="117000"/>
              </a:lnSpc>
            </a:pPr>
            <a:r>
              <a:rPr lang="en-US" sz="1100" spc="-5">
                <a:cs typeface="Arial"/>
              </a:rPr>
              <a:t>This report provides process orchestration buyers, software providers, and third-party enablers (service providers, system integrators, etc.) a detailed overview of the process orchestration software and analyzes the process orchestration market across various dimensions including market size and adoption trends, buyer expectations including key barriers to adoption and best practices, solution characteristics, product capabilities &amp; trends, technology provider landscape, and outlook for 2023</a:t>
            </a:r>
          </a:p>
        </p:txBody>
      </p:sp>
      <p:cxnSp>
        <p:nvCxnSpPr>
          <p:cNvPr id="27" name="Straight Connector 26">
            <a:extLst>
              <a:ext uri="{FF2B5EF4-FFF2-40B4-BE49-F238E27FC236}">
                <a16:creationId xmlns:a16="http://schemas.microsoft.com/office/drawing/2014/main" id="{353FD80B-E42C-43D1-B323-E9AE1C6A077B}"/>
              </a:ext>
            </a:extLst>
          </p:cNvPr>
          <p:cNvCxnSpPr/>
          <p:nvPr/>
        </p:nvCxnSpPr>
        <p:spPr bwMode="auto">
          <a:xfrm>
            <a:off x="292606" y="2711942"/>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8" name="KMA1D1FEAF">
            <a:extLst>
              <a:ext uri="{FF2B5EF4-FFF2-40B4-BE49-F238E27FC236}">
                <a16:creationId xmlns:a16="http://schemas.microsoft.com/office/drawing/2014/main" id="{4D1FE240-2603-47A7-B2EE-9669C334CF77}"/>
              </a:ext>
            </a:extLst>
          </p:cNvPr>
          <p:cNvSpPr>
            <a:spLocks noChangeArrowheads="1"/>
          </p:cNvSpPr>
          <p:nvPr>
            <p:custDataLst>
              <p:tags r:id="rId3"/>
            </p:custDataLst>
          </p:nvPr>
        </p:nvSpPr>
        <p:spPr bwMode="gray">
          <a:xfrm>
            <a:off x="0" y="2711942"/>
            <a:ext cx="2423886" cy="485506"/>
          </a:xfrm>
          <a:prstGeom prst="homePlate">
            <a:avLst>
              <a:gd name="adj" fmla="val 43455"/>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a:solidFill>
                  <a:schemeClr val="bg1"/>
                </a:solidFill>
                <a:latin typeface="Arial"/>
              </a:rPr>
              <a:t>Overview of process orchestration</a:t>
            </a:r>
          </a:p>
        </p:txBody>
      </p:sp>
      <p:sp>
        <p:nvSpPr>
          <p:cNvPr id="2" name="Title 1">
            <a:extLst>
              <a:ext uri="{FF2B5EF4-FFF2-40B4-BE49-F238E27FC236}">
                <a16:creationId xmlns:a16="http://schemas.microsoft.com/office/drawing/2014/main" id="{17139ACC-19BA-4BE8-8726-201778DECC45}"/>
              </a:ext>
            </a:extLst>
          </p:cNvPr>
          <p:cNvSpPr>
            <a:spLocks noGrp="1"/>
          </p:cNvSpPr>
          <p:nvPr>
            <p:ph type="title"/>
          </p:nvPr>
        </p:nvSpPr>
        <p:spPr/>
        <p:txBody>
          <a:bodyPr/>
          <a:lstStyle/>
          <a:p>
            <a:r>
              <a:rPr lang="en-US"/>
              <a:t>Overview and abbreviated summary of key messages </a:t>
            </a:r>
            <a:r>
              <a:rPr lang="en-US" sz="1600">
                <a:latin typeface="+mn-lt"/>
              </a:rPr>
              <a:t>(page 1 of 2)</a:t>
            </a:r>
          </a:p>
        </p:txBody>
      </p:sp>
    </p:spTree>
    <p:extLst>
      <p:ext uri="{BB962C8B-B14F-4D97-AF65-F5344CB8AC3E}">
        <p14:creationId xmlns:p14="http://schemas.microsoft.com/office/powerpoint/2010/main" val="1664676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D1AEF6A5-A15C-4947-AD35-807CFCA3E699}"/>
              </a:ext>
            </a:extLst>
          </p:cNvPr>
          <p:cNvSpPr txBox="1"/>
          <p:nvPr/>
        </p:nvSpPr>
        <p:spPr>
          <a:xfrm>
            <a:off x="2826258" y="1750432"/>
            <a:ext cx="9079992" cy="1049903"/>
          </a:xfrm>
          <a:prstGeom prst="rect">
            <a:avLst/>
          </a:prstGeom>
          <a:noFill/>
        </p:spPr>
        <p:txBody>
          <a:bodyPr wrap="square" lIns="0" tIns="0" rIns="0" bIns="0" rtlCol="0" anchor="t">
            <a:spAutoFit/>
          </a:bodyPr>
          <a:lstStyle/>
          <a:p>
            <a:pPr marL="173355" lvl="1" indent="-173355">
              <a:lnSpc>
                <a:spcPct val="117000"/>
              </a:lnSpc>
              <a:spcAft>
                <a:spcPts val="300"/>
              </a:spcAft>
              <a:buClr>
                <a:srgbClr val="005A8C"/>
              </a:buClr>
              <a:buSzPct val="70000"/>
              <a:buFont typeface="Wingdings" pitchFamily="2" charset="2"/>
              <a:buChar char="l"/>
              <a:defRPr/>
            </a:pPr>
            <a:r>
              <a:rPr lang="en-US" sz="1100" dirty="0">
                <a:latin typeface="+mn-lt"/>
              </a:rPr>
              <a:t>Process orchestration providers are delivering role-based and version-specific training through online training portals. </a:t>
            </a:r>
            <a:r>
              <a:rPr lang="en-US" sz="1100" dirty="0"/>
              <a:t>T</a:t>
            </a:r>
            <a:r>
              <a:rPr lang="en-US" sz="1100" dirty="0">
                <a:latin typeface="+mn-lt"/>
              </a:rPr>
              <a:t>o facilitate product support, they are increasingly enabling online user communities</a:t>
            </a:r>
          </a:p>
          <a:p>
            <a:pPr marL="173355" lvl="1" indent="-173355">
              <a:lnSpc>
                <a:spcPct val="117000"/>
              </a:lnSpc>
              <a:spcAft>
                <a:spcPts val="300"/>
              </a:spcAft>
              <a:buClr>
                <a:srgbClr val="005A8C"/>
              </a:buClr>
              <a:buSzPct val="70000"/>
              <a:buFont typeface="Wingdings" pitchFamily="2" charset="2"/>
              <a:buChar char="l"/>
              <a:defRPr/>
            </a:pPr>
            <a:r>
              <a:rPr lang="en-US" sz="1100" dirty="0">
                <a:latin typeface="+mn-lt"/>
              </a:rPr>
              <a:t>North America and APAC together account for over 65% of the total process orchestration FTEs, indicating a strong talent pool in these regions</a:t>
            </a:r>
          </a:p>
          <a:p>
            <a:pPr marL="173355" lvl="1" indent="-173355">
              <a:lnSpc>
                <a:spcPct val="117000"/>
              </a:lnSpc>
              <a:spcAft>
                <a:spcPts val="300"/>
              </a:spcAft>
              <a:buClr>
                <a:srgbClr val="005A8C"/>
              </a:buClr>
              <a:buSzPct val="70000"/>
              <a:buFont typeface="Wingdings" pitchFamily="2" charset="2"/>
              <a:buChar char="l"/>
              <a:defRPr/>
            </a:pPr>
            <a:r>
              <a:rPr lang="en-US" sz="1100" dirty="0"/>
              <a:t>Process orchestration providers leverage technology partners to enhance access to complementary capabilities and service providers for the reselling, training, and implementation of their products</a:t>
            </a:r>
            <a:endParaRPr lang="en-US" sz="1100" dirty="0">
              <a:latin typeface="Arial"/>
            </a:endParaRPr>
          </a:p>
        </p:txBody>
      </p:sp>
      <p:sp>
        <p:nvSpPr>
          <p:cNvPr id="7" name="TextBox 6">
            <a:extLst>
              <a:ext uri="{FF2B5EF4-FFF2-40B4-BE49-F238E27FC236}">
                <a16:creationId xmlns:a16="http://schemas.microsoft.com/office/drawing/2014/main" id="{4C51769B-1A75-4312-B44F-AD99D27B944F}"/>
              </a:ext>
            </a:extLst>
          </p:cNvPr>
          <p:cNvSpPr txBox="1"/>
          <p:nvPr/>
        </p:nvSpPr>
        <p:spPr>
          <a:xfrm>
            <a:off x="2826258" y="3076026"/>
            <a:ext cx="9079992" cy="1089081"/>
          </a:xfrm>
          <a:prstGeom prst="rect">
            <a:avLst/>
          </a:prstGeom>
          <a:noFill/>
        </p:spPr>
        <p:txBody>
          <a:bodyPr wrap="square" lIns="0" tIns="0" rIns="0" bIns="0" rtlCol="0">
            <a:spAutoFit/>
          </a:bodyPr>
          <a:lstStyle/>
          <a:p>
            <a:pPr marL="173922" lvl="1" indent="-173922">
              <a:lnSpc>
                <a:spcPct val="117000"/>
              </a:lnSpc>
              <a:spcAft>
                <a:spcPts val="300"/>
              </a:spcAft>
              <a:buClr>
                <a:srgbClr val="005A8C"/>
              </a:buClr>
              <a:buSzPct val="70000"/>
              <a:buFont typeface="Wingdings" pitchFamily="2" charset="2"/>
              <a:buChar char="l"/>
              <a:defRPr/>
            </a:pPr>
            <a:r>
              <a:rPr lang="en-US" sz="1101">
                <a:latin typeface="Arial"/>
              </a:rPr>
              <a:t>Appian, Nintex, and </a:t>
            </a:r>
            <a:r>
              <a:rPr lang="en-US" sz="1101" err="1">
                <a:latin typeface="Arial"/>
              </a:rPr>
              <a:t>Pega</a:t>
            </a:r>
            <a:r>
              <a:rPr lang="en-US" sz="1101">
                <a:latin typeface="Arial"/>
              </a:rPr>
              <a:t> are the top providers in terms of process orchestration license revenue</a:t>
            </a:r>
          </a:p>
          <a:p>
            <a:pPr marL="173922" lvl="1" indent="-173922">
              <a:lnSpc>
                <a:spcPct val="117000"/>
              </a:lnSpc>
              <a:spcAft>
                <a:spcPts val="300"/>
              </a:spcAft>
              <a:buClr>
                <a:srgbClr val="005A8C"/>
              </a:buClr>
              <a:buSzPct val="70000"/>
              <a:buFont typeface="Wingdings" pitchFamily="2" charset="2"/>
              <a:buChar char="l"/>
              <a:defRPr/>
            </a:pPr>
            <a:r>
              <a:rPr lang="en-US" sz="1101">
                <a:latin typeface="Arial"/>
              </a:rPr>
              <a:t>Appian and Nintex are among the leading providers across all the key verticals, while Microsoft and </a:t>
            </a:r>
            <a:r>
              <a:rPr lang="en-US" sz="1101" err="1">
                <a:latin typeface="Arial"/>
              </a:rPr>
              <a:t>Pega</a:t>
            </a:r>
            <a:r>
              <a:rPr lang="en-US" sz="1101">
                <a:latin typeface="Arial"/>
              </a:rPr>
              <a:t> are the other providers with high market share across industries</a:t>
            </a:r>
          </a:p>
          <a:p>
            <a:pPr marL="173922" lvl="1" indent="-173922">
              <a:lnSpc>
                <a:spcPct val="117000"/>
              </a:lnSpc>
              <a:spcAft>
                <a:spcPts val="300"/>
              </a:spcAft>
              <a:buClr>
                <a:srgbClr val="005A8C"/>
              </a:buClr>
              <a:buSzPct val="70000"/>
              <a:buFont typeface="Wingdings" pitchFamily="2" charset="2"/>
              <a:buChar char="l"/>
              <a:defRPr/>
            </a:pPr>
            <a:r>
              <a:rPr lang="en-US" sz="1101">
                <a:latin typeface="Arial"/>
              </a:rPr>
              <a:t>Appian and </a:t>
            </a:r>
            <a:r>
              <a:rPr lang="en-US" sz="1101" err="1">
                <a:latin typeface="Arial"/>
              </a:rPr>
              <a:t>Pega</a:t>
            </a:r>
            <a:r>
              <a:rPr lang="en-US" sz="1101">
                <a:latin typeface="Arial"/>
              </a:rPr>
              <a:t> have a strong presence across all geographies. Nintex and Microsoft are other dominant providers across major geographies</a:t>
            </a:r>
          </a:p>
          <a:p>
            <a:pPr marL="173922" lvl="1" indent="-173922">
              <a:lnSpc>
                <a:spcPct val="117000"/>
              </a:lnSpc>
              <a:spcAft>
                <a:spcPts val="300"/>
              </a:spcAft>
              <a:buClr>
                <a:srgbClr val="005A8C"/>
              </a:buClr>
              <a:buSzPct val="70000"/>
              <a:buFont typeface="Wingdings" pitchFamily="2" charset="2"/>
              <a:buChar char="l"/>
              <a:defRPr/>
            </a:pPr>
            <a:endParaRPr lang="en-US" sz="1101">
              <a:latin typeface="Arial"/>
            </a:endParaRPr>
          </a:p>
        </p:txBody>
      </p:sp>
      <p:cxnSp>
        <p:nvCxnSpPr>
          <p:cNvPr id="10" name="Straight Connector 9">
            <a:extLst>
              <a:ext uri="{FF2B5EF4-FFF2-40B4-BE49-F238E27FC236}">
                <a16:creationId xmlns:a16="http://schemas.microsoft.com/office/drawing/2014/main" id="{D371B6AD-631D-4012-A5EE-CC99860A5C02}"/>
              </a:ext>
            </a:extLst>
          </p:cNvPr>
          <p:cNvCxnSpPr/>
          <p:nvPr/>
        </p:nvCxnSpPr>
        <p:spPr bwMode="auto">
          <a:xfrm>
            <a:off x="292606" y="2986439"/>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0" name="KMA1D1FEAF">
            <a:extLst>
              <a:ext uri="{FF2B5EF4-FFF2-40B4-BE49-F238E27FC236}">
                <a16:creationId xmlns:a16="http://schemas.microsoft.com/office/drawing/2014/main" id="{7E60A716-5263-40D7-A37B-54040E4316B3}"/>
              </a:ext>
            </a:extLst>
          </p:cNvPr>
          <p:cNvSpPr>
            <a:spLocks noChangeArrowheads="1"/>
          </p:cNvSpPr>
          <p:nvPr>
            <p:custDataLst>
              <p:tags r:id="rId1"/>
            </p:custDataLst>
          </p:nvPr>
        </p:nvSpPr>
        <p:spPr bwMode="gray">
          <a:xfrm>
            <a:off x="0" y="2986439"/>
            <a:ext cx="2423886" cy="485506"/>
          </a:xfrm>
          <a:prstGeom prst="homePlate">
            <a:avLst>
              <a:gd name="adj" fmla="val 43081"/>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a:solidFill>
                  <a:schemeClr val="bg1"/>
                </a:solidFill>
                <a:latin typeface="Arial"/>
              </a:rPr>
              <a:t>Process orchestration provider landscape</a:t>
            </a:r>
          </a:p>
        </p:txBody>
      </p:sp>
      <p:sp>
        <p:nvSpPr>
          <p:cNvPr id="8" name="TextBox 7">
            <a:extLst>
              <a:ext uri="{FF2B5EF4-FFF2-40B4-BE49-F238E27FC236}">
                <a16:creationId xmlns:a16="http://schemas.microsoft.com/office/drawing/2014/main" id="{6E5D878F-44F1-45FD-9C5D-FA05DCBDF0CF}"/>
              </a:ext>
            </a:extLst>
          </p:cNvPr>
          <p:cNvSpPr txBox="1"/>
          <p:nvPr/>
        </p:nvSpPr>
        <p:spPr>
          <a:xfrm>
            <a:off x="2826258" y="4191383"/>
            <a:ext cx="9079992" cy="1881028"/>
          </a:xfrm>
          <a:prstGeom prst="rect">
            <a:avLst/>
          </a:prstGeom>
          <a:noFill/>
        </p:spPr>
        <p:txBody>
          <a:bodyPr wrap="square" lIns="0" tIns="0" rIns="0" bIns="0" rtlCol="0" anchor="t">
            <a:spAutoFit/>
          </a:bodyPr>
          <a:lstStyle/>
          <a:p>
            <a:pPr marL="173355" lvl="1" indent="-173355">
              <a:lnSpc>
                <a:spcPct val="117000"/>
              </a:lnSpc>
              <a:spcAft>
                <a:spcPts val="300"/>
              </a:spcAft>
              <a:buClr>
                <a:srgbClr val="005A8C"/>
              </a:buClr>
              <a:buSzPct val="70000"/>
              <a:buFont typeface="Wingdings" pitchFamily="2" charset="2"/>
              <a:buChar char="l"/>
              <a:defRPr/>
            </a:pPr>
            <a:r>
              <a:rPr lang="en-US" sz="1100">
                <a:latin typeface="Arial"/>
                <a:cs typeface="Arial"/>
              </a:rPr>
              <a:t>The process orchestration market is experiencing accelerated growth, with an increased enterprise focus on designing and orchestrating business processes to enhance operational efficiency, resilience, and agility</a:t>
            </a:r>
          </a:p>
          <a:p>
            <a:pPr marL="173355" lvl="1" indent="-173355">
              <a:lnSpc>
                <a:spcPct val="117000"/>
              </a:lnSpc>
              <a:spcAft>
                <a:spcPts val="300"/>
              </a:spcAft>
              <a:buClr>
                <a:srgbClr val="005A8C"/>
              </a:buClr>
              <a:buSzPct val="70000"/>
              <a:buFont typeface="Wingdings" pitchFamily="2" charset="2"/>
              <a:buChar char="l"/>
              <a:defRPr/>
            </a:pPr>
            <a:r>
              <a:rPr lang="en-US" sz="1100">
                <a:latin typeface="Arial"/>
                <a:cs typeface="Arial"/>
              </a:rPr>
              <a:t>Process orchestration providers continue to invest in low-code/no-code UI capabilities that are empowering citizen developers to build responsive forms and process-centric applications</a:t>
            </a:r>
          </a:p>
          <a:p>
            <a:pPr marL="173355" lvl="1" indent="-173355">
              <a:lnSpc>
                <a:spcPct val="117000"/>
              </a:lnSpc>
              <a:spcAft>
                <a:spcPts val="300"/>
              </a:spcAft>
              <a:buClr>
                <a:srgbClr val="005A8C"/>
              </a:buClr>
              <a:buSzPct val="70000"/>
              <a:buFont typeface="Wingdings" pitchFamily="2" charset="2"/>
              <a:buChar char="l"/>
              <a:defRPr/>
            </a:pPr>
            <a:r>
              <a:rPr lang="en-US" sz="1101">
                <a:latin typeface="Arial"/>
              </a:rPr>
              <a:t>Process orchestration providers are focusing on forging partnerships with or developing in-house capabilities for complementary technologies such as RPA, IDP, process mining, and conversational AI, to enable innovative features such as the ability to orchestrate processes that involve unstructured documents and customer interactions</a:t>
            </a:r>
          </a:p>
          <a:p>
            <a:pPr marL="173355" lvl="1" indent="-173355">
              <a:lnSpc>
                <a:spcPct val="117000"/>
              </a:lnSpc>
              <a:spcAft>
                <a:spcPts val="300"/>
              </a:spcAft>
              <a:buClr>
                <a:srgbClr val="005A8C"/>
              </a:buClr>
              <a:buSzPct val="70000"/>
              <a:buFont typeface="Wingdings" pitchFamily="2" charset="2"/>
              <a:buChar char="l"/>
              <a:defRPr/>
            </a:pPr>
            <a:r>
              <a:rPr lang="en-US" sz="1100">
                <a:latin typeface="Arial"/>
                <a:cs typeface="Arial"/>
              </a:rPr>
              <a:t>Process orchestration providers are expected to further increase their focus on evangelizing the technology through various events, workshops, and thought leadership initiatives to create awareness and share best practices with enterprises</a:t>
            </a:r>
          </a:p>
        </p:txBody>
      </p:sp>
      <p:cxnSp>
        <p:nvCxnSpPr>
          <p:cNvPr id="11" name="Straight Connector 10">
            <a:extLst>
              <a:ext uri="{FF2B5EF4-FFF2-40B4-BE49-F238E27FC236}">
                <a16:creationId xmlns:a16="http://schemas.microsoft.com/office/drawing/2014/main" id="{9E2458B0-F349-499D-AAA2-28025EF1BC63}"/>
              </a:ext>
            </a:extLst>
          </p:cNvPr>
          <p:cNvCxnSpPr/>
          <p:nvPr/>
        </p:nvCxnSpPr>
        <p:spPr bwMode="auto">
          <a:xfrm>
            <a:off x="292606" y="4090277"/>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1" name="KMA1D1FEAF">
            <a:extLst>
              <a:ext uri="{FF2B5EF4-FFF2-40B4-BE49-F238E27FC236}">
                <a16:creationId xmlns:a16="http://schemas.microsoft.com/office/drawing/2014/main" id="{170AADAA-B247-4BC4-B3B0-E0510863B815}"/>
              </a:ext>
            </a:extLst>
          </p:cNvPr>
          <p:cNvSpPr>
            <a:spLocks noChangeArrowheads="1"/>
          </p:cNvSpPr>
          <p:nvPr>
            <p:custDataLst>
              <p:tags r:id="rId2"/>
            </p:custDataLst>
          </p:nvPr>
        </p:nvSpPr>
        <p:spPr bwMode="gray">
          <a:xfrm>
            <a:off x="0" y="4090277"/>
            <a:ext cx="2423886" cy="485506"/>
          </a:xfrm>
          <a:prstGeom prst="homePlate">
            <a:avLst>
              <a:gd name="adj" fmla="val 46071"/>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a:solidFill>
                  <a:schemeClr val="bg1"/>
                </a:solidFill>
                <a:latin typeface="Arial"/>
              </a:rPr>
              <a:t>Outlook for 2023</a:t>
            </a:r>
          </a:p>
        </p:txBody>
      </p:sp>
      <p:cxnSp>
        <p:nvCxnSpPr>
          <p:cNvPr id="27" name="Straight Connector 26">
            <a:extLst>
              <a:ext uri="{FF2B5EF4-FFF2-40B4-BE49-F238E27FC236}">
                <a16:creationId xmlns:a16="http://schemas.microsoft.com/office/drawing/2014/main" id="{353FD80B-E42C-43D1-B323-E9AE1C6A077B}"/>
              </a:ext>
            </a:extLst>
          </p:cNvPr>
          <p:cNvCxnSpPr/>
          <p:nvPr/>
        </p:nvCxnSpPr>
        <p:spPr bwMode="auto">
          <a:xfrm>
            <a:off x="292606" y="1658357"/>
            <a:ext cx="11899393" cy="0"/>
          </a:xfrm>
          <a:prstGeom prst="line">
            <a:avLst/>
          </a:prstGeom>
          <a:noFill/>
          <a:ln w="6350" cap="flat" cmpd="sng" algn="ctr">
            <a:solidFill>
              <a:schemeClr val="bg1">
                <a:lumMod val="65000"/>
              </a:schemeClr>
            </a:solidFill>
            <a:prstDash val="dash"/>
            <a:round/>
            <a:headEnd type="none" w="med" len="med"/>
            <a:tailEnd type="none" w="med" len="med"/>
          </a:ln>
          <a:effectLst/>
        </p:spPr>
      </p:cxnSp>
      <p:sp>
        <p:nvSpPr>
          <p:cNvPr id="28" name="KMA1D1FEAF">
            <a:extLst>
              <a:ext uri="{FF2B5EF4-FFF2-40B4-BE49-F238E27FC236}">
                <a16:creationId xmlns:a16="http://schemas.microsoft.com/office/drawing/2014/main" id="{4D1FE240-2603-47A7-B2EE-9669C334CF77}"/>
              </a:ext>
            </a:extLst>
          </p:cNvPr>
          <p:cNvSpPr>
            <a:spLocks noChangeArrowheads="1"/>
          </p:cNvSpPr>
          <p:nvPr>
            <p:custDataLst>
              <p:tags r:id="rId3"/>
            </p:custDataLst>
          </p:nvPr>
        </p:nvSpPr>
        <p:spPr bwMode="gray">
          <a:xfrm>
            <a:off x="0" y="1658357"/>
            <a:ext cx="2423886" cy="485506"/>
          </a:xfrm>
          <a:prstGeom prst="homePlate">
            <a:avLst>
              <a:gd name="adj" fmla="val 43455"/>
            </a:avLst>
          </a:prstGeom>
          <a:solidFill>
            <a:schemeClr val="accent2"/>
          </a:solidFill>
          <a:ln w="9525">
            <a:solidFill>
              <a:schemeClr val="accent2"/>
            </a:solidFill>
            <a:miter lim="800000"/>
            <a:headEnd/>
            <a:tailEnd/>
          </a:ln>
          <a:effectLst/>
        </p:spPr>
        <p:txBody>
          <a:bodyPr lIns="310896" tIns="45768" rIns="45768" bIns="45768" anchor="ctr"/>
          <a:lstStyle/>
          <a:p>
            <a:pPr>
              <a:buClr>
                <a:srgbClr val="BC202E"/>
              </a:buClr>
              <a:buSzPct val="60000"/>
              <a:defRPr/>
            </a:pPr>
            <a:r>
              <a:rPr lang="en-US" sz="1101" b="1">
                <a:solidFill>
                  <a:schemeClr val="bg1"/>
                </a:solidFill>
                <a:latin typeface="Arial"/>
              </a:rPr>
              <a:t>Process orchestration solution characteristics</a:t>
            </a:r>
          </a:p>
        </p:txBody>
      </p:sp>
      <p:sp>
        <p:nvSpPr>
          <p:cNvPr id="2" name="Title 1">
            <a:extLst>
              <a:ext uri="{FF2B5EF4-FFF2-40B4-BE49-F238E27FC236}">
                <a16:creationId xmlns:a16="http://schemas.microsoft.com/office/drawing/2014/main" id="{17139ACC-19BA-4BE8-8726-201778DECC45}"/>
              </a:ext>
            </a:extLst>
          </p:cNvPr>
          <p:cNvSpPr>
            <a:spLocks noGrp="1"/>
          </p:cNvSpPr>
          <p:nvPr>
            <p:ph type="title"/>
          </p:nvPr>
        </p:nvSpPr>
        <p:spPr/>
        <p:txBody>
          <a:bodyPr/>
          <a:lstStyle/>
          <a:p>
            <a:r>
              <a:rPr lang="en-US"/>
              <a:t>Overview and abbreviated summary of key messages </a:t>
            </a:r>
            <a:r>
              <a:rPr lang="en-US" sz="1600">
                <a:latin typeface="+mn-lt"/>
              </a:rPr>
              <a:t>(page 2 of 2)</a:t>
            </a:r>
          </a:p>
        </p:txBody>
      </p:sp>
    </p:spTree>
    <p:extLst>
      <p:ext uri="{BB962C8B-B14F-4D97-AF65-F5344CB8AC3E}">
        <p14:creationId xmlns:p14="http://schemas.microsoft.com/office/powerpoint/2010/main" val="38274390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Table 26">
            <a:extLst>
              <a:ext uri="{FF2B5EF4-FFF2-40B4-BE49-F238E27FC236}">
                <a16:creationId xmlns:a16="http://schemas.microsoft.com/office/drawing/2014/main" id="{1D6C8B76-4277-4DBD-9D74-124E6BA7800C}"/>
              </a:ext>
            </a:extLst>
          </p:cNvPr>
          <p:cNvGraphicFramePr>
            <a:graphicFrameLocks noGrp="1"/>
          </p:cNvGraphicFramePr>
          <p:nvPr/>
        </p:nvGraphicFramePr>
        <p:xfrm>
          <a:off x="307974" y="1657349"/>
          <a:ext cx="11597514" cy="4745884"/>
        </p:xfrm>
        <a:graphic>
          <a:graphicData uri="http://schemas.openxmlformats.org/drawingml/2006/table">
            <a:tbl>
              <a:tblPr firstRow="1" bandRow="1">
                <a:tableStyleId>{5C22544A-7EE6-4342-B048-85BDC9FD1C3A}</a:tableStyleId>
              </a:tblPr>
              <a:tblGrid>
                <a:gridCol w="5798757">
                  <a:extLst>
                    <a:ext uri="{9D8B030D-6E8A-4147-A177-3AD203B41FA5}">
                      <a16:colId xmlns:a16="http://schemas.microsoft.com/office/drawing/2014/main" val="4123634592"/>
                    </a:ext>
                  </a:extLst>
                </a:gridCol>
                <a:gridCol w="5798757">
                  <a:extLst>
                    <a:ext uri="{9D8B030D-6E8A-4147-A177-3AD203B41FA5}">
                      <a16:colId xmlns:a16="http://schemas.microsoft.com/office/drawing/2014/main" val="3598086808"/>
                    </a:ext>
                  </a:extLst>
                </a:gridCol>
              </a:tblGrid>
              <a:tr h="221287">
                <a:tc>
                  <a:txBody>
                    <a:bodyPr/>
                    <a:lstStyle/>
                    <a:p>
                      <a:r>
                        <a:rPr lang="en-US" sz="1100">
                          <a:solidFill>
                            <a:schemeClr val="bg1"/>
                          </a:solidFill>
                        </a:rPr>
                        <a:t>Process orchestration software market size and adoption trends</a:t>
                      </a:r>
                    </a:p>
                  </a:txBody>
                  <a:tcPr marL="45720" marR="45720" marT="27432" marB="27432">
                    <a:lnL w="9525" cap="flat" cmpd="sng" algn="ctr">
                      <a:solidFill>
                        <a:schemeClr val="bg1">
                          <a:lumMod val="50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r>
                        <a:rPr lang="en-US" sz="1100" dirty="0">
                          <a:solidFill>
                            <a:schemeClr val="bg1"/>
                          </a:solidFill>
                        </a:rPr>
                        <a:t>Buyer expectations</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3686814725"/>
                  </a:ext>
                </a:extLst>
              </a:tr>
              <a:tr h="2150438">
                <a:tc>
                  <a:txBody>
                    <a:bodyPr/>
                    <a:lstStyle/>
                    <a:p>
                      <a:endParaRPr lang="en-US" sz="1000"/>
                    </a:p>
                    <a:p>
                      <a:endParaRPr lang="en-US" sz="1000"/>
                    </a:p>
                    <a:p>
                      <a:endParaRPr lang="en-US" sz="1000"/>
                    </a:p>
                    <a:p>
                      <a:endParaRPr lang="en-US" sz="1000"/>
                    </a:p>
                    <a:p>
                      <a:endParaRPr lang="en-US" sz="1000"/>
                    </a:p>
                    <a:p>
                      <a:endParaRPr lang="en-US" sz="1000"/>
                    </a:p>
                    <a:p>
                      <a:endParaRPr lang="en-US" sz="1000"/>
                    </a:p>
                    <a:p>
                      <a:endParaRPr lang="en-US" sz="1000"/>
                    </a:p>
                    <a:p>
                      <a:endParaRPr lang="en-US" sz="1000"/>
                    </a:p>
                    <a:p>
                      <a:endParaRPr lang="en-US" sz="1000"/>
                    </a:p>
                    <a:p>
                      <a:endParaRPr lang="en-US" sz="1000"/>
                    </a:p>
                    <a:p>
                      <a:endParaRPr lang="en-US" sz="100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2930218"/>
                  </a:ext>
                </a:extLst>
              </a:tr>
              <a:tr h="221287">
                <a:tc>
                  <a:txBody>
                    <a:bodyPr/>
                    <a:lstStyle/>
                    <a:p>
                      <a:r>
                        <a:rPr lang="en-US" sz="1100" b="1">
                          <a:solidFill>
                            <a:schemeClr val="bg1"/>
                          </a:solidFill>
                        </a:rPr>
                        <a:t>Process orchestration solution characteristics</a:t>
                      </a:r>
                    </a:p>
                  </a:txBody>
                  <a:tcPr marL="45720" marR="45720" marT="27432" marB="27432">
                    <a:lnL w="9525" cap="flat" cmpd="sng" algn="ctr">
                      <a:solidFill>
                        <a:schemeClr val="bg1">
                          <a:lumMod val="50000"/>
                        </a:schemeClr>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r>
                        <a:rPr lang="en-US" sz="1100" b="1">
                          <a:solidFill>
                            <a:schemeClr val="bg1"/>
                          </a:solidFill>
                        </a:rPr>
                        <a:t>Process orchestration provider landscape</a:t>
                      </a:r>
                    </a:p>
                  </a:txBody>
                  <a:tcPr marL="45720" marR="45720" marT="27432" marB="27432">
                    <a:lnL w="9525" cap="flat" cmpd="sng" algn="ctr">
                      <a:solidFill>
                        <a:schemeClr val="bg1"/>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2551180898"/>
                  </a:ext>
                </a:extLst>
              </a:tr>
              <a:tr h="2150438">
                <a:tc>
                  <a:txBody>
                    <a:bodyPr/>
                    <a:lstStyle/>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marL="45720" marR="45720" marT="27432" marB="27432">
                    <a:lnL w="9525" cap="flat" cmpd="sng" algn="ctr">
                      <a:solidFill>
                        <a:schemeClr val="bg1">
                          <a:lumMod val="65000"/>
                        </a:schemeClr>
                      </a:solidFill>
                      <a:prstDash val="solid"/>
                      <a:round/>
                      <a:headEnd type="none" w="med" len="med"/>
                      <a:tailEnd type="none" w="med" len="med"/>
                    </a:lnL>
                    <a:lnR w="9525" cap="flat" cmpd="sng" algn="ctr">
                      <a:solidFill>
                        <a:schemeClr val="bg1">
                          <a:lumMod val="65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2621175"/>
                  </a:ext>
                </a:extLst>
              </a:tr>
            </a:tbl>
          </a:graphicData>
        </a:graphic>
      </p:graphicFrame>
      <p:sp>
        <p:nvSpPr>
          <p:cNvPr id="442" name="TextBox 441">
            <a:extLst>
              <a:ext uri="{FF2B5EF4-FFF2-40B4-BE49-F238E27FC236}">
                <a16:creationId xmlns:a16="http://schemas.microsoft.com/office/drawing/2014/main" id="{1489BC8C-9046-D809-607C-E2D0B1966BFC}"/>
              </a:ext>
            </a:extLst>
          </p:cNvPr>
          <p:cNvSpPr txBox="1"/>
          <p:nvPr/>
        </p:nvSpPr>
        <p:spPr>
          <a:xfrm>
            <a:off x="6155128" y="1913864"/>
            <a:ext cx="2611084" cy="246221"/>
          </a:xfrm>
          <a:prstGeom prst="rect">
            <a:avLst/>
          </a:prstGeom>
          <a:noFill/>
        </p:spPr>
        <p:txBody>
          <a:bodyPr wrap="square" lIns="0" tIns="0" rIns="0" bIns="0" rtlCol="0" anchor="b" anchorCtr="0">
            <a:spAutoFit/>
          </a:bodyPr>
          <a:lstStyle/>
          <a:p>
            <a:r>
              <a:rPr lang="en-US" sz="800" b="1" dirty="0"/>
              <a:t>Key factors driving process orchestration adoption</a:t>
            </a:r>
          </a:p>
          <a:p>
            <a:r>
              <a:rPr lang="en-US" sz="800" dirty="0"/>
              <a:t>Importance on a scale of 1 to 7</a:t>
            </a:r>
          </a:p>
        </p:txBody>
      </p:sp>
      <p:sp>
        <p:nvSpPr>
          <p:cNvPr id="3" name="Title 2">
            <a:extLst>
              <a:ext uri="{FF2B5EF4-FFF2-40B4-BE49-F238E27FC236}">
                <a16:creationId xmlns:a16="http://schemas.microsoft.com/office/drawing/2014/main" id="{D076719E-B36E-40E3-97E8-E213435E2096}"/>
              </a:ext>
            </a:extLst>
          </p:cNvPr>
          <p:cNvSpPr>
            <a:spLocks noGrp="1"/>
          </p:cNvSpPr>
          <p:nvPr>
            <p:ph type="title"/>
          </p:nvPr>
        </p:nvSpPr>
        <p:spPr>
          <a:xfrm>
            <a:off x="307975" y="622777"/>
            <a:ext cx="11612880" cy="553998"/>
          </a:xfrm>
          <a:prstGeom prst="rect">
            <a:avLst/>
          </a:prstGeom>
        </p:spPr>
        <p:txBody>
          <a:bodyPr/>
          <a:lstStyle/>
          <a:p>
            <a:r>
              <a:rPr lang="en-US"/>
              <a:t>This study offers nine distinct chapters providing a deep dive into key aspects of RPA market; below are four charts to illustrate the depth of the report</a:t>
            </a:r>
          </a:p>
        </p:txBody>
      </p:sp>
      <p:grpSp>
        <p:nvGrpSpPr>
          <p:cNvPr id="22" name="Group 21">
            <a:extLst>
              <a:ext uri="{FF2B5EF4-FFF2-40B4-BE49-F238E27FC236}">
                <a16:creationId xmlns:a16="http://schemas.microsoft.com/office/drawing/2014/main" id="{4758E268-1138-D12D-66BD-15AC989B550F}"/>
              </a:ext>
            </a:extLst>
          </p:cNvPr>
          <p:cNvGrpSpPr/>
          <p:nvPr/>
        </p:nvGrpSpPr>
        <p:grpSpPr>
          <a:xfrm>
            <a:off x="4032149" y="1953629"/>
            <a:ext cx="1912247" cy="123859"/>
            <a:chOff x="10226439" y="1667075"/>
            <a:chExt cx="1912247" cy="123859"/>
          </a:xfrm>
        </p:grpSpPr>
        <p:sp>
          <p:nvSpPr>
            <p:cNvPr id="23" name="TextBox 5">
              <a:extLst>
                <a:ext uri="{FF2B5EF4-FFF2-40B4-BE49-F238E27FC236}">
                  <a16:creationId xmlns:a16="http://schemas.microsoft.com/office/drawing/2014/main" id="{666AD63D-4E58-7D38-BA66-E4F0491E925A}"/>
                </a:ext>
              </a:extLst>
            </p:cNvPr>
            <p:cNvSpPr txBox="1">
              <a:spLocks noChangeArrowheads="1"/>
            </p:cNvSpPr>
            <p:nvPr/>
          </p:nvSpPr>
          <p:spPr bwMode="gray">
            <a:xfrm>
              <a:off x="11572825" y="1688370"/>
              <a:ext cx="565861" cy="92333"/>
            </a:xfrm>
            <a:prstGeom prst="rect">
              <a:avLst/>
            </a:prstGeom>
            <a:noFill/>
            <a:ln w="9525">
              <a:noFill/>
              <a:miter lim="800000"/>
              <a:headEnd/>
              <a:tailEnd/>
            </a:ln>
          </p:spPr>
          <p:txBody>
            <a:bodyPr wrap="none" lIns="0" tIns="0" rIns="0" bIns="0" anchor="ctr">
              <a:spAutoFit/>
            </a:bodyPr>
            <a:lstStyle/>
            <a:p>
              <a:r>
                <a:rPr lang="en-US" sz="600" dirty="0"/>
                <a:t>Expected CAGR</a:t>
              </a:r>
            </a:p>
          </p:txBody>
        </p:sp>
        <p:sp>
          <p:nvSpPr>
            <p:cNvPr id="24" name="Oval 6">
              <a:extLst>
                <a:ext uri="{FF2B5EF4-FFF2-40B4-BE49-F238E27FC236}">
                  <a16:creationId xmlns:a16="http://schemas.microsoft.com/office/drawing/2014/main" id="{4D62109A-7E7C-E5A5-C2BF-CFC7A40EB9C5}"/>
                </a:ext>
              </a:extLst>
            </p:cNvPr>
            <p:cNvSpPr>
              <a:spLocks noChangeArrowheads="1"/>
            </p:cNvSpPr>
            <p:nvPr/>
          </p:nvSpPr>
          <p:spPr bwMode="gray">
            <a:xfrm>
              <a:off x="11284274" y="1667075"/>
              <a:ext cx="239067" cy="123859"/>
            </a:xfrm>
            <a:prstGeom prst="rect">
              <a:avLst/>
            </a:prstGeom>
            <a:solidFill>
              <a:srgbClr val="27A7DF"/>
            </a:solidFill>
            <a:ln w="12700" algn="ctr">
              <a:noFill/>
              <a:round/>
              <a:headEnd/>
              <a:tailEnd/>
            </a:ln>
            <a:effectLst/>
          </p:spPr>
          <p:txBody>
            <a:bodyPr lIns="0" tIns="0" rIns="0" bIns="0" anchor="ctr"/>
            <a:lstStyle/>
            <a:p>
              <a:pPr algn="ctr" eaLnBrk="0" fontAlgn="auto" hangingPunct="0">
                <a:lnSpc>
                  <a:spcPct val="115000"/>
                </a:lnSpc>
                <a:spcBef>
                  <a:spcPts val="0"/>
                </a:spcBef>
                <a:spcAft>
                  <a:spcPts val="0"/>
                </a:spcAft>
                <a:buClr>
                  <a:srgbClr val="3333FF"/>
                </a:buClr>
                <a:buSzPct val="60000"/>
                <a:defRPr/>
              </a:pPr>
              <a:r>
                <a:rPr lang="en-US" sz="600" kern="0">
                  <a:solidFill>
                    <a:schemeClr val="bg1"/>
                  </a:solidFill>
                  <a:latin typeface="Arial"/>
                </a:rPr>
                <a:t>XX%</a:t>
              </a:r>
            </a:p>
          </p:txBody>
        </p:sp>
        <p:sp>
          <p:nvSpPr>
            <p:cNvPr id="25" name="TextBox 5">
              <a:extLst>
                <a:ext uri="{FF2B5EF4-FFF2-40B4-BE49-F238E27FC236}">
                  <a16:creationId xmlns:a16="http://schemas.microsoft.com/office/drawing/2014/main" id="{BE307921-0BAB-0CC4-4191-C2B223C9CE25}"/>
                </a:ext>
              </a:extLst>
            </p:cNvPr>
            <p:cNvSpPr txBox="1">
              <a:spLocks noChangeArrowheads="1"/>
            </p:cNvSpPr>
            <p:nvPr/>
          </p:nvSpPr>
          <p:spPr bwMode="gray">
            <a:xfrm>
              <a:off x="10512688" y="1688370"/>
              <a:ext cx="621965" cy="92333"/>
            </a:xfrm>
            <a:prstGeom prst="rect">
              <a:avLst/>
            </a:prstGeom>
            <a:noFill/>
            <a:ln w="9525">
              <a:noFill/>
              <a:miter lim="800000"/>
              <a:headEnd/>
              <a:tailEnd/>
            </a:ln>
          </p:spPr>
          <p:txBody>
            <a:bodyPr wrap="none" lIns="0" tIns="0" rIns="0" bIns="0" anchor="ctr">
              <a:spAutoFit/>
            </a:bodyPr>
            <a:lstStyle/>
            <a:p>
              <a:r>
                <a:rPr lang="en-US" sz="600"/>
                <a:t>Actual growth rate</a:t>
              </a:r>
            </a:p>
          </p:txBody>
        </p:sp>
        <p:sp>
          <p:nvSpPr>
            <p:cNvPr id="112" name="Oval 6">
              <a:extLst>
                <a:ext uri="{FF2B5EF4-FFF2-40B4-BE49-F238E27FC236}">
                  <a16:creationId xmlns:a16="http://schemas.microsoft.com/office/drawing/2014/main" id="{0B62331F-7546-3B1C-F7BC-949DD4830343}"/>
                </a:ext>
              </a:extLst>
            </p:cNvPr>
            <p:cNvSpPr>
              <a:spLocks noChangeArrowheads="1"/>
            </p:cNvSpPr>
            <p:nvPr/>
          </p:nvSpPr>
          <p:spPr bwMode="gray">
            <a:xfrm>
              <a:off x="10226439" y="1667075"/>
              <a:ext cx="239067" cy="123859"/>
            </a:xfrm>
            <a:prstGeom prst="rect">
              <a:avLst/>
            </a:prstGeom>
            <a:solidFill>
              <a:schemeClr val="accent6"/>
            </a:solidFill>
            <a:ln w="12700" algn="ctr">
              <a:noFill/>
              <a:round/>
              <a:headEnd/>
              <a:tailEnd/>
            </a:ln>
            <a:effectLst/>
          </p:spPr>
          <p:txBody>
            <a:bodyPr lIns="0" tIns="0" rIns="0" bIns="0" anchor="ctr"/>
            <a:lstStyle/>
            <a:p>
              <a:pPr algn="ctr" eaLnBrk="0" fontAlgn="auto" hangingPunct="0">
                <a:lnSpc>
                  <a:spcPct val="115000"/>
                </a:lnSpc>
                <a:spcBef>
                  <a:spcPts val="0"/>
                </a:spcBef>
                <a:spcAft>
                  <a:spcPts val="0"/>
                </a:spcAft>
                <a:buClr>
                  <a:srgbClr val="3333FF"/>
                </a:buClr>
                <a:buSzPct val="60000"/>
                <a:defRPr/>
              </a:pPr>
              <a:r>
                <a:rPr lang="en-US" sz="600" kern="0">
                  <a:solidFill>
                    <a:schemeClr val="bg1"/>
                  </a:solidFill>
                  <a:latin typeface="Arial"/>
                </a:rPr>
                <a:t>XX%</a:t>
              </a:r>
            </a:p>
          </p:txBody>
        </p:sp>
      </p:grpSp>
      <p:sp>
        <p:nvSpPr>
          <p:cNvPr id="202" name="Content Placeholder 3">
            <a:extLst>
              <a:ext uri="{FF2B5EF4-FFF2-40B4-BE49-F238E27FC236}">
                <a16:creationId xmlns:a16="http://schemas.microsoft.com/office/drawing/2014/main" id="{9D479002-F916-8A77-FCF0-FB50AD3C147E}"/>
              </a:ext>
            </a:extLst>
          </p:cNvPr>
          <p:cNvSpPr txBox="1">
            <a:spLocks/>
          </p:cNvSpPr>
          <p:nvPr/>
        </p:nvSpPr>
        <p:spPr>
          <a:xfrm>
            <a:off x="3533713" y="2211323"/>
            <a:ext cx="2451035" cy="1678986"/>
          </a:xfrm>
          <a:prstGeom prst="rect">
            <a:avLst/>
          </a:prstGeom>
          <a:noFill/>
          <a:ln w="9525">
            <a:noFill/>
            <a:miter lim="800000"/>
            <a:headEnd/>
            <a:tailEnd/>
          </a:ln>
          <a:effectLst/>
        </p:spPr>
        <p:txBody>
          <a:bodyPr wrap="square" lIns="0" tIns="0" rIns="0" bIns="0">
            <a:spAutoFit/>
          </a:bodyPr>
          <a:lstStyle>
            <a:defPPr>
              <a:defRPr lang="en-US"/>
            </a:defPPr>
            <a:lvl1pPr eaLnBrk="1" hangingPunct="1">
              <a:spcBef>
                <a:spcPts val="0"/>
              </a:spcBef>
              <a:buSzPct val="60000"/>
              <a:buFont typeface="Wingdings" pitchFamily="2" charset="2"/>
              <a:buNone/>
            </a:lvl1pPr>
          </a:lstStyle>
          <a:p>
            <a:pPr marL="91440" lvl="1" indent="-91440">
              <a:lnSpc>
                <a:spcPct val="117000"/>
              </a:lnSpc>
              <a:spcBef>
                <a:spcPts val="0"/>
              </a:spcBef>
              <a:spcAft>
                <a:spcPts val="200"/>
              </a:spcAft>
              <a:buClr>
                <a:schemeClr val="accent2"/>
              </a:buClr>
              <a:buSzPct val="70000"/>
              <a:buFont typeface="Wingdings" pitchFamily="2" charset="2"/>
              <a:buChar char="l"/>
              <a:defRPr/>
            </a:pPr>
            <a:r>
              <a:rPr lang="en-US" sz="700" kern="0" dirty="0">
                <a:latin typeface="+mn-lt"/>
              </a:rPr>
              <a:t>The process orchestration software market stood at almost US$2.4 billion in 2021, experiencing a YoY growth of over 20% due to the rapid spread of digital transformation all over the world</a:t>
            </a:r>
          </a:p>
          <a:p>
            <a:pPr marL="91440" lvl="1" indent="-91440">
              <a:lnSpc>
                <a:spcPct val="117000"/>
              </a:lnSpc>
              <a:spcBef>
                <a:spcPts val="0"/>
              </a:spcBef>
              <a:spcAft>
                <a:spcPts val="200"/>
              </a:spcAft>
              <a:buClr>
                <a:schemeClr val="accent2"/>
              </a:buClr>
              <a:buSzPct val="70000"/>
              <a:buFont typeface="Wingdings" pitchFamily="2" charset="2"/>
              <a:buChar char="l"/>
              <a:defRPr/>
            </a:pPr>
            <a:r>
              <a:rPr lang="en-US" sz="700" kern="0" dirty="0">
                <a:latin typeface="+mn-lt"/>
              </a:rPr>
              <a:t>This trend of accelerated growth in the process orchestration software market is expected to continue in the next couple of years. The growth rate slowed down in the second half of 2022 due to the economic downturn</a:t>
            </a:r>
          </a:p>
          <a:p>
            <a:pPr marL="91440" lvl="1" indent="-91440">
              <a:lnSpc>
                <a:spcPct val="117000"/>
              </a:lnSpc>
              <a:spcBef>
                <a:spcPts val="0"/>
              </a:spcBef>
              <a:spcAft>
                <a:spcPts val="200"/>
              </a:spcAft>
              <a:buClr>
                <a:schemeClr val="accent2"/>
              </a:buClr>
              <a:buSzPct val="70000"/>
              <a:buFont typeface="Wingdings" pitchFamily="2" charset="2"/>
              <a:buChar char="l"/>
              <a:defRPr/>
            </a:pPr>
            <a:r>
              <a:rPr lang="en-US" sz="700" kern="0" dirty="0">
                <a:latin typeface="+mn-lt"/>
              </a:rPr>
              <a:t>The key growth drivers for process orchestration adoption include the increased focus on digitization, the demand for a unified view of processes, and the need for managing the digital workforce as enterprises scale their automation initiatives </a:t>
            </a:r>
          </a:p>
        </p:txBody>
      </p:sp>
      <p:sp>
        <p:nvSpPr>
          <p:cNvPr id="380" name="Rectangle 379">
            <a:extLst>
              <a:ext uri="{FF2B5EF4-FFF2-40B4-BE49-F238E27FC236}">
                <a16:creationId xmlns:a16="http://schemas.microsoft.com/office/drawing/2014/main" id="{6322E144-618A-52C2-B36C-11FB53302254}"/>
              </a:ext>
            </a:extLst>
          </p:cNvPr>
          <p:cNvSpPr/>
          <p:nvPr/>
        </p:nvSpPr>
        <p:spPr bwMode="auto">
          <a:xfrm>
            <a:off x="7783704" y="2634738"/>
            <a:ext cx="177601" cy="17760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en-US" sz="1200">
                <a:solidFill>
                  <a:srgbClr val="004369"/>
                </a:solidFill>
              </a:rPr>
              <a:t>6.4</a:t>
            </a:r>
            <a:endParaRPr lang="en-IN" sz="1200">
              <a:solidFill>
                <a:srgbClr val="004369"/>
              </a:solidFill>
            </a:endParaRPr>
          </a:p>
        </p:txBody>
      </p:sp>
      <p:sp>
        <p:nvSpPr>
          <p:cNvPr id="381" name="Rectangle 380">
            <a:extLst>
              <a:ext uri="{FF2B5EF4-FFF2-40B4-BE49-F238E27FC236}">
                <a16:creationId xmlns:a16="http://schemas.microsoft.com/office/drawing/2014/main" id="{2EBE2BC9-7F54-E1FC-6613-8937BA68C953}"/>
              </a:ext>
            </a:extLst>
          </p:cNvPr>
          <p:cNvSpPr/>
          <p:nvPr/>
        </p:nvSpPr>
        <p:spPr bwMode="auto">
          <a:xfrm>
            <a:off x="6726119" y="2661983"/>
            <a:ext cx="865622" cy="12311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lvl="1" algn="ctr" eaLnBrk="0" hangingPunct="0">
              <a:spcBef>
                <a:spcPts val="0"/>
              </a:spcBef>
              <a:buClr>
                <a:srgbClr val="005A8C"/>
              </a:buClr>
              <a:buSzPct val="70000"/>
              <a:defRPr/>
            </a:pPr>
            <a:r>
              <a:rPr lang="en-US" sz="800" dirty="0">
                <a:solidFill>
                  <a:srgbClr val="004369"/>
                </a:solidFill>
              </a:rPr>
              <a:t>Operational impact</a:t>
            </a:r>
          </a:p>
        </p:txBody>
      </p:sp>
      <p:sp>
        <p:nvSpPr>
          <p:cNvPr id="382" name="Rectangle: Rounded Corners 306">
            <a:extLst>
              <a:ext uri="{FF2B5EF4-FFF2-40B4-BE49-F238E27FC236}">
                <a16:creationId xmlns:a16="http://schemas.microsoft.com/office/drawing/2014/main" id="{2828F2A7-4D8A-9410-1FDC-4FB113919FDB}"/>
              </a:ext>
            </a:extLst>
          </p:cNvPr>
          <p:cNvSpPr/>
          <p:nvPr/>
        </p:nvSpPr>
        <p:spPr bwMode="auto">
          <a:xfrm>
            <a:off x="6333746" y="2603133"/>
            <a:ext cx="1715794" cy="240811"/>
          </a:xfrm>
          <a:prstGeom prst="roundRect">
            <a:avLst/>
          </a:prstGeom>
          <a:noFill/>
          <a:ln w="9525" cap="flat" cmpd="sng" algn="ctr">
            <a:solidFill>
              <a:srgbClr val="004369"/>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grpSp>
        <p:nvGrpSpPr>
          <p:cNvPr id="383" name="Group 382">
            <a:extLst>
              <a:ext uri="{FF2B5EF4-FFF2-40B4-BE49-F238E27FC236}">
                <a16:creationId xmlns:a16="http://schemas.microsoft.com/office/drawing/2014/main" id="{72DC05E1-7827-FB8D-5FC1-240B6CCBB3FD}"/>
              </a:ext>
            </a:extLst>
          </p:cNvPr>
          <p:cNvGrpSpPr/>
          <p:nvPr/>
        </p:nvGrpSpPr>
        <p:grpSpPr>
          <a:xfrm>
            <a:off x="6171756" y="2553781"/>
            <a:ext cx="386412" cy="327188"/>
            <a:chOff x="106533" y="2294342"/>
            <a:chExt cx="963472" cy="815803"/>
          </a:xfrm>
          <a:solidFill>
            <a:srgbClr val="004369"/>
          </a:solidFill>
        </p:grpSpPr>
        <p:sp>
          <p:nvSpPr>
            <p:cNvPr id="384" name="Freeform 58">
              <a:extLst>
                <a:ext uri="{FF2B5EF4-FFF2-40B4-BE49-F238E27FC236}">
                  <a16:creationId xmlns:a16="http://schemas.microsoft.com/office/drawing/2014/main" id="{00CF7A47-D3C9-B24A-93C6-8D8F183A53D4}"/>
                </a:ext>
              </a:extLst>
            </p:cNvPr>
            <p:cNvSpPr>
              <a:spLocks noEditPoints="1"/>
            </p:cNvSpPr>
            <p:nvPr/>
          </p:nvSpPr>
          <p:spPr bwMode="auto">
            <a:xfrm>
              <a:off x="106533" y="2547345"/>
              <a:ext cx="581225" cy="562800"/>
            </a:xfrm>
            <a:custGeom>
              <a:avLst/>
              <a:gdLst>
                <a:gd name="T0" fmla="*/ 674 w 745"/>
                <a:gd name="T1" fmla="*/ 592 h 744"/>
                <a:gd name="T2" fmla="*/ 594 w 745"/>
                <a:gd name="T3" fmla="*/ 672 h 744"/>
                <a:gd name="T4" fmla="*/ 539 w 745"/>
                <a:gd name="T5" fmla="*/ 619 h 744"/>
                <a:gd name="T6" fmla="*/ 438 w 745"/>
                <a:gd name="T7" fmla="*/ 658 h 744"/>
                <a:gd name="T8" fmla="*/ 428 w 745"/>
                <a:gd name="T9" fmla="*/ 676 h 744"/>
                <a:gd name="T10" fmla="*/ 428 w 745"/>
                <a:gd name="T11" fmla="*/ 743 h 744"/>
                <a:gd name="T12" fmla="*/ 328 w 745"/>
                <a:gd name="T13" fmla="*/ 743 h 744"/>
                <a:gd name="T14" fmla="*/ 316 w 745"/>
                <a:gd name="T15" fmla="*/ 730 h 744"/>
                <a:gd name="T16" fmla="*/ 316 w 745"/>
                <a:gd name="T17" fmla="*/ 674 h 744"/>
                <a:gd name="T18" fmla="*/ 302 w 745"/>
                <a:gd name="T19" fmla="*/ 656 h 744"/>
                <a:gd name="T20" fmla="*/ 200 w 745"/>
                <a:gd name="T21" fmla="*/ 617 h 744"/>
                <a:gd name="T22" fmla="*/ 153 w 745"/>
                <a:gd name="T23" fmla="*/ 674 h 744"/>
                <a:gd name="T24" fmla="*/ 69 w 745"/>
                <a:gd name="T25" fmla="*/ 591 h 744"/>
                <a:gd name="T26" fmla="*/ 125 w 745"/>
                <a:gd name="T27" fmla="*/ 544 h 744"/>
                <a:gd name="T28" fmla="*/ 85 w 745"/>
                <a:gd name="T29" fmla="*/ 439 h 744"/>
                <a:gd name="T30" fmla="*/ 68 w 745"/>
                <a:gd name="T31" fmla="*/ 428 h 744"/>
                <a:gd name="T32" fmla="*/ 0 w 745"/>
                <a:gd name="T33" fmla="*/ 427 h 744"/>
                <a:gd name="T34" fmla="*/ 0 w 745"/>
                <a:gd name="T35" fmla="*/ 317 h 744"/>
                <a:gd name="T36" fmla="*/ 63 w 745"/>
                <a:gd name="T37" fmla="*/ 317 h 744"/>
                <a:gd name="T38" fmla="*/ 88 w 745"/>
                <a:gd name="T39" fmla="*/ 299 h 744"/>
                <a:gd name="T40" fmla="*/ 125 w 745"/>
                <a:gd name="T41" fmla="*/ 202 h 744"/>
                <a:gd name="T42" fmla="*/ 69 w 745"/>
                <a:gd name="T43" fmla="*/ 155 h 744"/>
                <a:gd name="T44" fmla="*/ 152 w 745"/>
                <a:gd name="T45" fmla="*/ 71 h 744"/>
                <a:gd name="T46" fmla="*/ 198 w 745"/>
                <a:gd name="T47" fmla="*/ 128 h 744"/>
                <a:gd name="T48" fmla="*/ 304 w 745"/>
                <a:gd name="T49" fmla="*/ 87 h 744"/>
                <a:gd name="T50" fmla="*/ 315 w 745"/>
                <a:gd name="T51" fmla="*/ 71 h 744"/>
                <a:gd name="T52" fmla="*/ 316 w 745"/>
                <a:gd name="T53" fmla="*/ 15 h 744"/>
                <a:gd name="T54" fmla="*/ 327 w 745"/>
                <a:gd name="T55" fmla="*/ 1 h 744"/>
                <a:gd name="T56" fmla="*/ 428 w 745"/>
                <a:gd name="T57" fmla="*/ 1 h 744"/>
                <a:gd name="T58" fmla="*/ 427 w 745"/>
                <a:gd name="T59" fmla="*/ 68 h 744"/>
                <a:gd name="T60" fmla="*/ 441 w 745"/>
                <a:gd name="T61" fmla="*/ 89 h 744"/>
                <a:gd name="T62" fmla="*/ 541 w 745"/>
                <a:gd name="T63" fmla="*/ 127 h 744"/>
                <a:gd name="T64" fmla="*/ 590 w 745"/>
                <a:gd name="T65" fmla="*/ 72 h 744"/>
                <a:gd name="T66" fmla="*/ 672 w 745"/>
                <a:gd name="T67" fmla="*/ 154 h 744"/>
                <a:gd name="T68" fmla="*/ 624 w 745"/>
                <a:gd name="T69" fmla="*/ 199 h 744"/>
                <a:gd name="T70" fmla="*/ 621 w 745"/>
                <a:gd name="T71" fmla="*/ 218 h 744"/>
                <a:gd name="T72" fmla="*/ 657 w 745"/>
                <a:gd name="T73" fmla="*/ 304 h 744"/>
                <a:gd name="T74" fmla="*/ 673 w 745"/>
                <a:gd name="T75" fmla="*/ 316 h 744"/>
                <a:gd name="T76" fmla="*/ 729 w 745"/>
                <a:gd name="T77" fmla="*/ 317 h 744"/>
                <a:gd name="T78" fmla="*/ 745 w 745"/>
                <a:gd name="T79" fmla="*/ 332 h 744"/>
                <a:gd name="T80" fmla="*/ 745 w 745"/>
                <a:gd name="T81" fmla="*/ 412 h 744"/>
                <a:gd name="T82" fmla="*/ 729 w 745"/>
                <a:gd name="T83" fmla="*/ 427 h 744"/>
                <a:gd name="T84" fmla="*/ 675 w 745"/>
                <a:gd name="T85" fmla="*/ 427 h 744"/>
                <a:gd name="T86" fmla="*/ 656 w 745"/>
                <a:gd name="T87" fmla="*/ 441 h 744"/>
                <a:gd name="T88" fmla="*/ 622 w 745"/>
                <a:gd name="T89" fmla="*/ 526 h 744"/>
                <a:gd name="T90" fmla="*/ 624 w 745"/>
                <a:gd name="T91" fmla="*/ 545 h 744"/>
                <a:gd name="T92" fmla="*/ 674 w 745"/>
                <a:gd name="T93" fmla="*/ 592 h 744"/>
                <a:gd name="T94" fmla="*/ 491 w 745"/>
                <a:gd name="T95" fmla="*/ 373 h 744"/>
                <a:gd name="T96" fmla="*/ 372 w 745"/>
                <a:gd name="T97" fmla="*/ 251 h 744"/>
                <a:gd name="T98" fmla="*/ 249 w 745"/>
                <a:gd name="T99" fmla="*/ 372 h 744"/>
                <a:gd name="T100" fmla="*/ 371 w 745"/>
                <a:gd name="T101" fmla="*/ 493 h 744"/>
                <a:gd name="T102" fmla="*/ 491 w 745"/>
                <a:gd name="T103" fmla="*/ 373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5" h="744">
                  <a:moveTo>
                    <a:pt x="674" y="592"/>
                  </a:moveTo>
                  <a:cubicBezTo>
                    <a:pt x="646" y="620"/>
                    <a:pt x="621" y="645"/>
                    <a:pt x="594" y="672"/>
                  </a:cubicBezTo>
                  <a:cubicBezTo>
                    <a:pt x="576" y="654"/>
                    <a:pt x="556" y="635"/>
                    <a:pt x="539" y="619"/>
                  </a:cubicBezTo>
                  <a:cubicBezTo>
                    <a:pt x="504" y="632"/>
                    <a:pt x="470" y="644"/>
                    <a:pt x="438" y="658"/>
                  </a:cubicBezTo>
                  <a:cubicBezTo>
                    <a:pt x="433" y="660"/>
                    <a:pt x="428" y="670"/>
                    <a:pt x="428" y="676"/>
                  </a:cubicBezTo>
                  <a:cubicBezTo>
                    <a:pt x="427" y="698"/>
                    <a:pt x="428" y="720"/>
                    <a:pt x="428" y="743"/>
                  </a:cubicBezTo>
                  <a:cubicBezTo>
                    <a:pt x="392" y="743"/>
                    <a:pt x="360" y="744"/>
                    <a:pt x="328" y="743"/>
                  </a:cubicBezTo>
                  <a:cubicBezTo>
                    <a:pt x="324" y="743"/>
                    <a:pt x="316" y="735"/>
                    <a:pt x="316" y="730"/>
                  </a:cubicBezTo>
                  <a:cubicBezTo>
                    <a:pt x="315" y="711"/>
                    <a:pt x="315" y="692"/>
                    <a:pt x="316" y="674"/>
                  </a:cubicBezTo>
                  <a:cubicBezTo>
                    <a:pt x="316" y="663"/>
                    <a:pt x="311" y="659"/>
                    <a:pt x="302" y="656"/>
                  </a:cubicBezTo>
                  <a:cubicBezTo>
                    <a:pt x="270" y="644"/>
                    <a:pt x="239" y="632"/>
                    <a:pt x="200" y="617"/>
                  </a:cubicBezTo>
                  <a:cubicBezTo>
                    <a:pt x="186" y="633"/>
                    <a:pt x="169" y="655"/>
                    <a:pt x="153" y="674"/>
                  </a:cubicBezTo>
                  <a:cubicBezTo>
                    <a:pt x="123" y="645"/>
                    <a:pt x="98" y="620"/>
                    <a:pt x="69" y="591"/>
                  </a:cubicBezTo>
                  <a:cubicBezTo>
                    <a:pt x="88" y="575"/>
                    <a:pt x="109" y="557"/>
                    <a:pt x="125" y="544"/>
                  </a:cubicBezTo>
                  <a:cubicBezTo>
                    <a:pt x="110" y="504"/>
                    <a:pt x="98" y="471"/>
                    <a:pt x="85" y="439"/>
                  </a:cubicBezTo>
                  <a:cubicBezTo>
                    <a:pt x="83" y="433"/>
                    <a:pt x="74" y="428"/>
                    <a:pt x="68" y="428"/>
                  </a:cubicBezTo>
                  <a:cubicBezTo>
                    <a:pt x="46" y="426"/>
                    <a:pt x="24" y="427"/>
                    <a:pt x="0" y="427"/>
                  </a:cubicBezTo>
                  <a:cubicBezTo>
                    <a:pt x="0" y="391"/>
                    <a:pt x="0" y="356"/>
                    <a:pt x="0" y="317"/>
                  </a:cubicBezTo>
                  <a:cubicBezTo>
                    <a:pt x="21" y="317"/>
                    <a:pt x="42" y="316"/>
                    <a:pt x="63" y="317"/>
                  </a:cubicBezTo>
                  <a:cubicBezTo>
                    <a:pt x="77" y="318"/>
                    <a:pt x="83" y="313"/>
                    <a:pt x="88" y="299"/>
                  </a:cubicBezTo>
                  <a:cubicBezTo>
                    <a:pt x="98" y="268"/>
                    <a:pt x="111" y="239"/>
                    <a:pt x="125" y="202"/>
                  </a:cubicBezTo>
                  <a:cubicBezTo>
                    <a:pt x="109" y="188"/>
                    <a:pt x="88" y="171"/>
                    <a:pt x="69" y="155"/>
                  </a:cubicBezTo>
                  <a:cubicBezTo>
                    <a:pt x="98" y="125"/>
                    <a:pt x="123" y="100"/>
                    <a:pt x="152" y="71"/>
                  </a:cubicBezTo>
                  <a:cubicBezTo>
                    <a:pt x="168" y="90"/>
                    <a:pt x="185" y="112"/>
                    <a:pt x="198" y="128"/>
                  </a:cubicBezTo>
                  <a:cubicBezTo>
                    <a:pt x="239" y="112"/>
                    <a:pt x="272" y="100"/>
                    <a:pt x="304" y="87"/>
                  </a:cubicBezTo>
                  <a:cubicBezTo>
                    <a:pt x="309" y="85"/>
                    <a:pt x="314" y="77"/>
                    <a:pt x="315" y="71"/>
                  </a:cubicBezTo>
                  <a:cubicBezTo>
                    <a:pt x="316" y="53"/>
                    <a:pt x="315" y="34"/>
                    <a:pt x="316" y="15"/>
                  </a:cubicBezTo>
                  <a:cubicBezTo>
                    <a:pt x="316" y="10"/>
                    <a:pt x="323" y="2"/>
                    <a:pt x="327" y="1"/>
                  </a:cubicBezTo>
                  <a:cubicBezTo>
                    <a:pt x="359" y="0"/>
                    <a:pt x="392" y="1"/>
                    <a:pt x="428" y="1"/>
                  </a:cubicBezTo>
                  <a:cubicBezTo>
                    <a:pt x="428" y="25"/>
                    <a:pt x="428" y="47"/>
                    <a:pt x="427" y="68"/>
                  </a:cubicBezTo>
                  <a:cubicBezTo>
                    <a:pt x="427" y="79"/>
                    <a:pt x="431" y="85"/>
                    <a:pt x="441" y="89"/>
                  </a:cubicBezTo>
                  <a:cubicBezTo>
                    <a:pt x="473" y="100"/>
                    <a:pt x="505" y="113"/>
                    <a:pt x="541" y="127"/>
                  </a:cubicBezTo>
                  <a:cubicBezTo>
                    <a:pt x="555" y="110"/>
                    <a:pt x="573" y="90"/>
                    <a:pt x="590" y="72"/>
                  </a:cubicBezTo>
                  <a:cubicBezTo>
                    <a:pt x="618" y="100"/>
                    <a:pt x="643" y="125"/>
                    <a:pt x="672" y="154"/>
                  </a:cubicBezTo>
                  <a:cubicBezTo>
                    <a:pt x="658" y="167"/>
                    <a:pt x="640" y="182"/>
                    <a:pt x="624" y="199"/>
                  </a:cubicBezTo>
                  <a:cubicBezTo>
                    <a:pt x="620" y="203"/>
                    <a:pt x="619" y="213"/>
                    <a:pt x="621" y="218"/>
                  </a:cubicBezTo>
                  <a:cubicBezTo>
                    <a:pt x="632" y="247"/>
                    <a:pt x="644" y="276"/>
                    <a:pt x="657" y="304"/>
                  </a:cubicBezTo>
                  <a:cubicBezTo>
                    <a:pt x="660" y="310"/>
                    <a:pt x="667" y="316"/>
                    <a:pt x="673" y="316"/>
                  </a:cubicBezTo>
                  <a:cubicBezTo>
                    <a:pt x="692" y="318"/>
                    <a:pt x="710" y="317"/>
                    <a:pt x="729" y="317"/>
                  </a:cubicBezTo>
                  <a:cubicBezTo>
                    <a:pt x="740" y="317"/>
                    <a:pt x="745" y="321"/>
                    <a:pt x="745" y="332"/>
                  </a:cubicBezTo>
                  <a:cubicBezTo>
                    <a:pt x="744" y="359"/>
                    <a:pt x="744" y="385"/>
                    <a:pt x="745" y="412"/>
                  </a:cubicBezTo>
                  <a:cubicBezTo>
                    <a:pt x="745" y="423"/>
                    <a:pt x="740" y="428"/>
                    <a:pt x="729" y="427"/>
                  </a:cubicBezTo>
                  <a:cubicBezTo>
                    <a:pt x="711" y="427"/>
                    <a:pt x="693" y="427"/>
                    <a:pt x="675" y="427"/>
                  </a:cubicBezTo>
                  <a:cubicBezTo>
                    <a:pt x="665" y="427"/>
                    <a:pt x="660" y="430"/>
                    <a:pt x="656" y="441"/>
                  </a:cubicBezTo>
                  <a:cubicBezTo>
                    <a:pt x="646" y="470"/>
                    <a:pt x="632" y="497"/>
                    <a:pt x="622" y="526"/>
                  </a:cubicBezTo>
                  <a:cubicBezTo>
                    <a:pt x="619" y="531"/>
                    <a:pt x="620" y="541"/>
                    <a:pt x="624" y="545"/>
                  </a:cubicBezTo>
                  <a:cubicBezTo>
                    <a:pt x="640" y="562"/>
                    <a:pt x="658" y="577"/>
                    <a:pt x="674" y="592"/>
                  </a:cubicBezTo>
                  <a:close/>
                  <a:moveTo>
                    <a:pt x="491" y="373"/>
                  </a:moveTo>
                  <a:cubicBezTo>
                    <a:pt x="491" y="305"/>
                    <a:pt x="438" y="252"/>
                    <a:pt x="372" y="251"/>
                  </a:cubicBezTo>
                  <a:cubicBezTo>
                    <a:pt x="306" y="251"/>
                    <a:pt x="250" y="306"/>
                    <a:pt x="249" y="372"/>
                  </a:cubicBezTo>
                  <a:cubicBezTo>
                    <a:pt x="249" y="436"/>
                    <a:pt x="305" y="493"/>
                    <a:pt x="371" y="493"/>
                  </a:cubicBezTo>
                  <a:cubicBezTo>
                    <a:pt x="437" y="493"/>
                    <a:pt x="491" y="439"/>
                    <a:pt x="491" y="373"/>
                  </a:cubicBez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endParaRPr lang="en-US" sz="1000">
                <a:solidFill>
                  <a:srgbClr val="3F3F3F"/>
                </a:solidFill>
                <a:latin typeface="Arial"/>
              </a:endParaRPr>
            </a:p>
          </p:txBody>
        </p:sp>
        <p:sp>
          <p:nvSpPr>
            <p:cNvPr id="385" name="Freeform 59">
              <a:extLst>
                <a:ext uri="{FF2B5EF4-FFF2-40B4-BE49-F238E27FC236}">
                  <a16:creationId xmlns:a16="http://schemas.microsoft.com/office/drawing/2014/main" id="{FADA8E0C-6B60-E9A3-EC74-238D8870A1DF}"/>
                </a:ext>
              </a:extLst>
            </p:cNvPr>
            <p:cNvSpPr>
              <a:spLocks noEditPoints="1"/>
            </p:cNvSpPr>
            <p:nvPr/>
          </p:nvSpPr>
          <p:spPr bwMode="auto">
            <a:xfrm>
              <a:off x="546380" y="2294342"/>
              <a:ext cx="523625" cy="567964"/>
            </a:xfrm>
            <a:custGeom>
              <a:avLst/>
              <a:gdLst>
                <a:gd name="T0" fmla="*/ 675 w 675"/>
                <a:gd name="T1" fmla="*/ 316 h 743"/>
                <a:gd name="T2" fmla="*/ 675 w 675"/>
                <a:gd name="T3" fmla="*/ 426 h 743"/>
                <a:gd name="T4" fmla="*/ 608 w 675"/>
                <a:gd name="T5" fmla="*/ 426 h 743"/>
                <a:gd name="T6" fmla="*/ 589 w 675"/>
                <a:gd name="T7" fmla="*/ 440 h 743"/>
                <a:gd name="T8" fmla="*/ 550 w 675"/>
                <a:gd name="T9" fmla="*/ 541 h 743"/>
                <a:gd name="T10" fmla="*/ 608 w 675"/>
                <a:gd name="T11" fmla="*/ 590 h 743"/>
                <a:gd name="T12" fmla="*/ 526 w 675"/>
                <a:gd name="T13" fmla="*/ 671 h 743"/>
                <a:gd name="T14" fmla="*/ 477 w 675"/>
                <a:gd name="T15" fmla="*/ 616 h 743"/>
                <a:gd name="T16" fmla="*/ 370 w 675"/>
                <a:gd name="T17" fmla="*/ 656 h 743"/>
                <a:gd name="T18" fmla="*/ 360 w 675"/>
                <a:gd name="T19" fmla="*/ 672 h 743"/>
                <a:gd name="T20" fmla="*/ 360 w 675"/>
                <a:gd name="T21" fmla="*/ 726 h 743"/>
                <a:gd name="T22" fmla="*/ 343 w 675"/>
                <a:gd name="T23" fmla="*/ 743 h 743"/>
                <a:gd name="T24" fmla="*/ 277 w 675"/>
                <a:gd name="T25" fmla="*/ 743 h 743"/>
                <a:gd name="T26" fmla="*/ 259 w 675"/>
                <a:gd name="T27" fmla="*/ 724 h 743"/>
                <a:gd name="T28" fmla="*/ 260 w 675"/>
                <a:gd name="T29" fmla="*/ 592 h 743"/>
                <a:gd name="T30" fmla="*/ 235 w 675"/>
                <a:gd name="T31" fmla="*/ 566 h 743"/>
                <a:gd name="T32" fmla="*/ 173 w 675"/>
                <a:gd name="T33" fmla="*/ 566 h 743"/>
                <a:gd name="T34" fmla="*/ 154 w 675"/>
                <a:gd name="T35" fmla="*/ 558 h 743"/>
                <a:gd name="T36" fmla="*/ 162 w 675"/>
                <a:gd name="T37" fmla="*/ 537 h 743"/>
                <a:gd name="T38" fmla="*/ 213 w 675"/>
                <a:gd name="T39" fmla="*/ 488 h 743"/>
                <a:gd name="T40" fmla="*/ 196 w 675"/>
                <a:gd name="T41" fmla="*/ 469 h 743"/>
                <a:gd name="T42" fmla="*/ 35 w 675"/>
                <a:gd name="T43" fmla="*/ 308 h 743"/>
                <a:gd name="T44" fmla="*/ 28 w 675"/>
                <a:gd name="T45" fmla="*/ 276 h 743"/>
                <a:gd name="T46" fmla="*/ 60 w 675"/>
                <a:gd name="T47" fmla="*/ 203 h 743"/>
                <a:gd name="T48" fmla="*/ 0 w 675"/>
                <a:gd name="T49" fmla="*/ 149 h 743"/>
                <a:gd name="T50" fmla="*/ 73 w 675"/>
                <a:gd name="T51" fmla="*/ 76 h 743"/>
                <a:gd name="T52" fmla="*/ 90 w 675"/>
                <a:gd name="T53" fmla="*/ 80 h 743"/>
                <a:gd name="T54" fmla="*/ 134 w 675"/>
                <a:gd name="T55" fmla="*/ 125 h 743"/>
                <a:gd name="T56" fmla="*/ 238 w 675"/>
                <a:gd name="T57" fmla="*/ 85 h 743"/>
                <a:gd name="T58" fmla="*/ 249 w 675"/>
                <a:gd name="T59" fmla="*/ 70 h 743"/>
                <a:gd name="T60" fmla="*/ 250 w 675"/>
                <a:gd name="T61" fmla="*/ 0 h 743"/>
                <a:gd name="T62" fmla="*/ 350 w 675"/>
                <a:gd name="T63" fmla="*/ 1 h 743"/>
                <a:gd name="T64" fmla="*/ 359 w 675"/>
                <a:gd name="T65" fmla="*/ 15 h 743"/>
                <a:gd name="T66" fmla="*/ 360 w 675"/>
                <a:gd name="T67" fmla="*/ 71 h 743"/>
                <a:gd name="T68" fmla="*/ 371 w 675"/>
                <a:gd name="T69" fmla="*/ 86 h 743"/>
                <a:gd name="T70" fmla="*/ 476 w 675"/>
                <a:gd name="T71" fmla="*/ 126 h 743"/>
                <a:gd name="T72" fmla="*/ 524 w 675"/>
                <a:gd name="T73" fmla="*/ 70 h 743"/>
                <a:gd name="T74" fmla="*/ 607 w 675"/>
                <a:gd name="T75" fmla="*/ 151 h 743"/>
                <a:gd name="T76" fmla="*/ 550 w 675"/>
                <a:gd name="T77" fmla="*/ 199 h 743"/>
                <a:gd name="T78" fmla="*/ 590 w 675"/>
                <a:gd name="T79" fmla="*/ 304 h 743"/>
                <a:gd name="T80" fmla="*/ 607 w 675"/>
                <a:gd name="T81" fmla="*/ 315 h 743"/>
                <a:gd name="T82" fmla="*/ 675 w 675"/>
                <a:gd name="T83" fmla="*/ 316 h 743"/>
                <a:gd name="T84" fmla="*/ 184 w 675"/>
                <a:gd name="T85" fmla="*/ 371 h 743"/>
                <a:gd name="T86" fmla="*/ 305 w 675"/>
                <a:gd name="T87" fmla="*/ 492 h 743"/>
                <a:gd name="T88" fmla="*/ 426 w 675"/>
                <a:gd name="T89" fmla="*/ 370 h 743"/>
                <a:gd name="T90" fmla="*/ 304 w 675"/>
                <a:gd name="T91" fmla="*/ 250 h 743"/>
                <a:gd name="T92" fmla="*/ 184 w 675"/>
                <a:gd name="T93" fmla="*/ 371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5" h="743">
                  <a:moveTo>
                    <a:pt x="675" y="316"/>
                  </a:moveTo>
                  <a:cubicBezTo>
                    <a:pt x="675" y="353"/>
                    <a:pt x="675" y="388"/>
                    <a:pt x="675" y="426"/>
                  </a:cubicBezTo>
                  <a:cubicBezTo>
                    <a:pt x="653" y="426"/>
                    <a:pt x="631" y="427"/>
                    <a:pt x="608" y="426"/>
                  </a:cubicBezTo>
                  <a:cubicBezTo>
                    <a:pt x="597" y="425"/>
                    <a:pt x="592" y="430"/>
                    <a:pt x="589" y="440"/>
                  </a:cubicBezTo>
                  <a:cubicBezTo>
                    <a:pt x="577" y="472"/>
                    <a:pt x="565" y="503"/>
                    <a:pt x="550" y="541"/>
                  </a:cubicBezTo>
                  <a:cubicBezTo>
                    <a:pt x="567" y="554"/>
                    <a:pt x="587" y="572"/>
                    <a:pt x="608" y="590"/>
                  </a:cubicBezTo>
                  <a:cubicBezTo>
                    <a:pt x="579" y="619"/>
                    <a:pt x="554" y="644"/>
                    <a:pt x="526" y="671"/>
                  </a:cubicBezTo>
                  <a:cubicBezTo>
                    <a:pt x="509" y="652"/>
                    <a:pt x="491" y="631"/>
                    <a:pt x="477" y="616"/>
                  </a:cubicBezTo>
                  <a:cubicBezTo>
                    <a:pt x="437" y="631"/>
                    <a:pt x="403" y="643"/>
                    <a:pt x="370" y="656"/>
                  </a:cubicBezTo>
                  <a:cubicBezTo>
                    <a:pt x="365" y="658"/>
                    <a:pt x="361" y="667"/>
                    <a:pt x="360" y="672"/>
                  </a:cubicBezTo>
                  <a:cubicBezTo>
                    <a:pt x="359" y="690"/>
                    <a:pt x="359" y="708"/>
                    <a:pt x="360" y="726"/>
                  </a:cubicBezTo>
                  <a:cubicBezTo>
                    <a:pt x="360" y="739"/>
                    <a:pt x="355" y="743"/>
                    <a:pt x="343" y="743"/>
                  </a:cubicBezTo>
                  <a:cubicBezTo>
                    <a:pt x="321" y="742"/>
                    <a:pt x="299" y="741"/>
                    <a:pt x="277" y="743"/>
                  </a:cubicBezTo>
                  <a:cubicBezTo>
                    <a:pt x="263" y="743"/>
                    <a:pt x="259" y="737"/>
                    <a:pt x="259" y="724"/>
                  </a:cubicBezTo>
                  <a:cubicBezTo>
                    <a:pt x="260" y="680"/>
                    <a:pt x="259" y="636"/>
                    <a:pt x="260" y="592"/>
                  </a:cubicBezTo>
                  <a:cubicBezTo>
                    <a:pt x="260" y="573"/>
                    <a:pt x="257" y="564"/>
                    <a:pt x="235" y="566"/>
                  </a:cubicBezTo>
                  <a:cubicBezTo>
                    <a:pt x="214" y="568"/>
                    <a:pt x="194" y="567"/>
                    <a:pt x="173" y="566"/>
                  </a:cubicBezTo>
                  <a:cubicBezTo>
                    <a:pt x="166" y="566"/>
                    <a:pt x="155" y="562"/>
                    <a:pt x="154" y="558"/>
                  </a:cubicBezTo>
                  <a:cubicBezTo>
                    <a:pt x="153" y="551"/>
                    <a:pt x="157" y="542"/>
                    <a:pt x="162" y="537"/>
                  </a:cubicBezTo>
                  <a:cubicBezTo>
                    <a:pt x="178" y="520"/>
                    <a:pt x="195" y="505"/>
                    <a:pt x="213" y="488"/>
                  </a:cubicBezTo>
                  <a:cubicBezTo>
                    <a:pt x="205" y="480"/>
                    <a:pt x="201" y="474"/>
                    <a:pt x="196" y="469"/>
                  </a:cubicBezTo>
                  <a:cubicBezTo>
                    <a:pt x="142" y="415"/>
                    <a:pt x="89" y="361"/>
                    <a:pt x="35" y="308"/>
                  </a:cubicBezTo>
                  <a:cubicBezTo>
                    <a:pt x="25" y="298"/>
                    <a:pt x="22" y="288"/>
                    <a:pt x="28" y="276"/>
                  </a:cubicBezTo>
                  <a:cubicBezTo>
                    <a:pt x="38" y="253"/>
                    <a:pt x="48" y="230"/>
                    <a:pt x="60" y="203"/>
                  </a:cubicBezTo>
                  <a:cubicBezTo>
                    <a:pt x="41" y="186"/>
                    <a:pt x="21" y="168"/>
                    <a:pt x="0" y="149"/>
                  </a:cubicBezTo>
                  <a:cubicBezTo>
                    <a:pt x="26" y="123"/>
                    <a:pt x="49" y="99"/>
                    <a:pt x="73" y="76"/>
                  </a:cubicBezTo>
                  <a:cubicBezTo>
                    <a:pt x="76" y="74"/>
                    <a:pt x="87" y="76"/>
                    <a:pt x="90" y="80"/>
                  </a:cubicBezTo>
                  <a:cubicBezTo>
                    <a:pt x="107" y="95"/>
                    <a:pt x="122" y="112"/>
                    <a:pt x="134" y="125"/>
                  </a:cubicBezTo>
                  <a:cubicBezTo>
                    <a:pt x="172" y="111"/>
                    <a:pt x="205" y="99"/>
                    <a:pt x="238" y="85"/>
                  </a:cubicBezTo>
                  <a:cubicBezTo>
                    <a:pt x="243" y="83"/>
                    <a:pt x="249" y="75"/>
                    <a:pt x="249" y="70"/>
                  </a:cubicBezTo>
                  <a:cubicBezTo>
                    <a:pt x="250" y="48"/>
                    <a:pt x="250" y="25"/>
                    <a:pt x="250" y="0"/>
                  </a:cubicBezTo>
                  <a:cubicBezTo>
                    <a:pt x="284" y="0"/>
                    <a:pt x="317" y="0"/>
                    <a:pt x="350" y="1"/>
                  </a:cubicBezTo>
                  <a:cubicBezTo>
                    <a:pt x="354" y="1"/>
                    <a:pt x="359" y="10"/>
                    <a:pt x="359" y="15"/>
                  </a:cubicBezTo>
                  <a:cubicBezTo>
                    <a:pt x="360" y="33"/>
                    <a:pt x="359" y="52"/>
                    <a:pt x="360" y="71"/>
                  </a:cubicBezTo>
                  <a:cubicBezTo>
                    <a:pt x="361" y="76"/>
                    <a:pt x="366" y="83"/>
                    <a:pt x="371" y="86"/>
                  </a:cubicBezTo>
                  <a:cubicBezTo>
                    <a:pt x="404" y="99"/>
                    <a:pt x="437" y="111"/>
                    <a:pt x="476" y="126"/>
                  </a:cubicBezTo>
                  <a:cubicBezTo>
                    <a:pt x="490" y="110"/>
                    <a:pt x="508" y="89"/>
                    <a:pt x="524" y="70"/>
                  </a:cubicBezTo>
                  <a:cubicBezTo>
                    <a:pt x="552" y="98"/>
                    <a:pt x="578" y="123"/>
                    <a:pt x="607" y="151"/>
                  </a:cubicBezTo>
                  <a:cubicBezTo>
                    <a:pt x="587" y="168"/>
                    <a:pt x="566" y="185"/>
                    <a:pt x="550" y="199"/>
                  </a:cubicBezTo>
                  <a:cubicBezTo>
                    <a:pt x="565" y="239"/>
                    <a:pt x="577" y="272"/>
                    <a:pt x="590" y="304"/>
                  </a:cubicBezTo>
                  <a:cubicBezTo>
                    <a:pt x="593" y="309"/>
                    <a:pt x="601" y="315"/>
                    <a:pt x="607" y="315"/>
                  </a:cubicBezTo>
                  <a:cubicBezTo>
                    <a:pt x="629" y="317"/>
                    <a:pt x="651" y="316"/>
                    <a:pt x="675" y="316"/>
                  </a:cubicBezTo>
                  <a:close/>
                  <a:moveTo>
                    <a:pt x="184" y="371"/>
                  </a:moveTo>
                  <a:cubicBezTo>
                    <a:pt x="184" y="438"/>
                    <a:pt x="238" y="492"/>
                    <a:pt x="305" y="492"/>
                  </a:cubicBezTo>
                  <a:cubicBezTo>
                    <a:pt x="370" y="491"/>
                    <a:pt x="426" y="435"/>
                    <a:pt x="426" y="370"/>
                  </a:cubicBezTo>
                  <a:cubicBezTo>
                    <a:pt x="425" y="305"/>
                    <a:pt x="369" y="250"/>
                    <a:pt x="304" y="250"/>
                  </a:cubicBezTo>
                  <a:cubicBezTo>
                    <a:pt x="237" y="250"/>
                    <a:pt x="183" y="305"/>
                    <a:pt x="184" y="371"/>
                  </a:cubicBez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3F3F3F"/>
                </a:solidFill>
                <a:effectLst/>
                <a:uLnTx/>
                <a:uFillTx/>
                <a:latin typeface="Arial"/>
                <a:ea typeface="+mn-ea"/>
                <a:cs typeface="Arial" charset="0"/>
              </a:endParaRPr>
            </a:p>
          </p:txBody>
        </p:sp>
      </p:grpSp>
      <p:sp>
        <p:nvSpPr>
          <p:cNvPr id="387" name="Rectangle 386">
            <a:extLst>
              <a:ext uri="{FF2B5EF4-FFF2-40B4-BE49-F238E27FC236}">
                <a16:creationId xmlns:a16="http://schemas.microsoft.com/office/drawing/2014/main" id="{DE42C27B-BF7F-9D42-D6EE-AD358D233E2D}"/>
              </a:ext>
            </a:extLst>
          </p:cNvPr>
          <p:cNvSpPr/>
          <p:nvPr/>
        </p:nvSpPr>
        <p:spPr bwMode="auto">
          <a:xfrm>
            <a:off x="7780792" y="3654103"/>
            <a:ext cx="177601" cy="17760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en-US" sz="1200">
                <a:solidFill>
                  <a:srgbClr val="606060"/>
                </a:solidFill>
              </a:rPr>
              <a:t>5.9</a:t>
            </a:r>
            <a:endParaRPr lang="en-IN" sz="1200">
              <a:solidFill>
                <a:srgbClr val="606060"/>
              </a:solidFill>
            </a:endParaRPr>
          </a:p>
        </p:txBody>
      </p:sp>
      <p:sp>
        <p:nvSpPr>
          <p:cNvPr id="388" name="Rectangle 387">
            <a:extLst>
              <a:ext uri="{FF2B5EF4-FFF2-40B4-BE49-F238E27FC236}">
                <a16:creationId xmlns:a16="http://schemas.microsoft.com/office/drawing/2014/main" id="{1F74022F-ADF4-B931-CC7C-9CEB6B5361B5}"/>
              </a:ext>
            </a:extLst>
          </p:cNvPr>
          <p:cNvSpPr/>
          <p:nvPr/>
        </p:nvSpPr>
        <p:spPr bwMode="auto">
          <a:xfrm>
            <a:off x="6879686" y="3681348"/>
            <a:ext cx="543418" cy="12311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lvl="1" algn="ctr" eaLnBrk="0" hangingPunct="0">
              <a:spcBef>
                <a:spcPts val="0"/>
              </a:spcBef>
              <a:buClr>
                <a:srgbClr val="005A8C"/>
              </a:buClr>
              <a:buSzPct val="70000"/>
              <a:defRPr/>
            </a:pPr>
            <a:r>
              <a:rPr lang="en-US" sz="800">
                <a:solidFill>
                  <a:srgbClr val="606060"/>
                </a:solidFill>
              </a:rPr>
              <a:t>Cost impact</a:t>
            </a:r>
          </a:p>
        </p:txBody>
      </p:sp>
      <p:sp>
        <p:nvSpPr>
          <p:cNvPr id="389" name="Rectangle: Rounded Corners 306">
            <a:extLst>
              <a:ext uri="{FF2B5EF4-FFF2-40B4-BE49-F238E27FC236}">
                <a16:creationId xmlns:a16="http://schemas.microsoft.com/office/drawing/2014/main" id="{9356E64F-9F38-1CA9-3776-9089BCBE0498}"/>
              </a:ext>
            </a:extLst>
          </p:cNvPr>
          <p:cNvSpPr/>
          <p:nvPr/>
        </p:nvSpPr>
        <p:spPr bwMode="auto">
          <a:xfrm>
            <a:off x="6374066" y="3622498"/>
            <a:ext cx="1680210" cy="240811"/>
          </a:xfrm>
          <a:prstGeom prst="roundRect">
            <a:avLst/>
          </a:prstGeom>
          <a:noFill/>
          <a:ln w="9525" cap="flat" cmpd="sng" algn="ctr">
            <a:solidFill>
              <a:srgbClr val="606060"/>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grpSp>
        <p:nvGrpSpPr>
          <p:cNvPr id="390" name="Group 389">
            <a:extLst>
              <a:ext uri="{FF2B5EF4-FFF2-40B4-BE49-F238E27FC236}">
                <a16:creationId xmlns:a16="http://schemas.microsoft.com/office/drawing/2014/main" id="{4BCA2E8A-9B6C-E7C1-EDC9-BEDAFBED536B}"/>
              </a:ext>
            </a:extLst>
          </p:cNvPr>
          <p:cNvGrpSpPr/>
          <p:nvPr/>
        </p:nvGrpSpPr>
        <p:grpSpPr>
          <a:xfrm>
            <a:off x="6169311" y="3130690"/>
            <a:ext cx="294931" cy="294571"/>
            <a:chOff x="184980" y="4346647"/>
            <a:chExt cx="796327" cy="795354"/>
          </a:xfrm>
          <a:solidFill>
            <a:srgbClr val="27A7DF"/>
          </a:solidFill>
        </p:grpSpPr>
        <p:sp>
          <p:nvSpPr>
            <p:cNvPr id="391" name="Freeform 17">
              <a:extLst>
                <a:ext uri="{FF2B5EF4-FFF2-40B4-BE49-F238E27FC236}">
                  <a16:creationId xmlns:a16="http://schemas.microsoft.com/office/drawing/2014/main" id="{EF944F1F-79A7-836A-C0FA-BFDD5CD0B1D5}"/>
                </a:ext>
              </a:extLst>
            </p:cNvPr>
            <p:cNvSpPr>
              <a:spLocks/>
            </p:cNvSpPr>
            <p:nvPr/>
          </p:nvSpPr>
          <p:spPr bwMode="auto">
            <a:xfrm>
              <a:off x="782907" y="4578958"/>
              <a:ext cx="198400" cy="563043"/>
            </a:xfrm>
            <a:custGeom>
              <a:avLst/>
              <a:gdLst>
                <a:gd name="T0" fmla="*/ 685 w 685"/>
                <a:gd name="T1" fmla="*/ 1946 h 1946"/>
                <a:gd name="T2" fmla="*/ 0 w 685"/>
                <a:gd name="T3" fmla="*/ 1946 h 1946"/>
                <a:gd name="T4" fmla="*/ 0 w 685"/>
                <a:gd name="T5" fmla="*/ 0 h 1946"/>
                <a:gd name="T6" fmla="*/ 685 w 685"/>
                <a:gd name="T7" fmla="*/ 0 h 1946"/>
                <a:gd name="T8" fmla="*/ 685 w 685"/>
                <a:gd name="T9" fmla="*/ 1946 h 1946"/>
              </a:gdLst>
              <a:ahLst/>
              <a:cxnLst>
                <a:cxn ang="0">
                  <a:pos x="T0" y="T1"/>
                </a:cxn>
                <a:cxn ang="0">
                  <a:pos x="T2" y="T3"/>
                </a:cxn>
                <a:cxn ang="0">
                  <a:pos x="T4" y="T5"/>
                </a:cxn>
                <a:cxn ang="0">
                  <a:pos x="T6" y="T7"/>
                </a:cxn>
                <a:cxn ang="0">
                  <a:pos x="T8" y="T9"/>
                </a:cxn>
              </a:cxnLst>
              <a:rect l="0" t="0" r="r" b="b"/>
              <a:pathLst>
                <a:path w="685" h="1946">
                  <a:moveTo>
                    <a:pt x="685" y="1946"/>
                  </a:moveTo>
                  <a:cubicBezTo>
                    <a:pt x="456" y="1946"/>
                    <a:pt x="229" y="1946"/>
                    <a:pt x="0" y="1946"/>
                  </a:cubicBezTo>
                  <a:cubicBezTo>
                    <a:pt x="0" y="1298"/>
                    <a:pt x="0" y="650"/>
                    <a:pt x="0" y="0"/>
                  </a:cubicBezTo>
                  <a:cubicBezTo>
                    <a:pt x="227" y="0"/>
                    <a:pt x="455" y="0"/>
                    <a:pt x="685" y="0"/>
                  </a:cubicBezTo>
                  <a:cubicBezTo>
                    <a:pt x="685" y="648"/>
                    <a:pt x="685" y="1296"/>
                    <a:pt x="685" y="19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chemeClr val="accent5">
                    <a:lumMod val="75000"/>
                  </a:schemeClr>
                </a:solidFill>
              </a:endParaRPr>
            </a:p>
          </p:txBody>
        </p:sp>
        <p:sp>
          <p:nvSpPr>
            <p:cNvPr id="392" name="Freeform 18">
              <a:extLst>
                <a:ext uri="{FF2B5EF4-FFF2-40B4-BE49-F238E27FC236}">
                  <a16:creationId xmlns:a16="http://schemas.microsoft.com/office/drawing/2014/main" id="{6C201B20-D1F4-128E-F5E7-68AC2B5C5D53}"/>
                </a:ext>
              </a:extLst>
            </p:cNvPr>
            <p:cNvSpPr>
              <a:spLocks/>
            </p:cNvSpPr>
            <p:nvPr/>
          </p:nvSpPr>
          <p:spPr bwMode="auto">
            <a:xfrm>
              <a:off x="516880" y="4744616"/>
              <a:ext cx="198789" cy="397385"/>
            </a:xfrm>
            <a:custGeom>
              <a:avLst/>
              <a:gdLst>
                <a:gd name="T0" fmla="*/ 0 w 686"/>
                <a:gd name="T1" fmla="*/ 1374 h 1374"/>
                <a:gd name="T2" fmla="*/ 0 w 686"/>
                <a:gd name="T3" fmla="*/ 0 h 1374"/>
                <a:gd name="T4" fmla="*/ 686 w 686"/>
                <a:gd name="T5" fmla="*/ 0 h 1374"/>
                <a:gd name="T6" fmla="*/ 686 w 686"/>
                <a:gd name="T7" fmla="*/ 1374 h 1374"/>
                <a:gd name="T8" fmla="*/ 0 w 686"/>
                <a:gd name="T9" fmla="*/ 1374 h 1374"/>
              </a:gdLst>
              <a:ahLst/>
              <a:cxnLst>
                <a:cxn ang="0">
                  <a:pos x="T0" y="T1"/>
                </a:cxn>
                <a:cxn ang="0">
                  <a:pos x="T2" y="T3"/>
                </a:cxn>
                <a:cxn ang="0">
                  <a:pos x="T4" y="T5"/>
                </a:cxn>
                <a:cxn ang="0">
                  <a:pos x="T6" y="T7"/>
                </a:cxn>
                <a:cxn ang="0">
                  <a:pos x="T8" y="T9"/>
                </a:cxn>
              </a:cxnLst>
              <a:rect l="0" t="0" r="r" b="b"/>
              <a:pathLst>
                <a:path w="686" h="1374">
                  <a:moveTo>
                    <a:pt x="0" y="1374"/>
                  </a:moveTo>
                  <a:cubicBezTo>
                    <a:pt x="0" y="915"/>
                    <a:pt x="0" y="458"/>
                    <a:pt x="0" y="0"/>
                  </a:cubicBezTo>
                  <a:cubicBezTo>
                    <a:pt x="229" y="0"/>
                    <a:pt x="456" y="0"/>
                    <a:pt x="686" y="0"/>
                  </a:cubicBezTo>
                  <a:cubicBezTo>
                    <a:pt x="686" y="458"/>
                    <a:pt x="686" y="915"/>
                    <a:pt x="686" y="1374"/>
                  </a:cubicBezTo>
                  <a:cubicBezTo>
                    <a:pt x="458" y="1374"/>
                    <a:pt x="230" y="1374"/>
                    <a:pt x="0" y="13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chemeClr val="accent5">
                    <a:lumMod val="75000"/>
                  </a:schemeClr>
                </a:solidFill>
              </a:endParaRPr>
            </a:p>
          </p:txBody>
        </p:sp>
        <p:sp>
          <p:nvSpPr>
            <p:cNvPr id="393" name="Freeform 19">
              <a:extLst>
                <a:ext uri="{FF2B5EF4-FFF2-40B4-BE49-F238E27FC236}">
                  <a16:creationId xmlns:a16="http://schemas.microsoft.com/office/drawing/2014/main" id="{81FE333B-11FF-629B-842D-D19E9AAC2E5F}"/>
                </a:ext>
              </a:extLst>
            </p:cNvPr>
            <p:cNvSpPr>
              <a:spLocks noEditPoints="1"/>
            </p:cNvSpPr>
            <p:nvPr/>
          </p:nvSpPr>
          <p:spPr bwMode="auto">
            <a:xfrm>
              <a:off x="184980" y="4346647"/>
              <a:ext cx="397774" cy="396995"/>
            </a:xfrm>
            <a:custGeom>
              <a:avLst/>
              <a:gdLst>
                <a:gd name="T0" fmla="*/ 1208 w 1373"/>
                <a:gd name="T1" fmla="*/ 801 h 1372"/>
                <a:gd name="T2" fmla="*/ 1137 w 1373"/>
                <a:gd name="T3" fmla="*/ 976 h 1372"/>
                <a:gd name="T4" fmla="*/ 1259 w 1373"/>
                <a:gd name="T5" fmla="*/ 1087 h 1372"/>
                <a:gd name="T6" fmla="*/ 1089 w 1373"/>
                <a:gd name="T7" fmla="*/ 1246 h 1372"/>
                <a:gd name="T8" fmla="*/ 974 w 1373"/>
                <a:gd name="T9" fmla="*/ 1132 h 1372"/>
                <a:gd name="T10" fmla="*/ 812 w 1373"/>
                <a:gd name="T11" fmla="*/ 1200 h 1372"/>
                <a:gd name="T12" fmla="*/ 802 w 1373"/>
                <a:gd name="T13" fmla="*/ 1217 h 1372"/>
                <a:gd name="T14" fmla="*/ 801 w 1373"/>
                <a:gd name="T15" fmla="*/ 1349 h 1372"/>
                <a:gd name="T16" fmla="*/ 801 w 1373"/>
                <a:gd name="T17" fmla="*/ 1372 h 1372"/>
                <a:gd name="T18" fmla="*/ 571 w 1373"/>
                <a:gd name="T19" fmla="*/ 1372 h 1372"/>
                <a:gd name="T20" fmla="*/ 571 w 1373"/>
                <a:gd name="T21" fmla="*/ 1255 h 1372"/>
                <a:gd name="T22" fmla="*/ 534 w 1373"/>
                <a:gd name="T23" fmla="*/ 1204 h 1372"/>
                <a:gd name="T24" fmla="*/ 395 w 1373"/>
                <a:gd name="T25" fmla="*/ 1148 h 1372"/>
                <a:gd name="T26" fmla="*/ 290 w 1373"/>
                <a:gd name="T27" fmla="*/ 1260 h 1372"/>
                <a:gd name="T28" fmla="*/ 130 w 1373"/>
                <a:gd name="T29" fmla="*/ 1098 h 1372"/>
                <a:gd name="T30" fmla="*/ 242 w 1373"/>
                <a:gd name="T31" fmla="*/ 988 h 1372"/>
                <a:gd name="T32" fmla="*/ 159 w 1373"/>
                <a:gd name="T33" fmla="*/ 802 h 1372"/>
                <a:gd name="T34" fmla="*/ 0 w 1373"/>
                <a:gd name="T35" fmla="*/ 802 h 1372"/>
                <a:gd name="T36" fmla="*/ 0 w 1373"/>
                <a:gd name="T37" fmla="*/ 571 h 1372"/>
                <a:gd name="T38" fmla="*/ 20 w 1373"/>
                <a:gd name="T39" fmla="*/ 571 h 1372"/>
                <a:gd name="T40" fmla="*/ 144 w 1373"/>
                <a:gd name="T41" fmla="*/ 571 h 1372"/>
                <a:gd name="T42" fmla="*/ 162 w 1373"/>
                <a:gd name="T43" fmla="*/ 557 h 1372"/>
                <a:gd name="T44" fmla="*/ 239 w 1373"/>
                <a:gd name="T45" fmla="*/ 399 h 1372"/>
                <a:gd name="T46" fmla="*/ 125 w 1373"/>
                <a:gd name="T47" fmla="*/ 284 h 1372"/>
                <a:gd name="T48" fmla="*/ 285 w 1373"/>
                <a:gd name="T49" fmla="*/ 112 h 1372"/>
                <a:gd name="T50" fmla="*/ 396 w 1373"/>
                <a:gd name="T51" fmla="*/ 229 h 1372"/>
                <a:gd name="T52" fmla="*/ 559 w 1373"/>
                <a:gd name="T53" fmla="*/ 162 h 1372"/>
                <a:gd name="T54" fmla="*/ 571 w 1373"/>
                <a:gd name="T55" fmla="*/ 143 h 1372"/>
                <a:gd name="T56" fmla="*/ 571 w 1373"/>
                <a:gd name="T57" fmla="*/ 0 h 1372"/>
                <a:gd name="T58" fmla="*/ 801 w 1373"/>
                <a:gd name="T59" fmla="*/ 0 h 1372"/>
                <a:gd name="T60" fmla="*/ 801 w 1373"/>
                <a:gd name="T61" fmla="*/ 125 h 1372"/>
                <a:gd name="T62" fmla="*/ 830 w 1373"/>
                <a:gd name="T63" fmla="*/ 166 h 1372"/>
                <a:gd name="T64" fmla="*/ 988 w 1373"/>
                <a:gd name="T65" fmla="*/ 235 h 1372"/>
                <a:gd name="T66" fmla="*/ 1096 w 1373"/>
                <a:gd name="T67" fmla="*/ 127 h 1372"/>
                <a:gd name="T68" fmla="*/ 1256 w 1373"/>
                <a:gd name="T69" fmla="*/ 286 h 1372"/>
                <a:gd name="T70" fmla="*/ 1145 w 1373"/>
                <a:gd name="T71" fmla="*/ 397 h 1372"/>
                <a:gd name="T72" fmla="*/ 1179 w 1373"/>
                <a:gd name="T73" fmla="*/ 466 h 1372"/>
                <a:gd name="T74" fmla="*/ 1209 w 1373"/>
                <a:gd name="T75" fmla="*/ 556 h 1372"/>
                <a:gd name="T76" fmla="*/ 1228 w 1373"/>
                <a:gd name="T77" fmla="*/ 571 h 1372"/>
                <a:gd name="T78" fmla="*/ 1352 w 1373"/>
                <a:gd name="T79" fmla="*/ 571 h 1372"/>
                <a:gd name="T80" fmla="*/ 1373 w 1373"/>
                <a:gd name="T81" fmla="*/ 571 h 1372"/>
                <a:gd name="T82" fmla="*/ 1373 w 1373"/>
                <a:gd name="T83" fmla="*/ 801 h 1372"/>
                <a:gd name="T84" fmla="*/ 1208 w 1373"/>
                <a:gd name="T85" fmla="*/ 801 h 1372"/>
                <a:gd name="T86" fmla="*/ 687 w 1373"/>
                <a:gd name="T87" fmla="*/ 376 h 1372"/>
                <a:gd name="T88" fmla="*/ 377 w 1373"/>
                <a:gd name="T89" fmla="*/ 683 h 1372"/>
                <a:gd name="T90" fmla="*/ 685 w 1373"/>
                <a:gd name="T91" fmla="*/ 996 h 1372"/>
                <a:gd name="T92" fmla="*/ 995 w 1373"/>
                <a:gd name="T93" fmla="*/ 687 h 1372"/>
                <a:gd name="T94" fmla="*/ 687 w 1373"/>
                <a:gd name="T95" fmla="*/ 376 h 1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73" h="1372">
                  <a:moveTo>
                    <a:pt x="1208" y="801"/>
                  </a:moveTo>
                  <a:cubicBezTo>
                    <a:pt x="1184" y="861"/>
                    <a:pt x="1161" y="918"/>
                    <a:pt x="1137" y="976"/>
                  </a:cubicBezTo>
                  <a:cubicBezTo>
                    <a:pt x="1175" y="1011"/>
                    <a:pt x="1217" y="1049"/>
                    <a:pt x="1259" y="1087"/>
                  </a:cubicBezTo>
                  <a:cubicBezTo>
                    <a:pt x="1202" y="1141"/>
                    <a:pt x="1145" y="1194"/>
                    <a:pt x="1089" y="1246"/>
                  </a:cubicBezTo>
                  <a:cubicBezTo>
                    <a:pt x="1050" y="1208"/>
                    <a:pt x="1013" y="1170"/>
                    <a:pt x="974" y="1132"/>
                  </a:cubicBezTo>
                  <a:cubicBezTo>
                    <a:pt x="922" y="1164"/>
                    <a:pt x="869" y="1186"/>
                    <a:pt x="812" y="1200"/>
                  </a:cubicBezTo>
                  <a:cubicBezTo>
                    <a:pt x="807" y="1201"/>
                    <a:pt x="802" y="1211"/>
                    <a:pt x="802" y="1217"/>
                  </a:cubicBezTo>
                  <a:cubicBezTo>
                    <a:pt x="801" y="1261"/>
                    <a:pt x="801" y="1305"/>
                    <a:pt x="801" y="1349"/>
                  </a:cubicBezTo>
                  <a:cubicBezTo>
                    <a:pt x="801" y="1356"/>
                    <a:pt x="801" y="1364"/>
                    <a:pt x="801" y="1372"/>
                  </a:cubicBezTo>
                  <a:cubicBezTo>
                    <a:pt x="724" y="1372"/>
                    <a:pt x="649" y="1372"/>
                    <a:pt x="571" y="1372"/>
                  </a:cubicBezTo>
                  <a:cubicBezTo>
                    <a:pt x="571" y="1333"/>
                    <a:pt x="571" y="1294"/>
                    <a:pt x="571" y="1255"/>
                  </a:cubicBezTo>
                  <a:cubicBezTo>
                    <a:pt x="571" y="1216"/>
                    <a:pt x="570" y="1217"/>
                    <a:pt x="534" y="1204"/>
                  </a:cubicBezTo>
                  <a:cubicBezTo>
                    <a:pt x="488" y="1188"/>
                    <a:pt x="444" y="1168"/>
                    <a:pt x="395" y="1148"/>
                  </a:cubicBezTo>
                  <a:cubicBezTo>
                    <a:pt x="362" y="1183"/>
                    <a:pt x="326" y="1222"/>
                    <a:pt x="290" y="1260"/>
                  </a:cubicBezTo>
                  <a:cubicBezTo>
                    <a:pt x="234" y="1203"/>
                    <a:pt x="182" y="1150"/>
                    <a:pt x="130" y="1098"/>
                  </a:cubicBezTo>
                  <a:cubicBezTo>
                    <a:pt x="165" y="1063"/>
                    <a:pt x="203" y="1026"/>
                    <a:pt x="242" y="988"/>
                  </a:cubicBezTo>
                  <a:cubicBezTo>
                    <a:pt x="196" y="931"/>
                    <a:pt x="170" y="870"/>
                    <a:pt x="159" y="802"/>
                  </a:cubicBezTo>
                  <a:cubicBezTo>
                    <a:pt x="105" y="802"/>
                    <a:pt x="53" y="802"/>
                    <a:pt x="0" y="802"/>
                  </a:cubicBezTo>
                  <a:cubicBezTo>
                    <a:pt x="0" y="725"/>
                    <a:pt x="0" y="649"/>
                    <a:pt x="0" y="571"/>
                  </a:cubicBezTo>
                  <a:cubicBezTo>
                    <a:pt x="6" y="571"/>
                    <a:pt x="13" y="571"/>
                    <a:pt x="20" y="571"/>
                  </a:cubicBezTo>
                  <a:cubicBezTo>
                    <a:pt x="61" y="571"/>
                    <a:pt x="103" y="570"/>
                    <a:pt x="144" y="571"/>
                  </a:cubicBezTo>
                  <a:cubicBezTo>
                    <a:pt x="154" y="571"/>
                    <a:pt x="160" y="568"/>
                    <a:pt x="162" y="557"/>
                  </a:cubicBezTo>
                  <a:cubicBezTo>
                    <a:pt x="172" y="497"/>
                    <a:pt x="195" y="444"/>
                    <a:pt x="239" y="399"/>
                  </a:cubicBezTo>
                  <a:cubicBezTo>
                    <a:pt x="201" y="361"/>
                    <a:pt x="163" y="323"/>
                    <a:pt x="125" y="284"/>
                  </a:cubicBezTo>
                  <a:cubicBezTo>
                    <a:pt x="178" y="227"/>
                    <a:pt x="231" y="171"/>
                    <a:pt x="285" y="112"/>
                  </a:cubicBezTo>
                  <a:cubicBezTo>
                    <a:pt x="323" y="151"/>
                    <a:pt x="359" y="190"/>
                    <a:pt x="396" y="229"/>
                  </a:cubicBezTo>
                  <a:cubicBezTo>
                    <a:pt x="449" y="194"/>
                    <a:pt x="503" y="175"/>
                    <a:pt x="559" y="162"/>
                  </a:cubicBezTo>
                  <a:cubicBezTo>
                    <a:pt x="572" y="160"/>
                    <a:pt x="571" y="152"/>
                    <a:pt x="571" y="143"/>
                  </a:cubicBezTo>
                  <a:cubicBezTo>
                    <a:pt x="571" y="96"/>
                    <a:pt x="571" y="48"/>
                    <a:pt x="571" y="0"/>
                  </a:cubicBezTo>
                  <a:cubicBezTo>
                    <a:pt x="648" y="0"/>
                    <a:pt x="723" y="0"/>
                    <a:pt x="801" y="0"/>
                  </a:cubicBezTo>
                  <a:cubicBezTo>
                    <a:pt x="801" y="42"/>
                    <a:pt x="801" y="83"/>
                    <a:pt x="801" y="125"/>
                  </a:cubicBezTo>
                  <a:cubicBezTo>
                    <a:pt x="801" y="157"/>
                    <a:pt x="802" y="155"/>
                    <a:pt x="830" y="166"/>
                  </a:cubicBezTo>
                  <a:cubicBezTo>
                    <a:pt x="883" y="187"/>
                    <a:pt x="934" y="211"/>
                    <a:pt x="988" y="235"/>
                  </a:cubicBezTo>
                  <a:cubicBezTo>
                    <a:pt x="1022" y="201"/>
                    <a:pt x="1060" y="163"/>
                    <a:pt x="1096" y="127"/>
                  </a:cubicBezTo>
                  <a:cubicBezTo>
                    <a:pt x="1150" y="181"/>
                    <a:pt x="1203" y="234"/>
                    <a:pt x="1256" y="286"/>
                  </a:cubicBezTo>
                  <a:cubicBezTo>
                    <a:pt x="1220" y="322"/>
                    <a:pt x="1183" y="359"/>
                    <a:pt x="1145" y="397"/>
                  </a:cubicBezTo>
                  <a:cubicBezTo>
                    <a:pt x="1157" y="421"/>
                    <a:pt x="1170" y="442"/>
                    <a:pt x="1179" y="466"/>
                  </a:cubicBezTo>
                  <a:cubicBezTo>
                    <a:pt x="1191" y="495"/>
                    <a:pt x="1201" y="525"/>
                    <a:pt x="1209" y="556"/>
                  </a:cubicBezTo>
                  <a:cubicBezTo>
                    <a:pt x="1213" y="567"/>
                    <a:pt x="1217" y="571"/>
                    <a:pt x="1228" y="571"/>
                  </a:cubicBezTo>
                  <a:cubicBezTo>
                    <a:pt x="1270" y="570"/>
                    <a:pt x="1311" y="571"/>
                    <a:pt x="1352" y="571"/>
                  </a:cubicBezTo>
                  <a:cubicBezTo>
                    <a:pt x="1359" y="571"/>
                    <a:pt x="1365" y="571"/>
                    <a:pt x="1373" y="571"/>
                  </a:cubicBezTo>
                  <a:cubicBezTo>
                    <a:pt x="1373" y="648"/>
                    <a:pt x="1373" y="724"/>
                    <a:pt x="1373" y="801"/>
                  </a:cubicBezTo>
                  <a:cubicBezTo>
                    <a:pt x="1316" y="801"/>
                    <a:pt x="1261" y="801"/>
                    <a:pt x="1208" y="801"/>
                  </a:cubicBezTo>
                  <a:close/>
                  <a:moveTo>
                    <a:pt x="687" y="376"/>
                  </a:moveTo>
                  <a:cubicBezTo>
                    <a:pt x="516" y="375"/>
                    <a:pt x="378" y="511"/>
                    <a:pt x="377" y="683"/>
                  </a:cubicBezTo>
                  <a:cubicBezTo>
                    <a:pt x="376" y="857"/>
                    <a:pt x="510" y="994"/>
                    <a:pt x="685" y="996"/>
                  </a:cubicBezTo>
                  <a:cubicBezTo>
                    <a:pt x="855" y="998"/>
                    <a:pt x="993" y="860"/>
                    <a:pt x="995" y="687"/>
                  </a:cubicBezTo>
                  <a:cubicBezTo>
                    <a:pt x="997" y="516"/>
                    <a:pt x="859" y="377"/>
                    <a:pt x="687" y="3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chemeClr val="accent5">
                    <a:lumMod val="75000"/>
                  </a:schemeClr>
                </a:solidFill>
              </a:endParaRPr>
            </a:p>
          </p:txBody>
        </p:sp>
        <p:sp>
          <p:nvSpPr>
            <p:cNvPr id="394" name="Freeform 20">
              <a:extLst>
                <a:ext uri="{FF2B5EF4-FFF2-40B4-BE49-F238E27FC236}">
                  <a16:creationId xmlns:a16="http://schemas.microsoft.com/office/drawing/2014/main" id="{D60C8B05-2CDA-6A44-ED92-B6A10D543071}"/>
                </a:ext>
              </a:extLst>
            </p:cNvPr>
            <p:cNvSpPr>
              <a:spLocks/>
            </p:cNvSpPr>
            <p:nvPr/>
          </p:nvSpPr>
          <p:spPr bwMode="auto">
            <a:xfrm>
              <a:off x="251048" y="4910274"/>
              <a:ext cx="198789" cy="231727"/>
            </a:xfrm>
            <a:custGeom>
              <a:avLst/>
              <a:gdLst>
                <a:gd name="T0" fmla="*/ 686 w 686"/>
                <a:gd name="T1" fmla="*/ 801 h 801"/>
                <a:gd name="T2" fmla="*/ 0 w 686"/>
                <a:gd name="T3" fmla="*/ 801 h 801"/>
                <a:gd name="T4" fmla="*/ 0 w 686"/>
                <a:gd name="T5" fmla="*/ 0 h 801"/>
                <a:gd name="T6" fmla="*/ 686 w 686"/>
                <a:gd name="T7" fmla="*/ 0 h 801"/>
                <a:gd name="T8" fmla="*/ 686 w 686"/>
                <a:gd name="T9" fmla="*/ 801 h 801"/>
              </a:gdLst>
              <a:ahLst/>
              <a:cxnLst>
                <a:cxn ang="0">
                  <a:pos x="T0" y="T1"/>
                </a:cxn>
                <a:cxn ang="0">
                  <a:pos x="T2" y="T3"/>
                </a:cxn>
                <a:cxn ang="0">
                  <a:pos x="T4" y="T5"/>
                </a:cxn>
                <a:cxn ang="0">
                  <a:pos x="T6" y="T7"/>
                </a:cxn>
                <a:cxn ang="0">
                  <a:pos x="T8" y="T9"/>
                </a:cxn>
              </a:cxnLst>
              <a:rect l="0" t="0" r="r" b="b"/>
              <a:pathLst>
                <a:path w="686" h="801">
                  <a:moveTo>
                    <a:pt x="686" y="801"/>
                  </a:moveTo>
                  <a:cubicBezTo>
                    <a:pt x="456" y="801"/>
                    <a:pt x="229" y="801"/>
                    <a:pt x="0" y="801"/>
                  </a:cubicBezTo>
                  <a:cubicBezTo>
                    <a:pt x="0" y="535"/>
                    <a:pt x="0" y="268"/>
                    <a:pt x="0" y="0"/>
                  </a:cubicBezTo>
                  <a:cubicBezTo>
                    <a:pt x="228" y="0"/>
                    <a:pt x="456" y="0"/>
                    <a:pt x="686" y="0"/>
                  </a:cubicBezTo>
                  <a:cubicBezTo>
                    <a:pt x="686" y="267"/>
                    <a:pt x="686" y="533"/>
                    <a:pt x="686" y="8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solidFill>
                  <a:schemeClr val="accent5">
                    <a:lumMod val="75000"/>
                  </a:schemeClr>
                </a:solidFill>
              </a:endParaRPr>
            </a:p>
          </p:txBody>
        </p:sp>
      </p:grpSp>
      <p:sp>
        <p:nvSpPr>
          <p:cNvPr id="396" name="Rectangle 395">
            <a:extLst>
              <a:ext uri="{FF2B5EF4-FFF2-40B4-BE49-F238E27FC236}">
                <a16:creationId xmlns:a16="http://schemas.microsoft.com/office/drawing/2014/main" id="{B50F56D2-04DC-5DAC-8F32-C3BBF098BE19}"/>
              </a:ext>
            </a:extLst>
          </p:cNvPr>
          <p:cNvSpPr/>
          <p:nvPr/>
        </p:nvSpPr>
        <p:spPr bwMode="auto">
          <a:xfrm>
            <a:off x="7780878" y="3210472"/>
            <a:ext cx="177601" cy="1776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en-US" sz="1200">
                <a:solidFill>
                  <a:srgbClr val="27A7DF"/>
                </a:solidFill>
              </a:rPr>
              <a:t>5.9</a:t>
            </a:r>
            <a:endParaRPr lang="en-IN" sz="1200">
              <a:solidFill>
                <a:srgbClr val="27A7DF"/>
              </a:solidFill>
            </a:endParaRPr>
          </a:p>
        </p:txBody>
      </p:sp>
      <p:sp>
        <p:nvSpPr>
          <p:cNvPr id="397" name="Rectangle 396">
            <a:extLst>
              <a:ext uri="{FF2B5EF4-FFF2-40B4-BE49-F238E27FC236}">
                <a16:creationId xmlns:a16="http://schemas.microsoft.com/office/drawing/2014/main" id="{FF5D849D-CA58-DE02-FF48-6521113B837A}"/>
              </a:ext>
            </a:extLst>
          </p:cNvPr>
          <p:cNvSpPr/>
          <p:nvPr/>
        </p:nvSpPr>
        <p:spPr bwMode="auto">
          <a:xfrm>
            <a:off x="6665664" y="3237717"/>
            <a:ext cx="738985" cy="123111"/>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spAutoFit/>
          </a:bodyPr>
          <a:lstStyle/>
          <a:p>
            <a:pPr marL="0" lvl="1" algn="ctr" eaLnBrk="0" hangingPunct="0">
              <a:spcBef>
                <a:spcPts val="0"/>
              </a:spcBef>
              <a:buClr>
                <a:srgbClr val="005A8C"/>
              </a:buClr>
              <a:buSzPct val="70000"/>
              <a:defRPr/>
            </a:pPr>
            <a:r>
              <a:rPr lang="en-US" sz="800">
                <a:solidFill>
                  <a:srgbClr val="27A7DF"/>
                </a:solidFill>
              </a:rPr>
              <a:t>Strategic impact</a:t>
            </a:r>
          </a:p>
        </p:txBody>
      </p:sp>
      <p:sp>
        <p:nvSpPr>
          <p:cNvPr id="398" name="Rectangle: Rounded Corners 306">
            <a:extLst>
              <a:ext uri="{FF2B5EF4-FFF2-40B4-BE49-F238E27FC236}">
                <a16:creationId xmlns:a16="http://schemas.microsoft.com/office/drawing/2014/main" id="{E100709F-5BB0-74F6-5FAD-DB48B8595EFA}"/>
              </a:ext>
            </a:extLst>
          </p:cNvPr>
          <p:cNvSpPr/>
          <p:nvPr/>
        </p:nvSpPr>
        <p:spPr bwMode="auto">
          <a:xfrm>
            <a:off x="6344983" y="3178867"/>
            <a:ext cx="1709293" cy="240810"/>
          </a:xfrm>
          <a:prstGeom prst="roundRect">
            <a:avLst/>
          </a:prstGeom>
          <a:noFill/>
          <a:ln w="9525" cap="flat" cmpd="sng" algn="ctr">
            <a:solidFill>
              <a:srgbClr val="27A7DF"/>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IN" sz="1600" b="0" i="0" u="none" strike="noStrike" cap="none" normalizeH="0" baseline="0">
              <a:ln>
                <a:noFill/>
              </a:ln>
              <a:solidFill>
                <a:schemeClr val="tx1"/>
              </a:solidFill>
              <a:effectLst/>
              <a:latin typeface="Arial" charset="0"/>
            </a:endParaRPr>
          </a:p>
        </p:txBody>
      </p:sp>
      <p:grpSp>
        <p:nvGrpSpPr>
          <p:cNvPr id="399" name="Group 398">
            <a:extLst>
              <a:ext uri="{FF2B5EF4-FFF2-40B4-BE49-F238E27FC236}">
                <a16:creationId xmlns:a16="http://schemas.microsoft.com/office/drawing/2014/main" id="{CDCEEB0E-503E-3B4D-2420-A61F42CDD793}"/>
              </a:ext>
            </a:extLst>
          </p:cNvPr>
          <p:cNvGrpSpPr>
            <a:grpSpLocks noChangeAspect="1"/>
          </p:cNvGrpSpPr>
          <p:nvPr/>
        </p:nvGrpSpPr>
        <p:grpSpPr>
          <a:xfrm>
            <a:off x="6194874" y="3587394"/>
            <a:ext cx="342771" cy="297006"/>
            <a:chOff x="-7962900" y="719138"/>
            <a:chExt cx="5243513" cy="4543425"/>
          </a:xfrm>
          <a:solidFill>
            <a:srgbClr val="606060"/>
          </a:solidFill>
        </p:grpSpPr>
        <p:sp>
          <p:nvSpPr>
            <p:cNvPr id="400" name="Freeform 10">
              <a:extLst>
                <a:ext uri="{FF2B5EF4-FFF2-40B4-BE49-F238E27FC236}">
                  <a16:creationId xmlns:a16="http://schemas.microsoft.com/office/drawing/2014/main" id="{B92A36AD-74FF-D5C5-356E-D39EC6494CA4}"/>
                </a:ext>
              </a:extLst>
            </p:cNvPr>
            <p:cNvSpPr>
              <a:spLocks noEditPoints="1"/>
            </p:cNvSpPr>
            <p:nvPr/>
          </p:nvSpPr>
          <p:spPr bwMode="auto">
            <a:xfrm>
              <a:off x="-7135813" y="719138"/>
              <a:ext cx="2928938" cy="4543425"/>
            </a:xfrm>
            <a:custGeom>
              <a:avLst/>
              <a:gdLst>
                <a:gd name="T0" fmla="*/ 256 w 961"/>
                <a:gd name="T1" fmla="*/ 1492 h 1492"/>
                <a:gd name="T2" fmla="*/ 23 w 961"/>
                <a:gd name="T3" fmla="*/ 1314 h 1492"/>
                <a:gd name="T4" fmla="*/ 143 w 961"/>
                <a:gd name="T5" fmla="*/ 1061 h 1492"/>
                <a:gd name="T6" fmla="*/ 199 w 961"/>
                <a:gd name="T7" fmla="*/ 1041 h 1492"/>
                <a:gd name="T8" fmla="*/ 248 w 961"/>
                <a:gd name="T9" fmla="*/ 984 h 1492"/>
                <a:gd name="T10" fmla="*/ 263 w 961"/>
                <a:gd name="T11" fmla="*/ 833 h 1492"/>
                <a:gd name="T12" fmla="*/ 307 w 961"/>
                <a:gd name="T13" fmla="*/ 725 h 1492"/>
                <a:gd name="T14" fmla="*/ 644 w 961"/>
                <a:gd name="T15" fmla="*/ 225 h 1492"/>
                <a:gd name="T16" fmla="*/ 795 w 961"/>
                <a:gd name="T17" fmla="*/ 79 h 1492"/>
                <a:gd name="T18" fmla="*/ 905 w 961"/>
                <a:gd name="T19" fmla="*/ 13 h 1492"/>
                <a:gd name="T20" fmla="*/ 949 w 961"/>
                <a:gd name="T21" fmla="*/ 13 h 1492"/>
                <a:gd name="T22" fmla="*/ 949 w 961"/>
                <a:gd name="T23" fmla="*/ 53 h 1492"/>
                <a:gd name="T24" fmla="*/ 735 w 961"/>
                <a:gd name="T25" fmla="*/ 461 h 1492"/>
                <a:gd name="T26" fmla="*/ 429 w 961"/>
                <a:gd name="T27" fmla="*/ 1043 h 1492"/>
                <a:gd name="T28" fmla="*/ 433 w 961"/>
                <a:gd name="T29" fmla="*/ 1137 h 1492"/>
                <a:gd name="T30" fmla="*/ 448 w 961"/>
                <a:gd name="T31" fmla="*/ 1370 h 1492"/>
                <a:gd name="T32" fmla="*/ 256 w 961"/>
                <a:gd name="T33" fmla="*/ 1492 h 1492"/>
                <a:gd name="T34" fmla="*/ 247 w 961"/>
                <a:gd name="T35" fmla="*/ 1408 h 1492"/>
                <a:gd name="T36" fmla="*/ 392 w 961"/>
                <a:gd name="T37" fmla="*/ 1263 h 1492"/>
                <a:gd name="T38" fmla="*/ 248 w 961"/>
                <a:gd name="T39" fmla="*/ 1118 h 1492"/>
                <a:gd name="T40" fmla="*/ 102 w 961"/>
                <a:gd name="T41" fmla="*/ 1262 h 1492"/>
                <a:gd name="T42" fmla="*/ 247 w 961"/>
                <a:gd name="T43" fmla="*/ 1408 h 1492"/>
                <a:gd name="T44" fmla="*/ 468 w 961"/>
                <a:gd name="T45" fmla="*/ 839 h 1492"/>
                <a:gd name="T46" fmla="*/ 397 w 961"/>
                <a:gd name="T47" fmla="*/ 768 h 1492"/>
                <a:gd name="T48" fmla="*/ 325 w 961"/>
                <a:gd name="T49" fmla="*/ 838 h 1492"/>
                <a:gd name="T50" fmla="*/ 399 w 961"/>
                <a:gd name="T51" fmla="*/ 909 h 1492"/>
                <a:gd name="T52" fmla="*/ 468 w 961"/>
                <a:gd name="T53" fmla="*/ 839 h 1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61" h="1492">
                  <a:moveTo>
                    <a:pt x="256" y="1492"/>
                  </a:moveTo>
                  <a:cubicBezTo>
                    <a:pt x="139" y="1492"/>
                    <a:pt x="48" y="1418"/>
                    <a:pt x="23" y="1314"/>
                  </a:cubicBezTo>
                  <a:cubicBezTo>
                    <a:pt x="0" y="1215"/>
                    <a:pt x="50" y="1107"/>
                    <a:pt x="143" y="1061"/>
                  </a:cubicBezTo>
                  <a:cubicBezTo>
                    <a:pt x="161" y="1052"/>
                    <a:pt x="180" y="1047"/>
                    <a:pt x="199" y="1041"/>
                  </a:cubicBezTo>
                  <a:cubicBezTo>
                    <a:pt x="232" y="1031"/>
                    <a:pt x="244" y="1017"/>
                    <a:pt x="248" y="984"/>
                  </a:cubicBezTo>
                  <a:cubicBezTo>
                    <a:pt x="253" y="933"/>
                    <a:pt x="257" y="883"/>
                    <a:pt x="263" y="833"/>
                  </a:cubicBezTo>
                  <a:cubicBezTo>
                    <a:pt x="268" y="793"/>
                    <a:pt x="285" y="758"/>
                    <a:pt x="307" y="725"/>
                  </a:cubicBezTo>
                  <a:cubicBezTo>
                    <a:pt x="419" y="558"/>
                    <a:pt x="532" y="391"/>
                    <a:pt x="644" y="225"/>
                  </a:cubicBezTo>
                  <a:cubicBezTo>
                    <a:pt x="684" y="166"/>
                    <a:pt x="733" y="116"/>
                    <a:pt x="795" y="79"/>
                  </a:cubicBezTo>
                  <a:cubicBezTo>
                    <a:pt x="832" y="58"/>
                    <a:pt x="868" y="36"/>
                    <a:pt x="905" y="13"/>
                  </a:cubicBezTo>
                  <a:cubicBezTo>
                    <a:pt x="919" y="4"/>
                    <a:pt x="935" y="0"/>
                    <a:pt x="949" y="13"/>
                  </a:cubicBezTo>
                  <a:cubicBezTo>
                    <a:pt x="961" y="24"/>
                    <a:pt x="956" y="39"/>
                    <a:pt x="949" y="53"/>
                  </a:cubicBezTo>
                  <a:cubicBezTo>
                    <a:pt x="877" y="189"/>
                    <a:pt x="807" y="325"/>
                    <a:pt x="735" y="461"/>
                  </a:cubicBezTo>
                  <a:cubicBezTo>
                    <a:pt x="633" y="655"/>
                    <a:pt x="532" y="850"/>
                    <a:pt x="429" y="1043"/>
                  </a:cubicBezTo>
                  <a:cubicBezTo>
                    <a:pt x="411" y="1077"/>
                    <a:pt x="411" y="1104"/>
                    <a:pt x="433" y="1137"/>
                  </a:cubicBezTo>
                  <a:cubicBezTo>
                    <a:pt x="483" y="1210"/>
                    <a:pt x="489" y="1290"/>
                    <a:pt x="448" y="1370"/>
                  </a:cubicBezTo>
                  <a:cubicBezTo>
                    <a:pt x="405" y="1452"/>
                    <a:pt x="333" y="1488"/>
                    <a:pt x="256" y="1492"/>
                  </a:cubicBezTo>
                  <a:close/>
                  <a:moveTo>
                    <a:pt x="247" y="1408"/>
                  </a:moveTo>
                  <a:cubicBezTo>
                    <a:pt x="324" y="1408"/>
                    <a:pt x="392" y="1340"/>
                    <a:pt x="392" y="1263"/>
                  </a:cubicBezTo>
                  <a:cubicBezTo>
                    <a:pt x="391" y="1184"/>
                    <a:pt x="326" y="1119"/>
                    <a:pt x="248" y="1118"/>
                  </a:cubicBezTo>
                  <a:cubicBezTo>
                    <a:pt x="169" y="1118"/>
                    <a:pt x="101" y="1184"/>
                    <a:pt x="102" y="1262"/>
                  </a:cubicBezTo>
                  <a:cubicBezTo>
                    <a:pt x="103" y="1345"/>
                    <a:pt x="165" y="1409"/>
                    <a:pt x="247" y="1408"/>
                  </a:cubicBezTo>
                  <a:close/>
                  <a:moveTo>
                    <a:pt x="468" y="839"/>
                  </a:moveTo>
                  <a:cubicBezTo>
                    <a:pt x="469" y="800"/>
                    <a:pt x="437" y="769"/>
                    <a:pt x="397" y="768"/>
                  </a:cubicBezTo>
                  <a:cubicBezTo>
                    <a:pt x="359" y="767"/>
                    <a:pt x="326" y="800"/>
                    <a:pt x="325" y="838"/>
                  </a:cubicBezTo>
                  <a:cubicBezTo>
                    <a:pt x="325" y="876"/>
                    <a:pt x="359" y="909"/>
                    <a:pt x="399" y="909"/>
                  </a:cubicBezTo>
                  <a:cubicBezTo>
                    <a:pt x="439" y="910"/>
                    <a:pt x="468" y="880"/>
                    <a:pt x="468" y="8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00"/>
            </a:p>
          </p:txBody>
        </p:sp>
        <p:sp>
          <p:nvSpPr>
            <p:cNvPr id="401" name="Freeform 11">
              <a:extLst>
                <a:ext uri="{FF2B5EF4-FFF2-40B4-BE49-F238E27FC236}">
                  <a16:creationId xmlns:a16="http://schemas.microsoft.com/office/drawing/2014/main" id="{E34E2D5C-BC14-4033-17F1-826943C639F7}"/>
                </a:ext>
              </a:extLst>
            </p:cNvPr>
            <p:cNvSpPr>
              <a:spLocks noEditPoints="1"/>
            </p:cNvSpPr>
            <p:nvPr/>
          </p:nvSpPr>
          <p:spPr bwMode="auto">
            <a:xfrm>
              <a:off x="-5249863" y="1779588"/>
              <a:ext cx="1798638" cy="2646363"/>
            </a:xfrm>
            <a:custGeom>
              <a:avLst/>
              <a:gdLst>
                <a:gd name="T0" fmla="*/ 0 w 590"/>
                <a:gd name="T1" fmla="*/ 501 h 869"/>
                <a:gd name="T2" fmla="*/ 7 w 590"/>
                <a:gd name="T3" fmla="*/ 484 h 869"/>
                <a:gd name="T4" fmla="*/ 246 w 590"/>
                <a:gd name="T5" fmla="*/ 22 h 869"/>
                <a:gd name="T6" fmla="*/ 282 w 590"/>
                <a:gd name="T7" fmla="*/ 7 h 869"/>
                <a:gd name="T8" fmla="*/ 328 w 590"/>
                <a:gd name="T9" fmla="*/ 18 h 869"/>
                <a:gd name="T10" fmla="*/ 369 w 590"/>
                <a:gd name="T11" fmla="*/ 51 h 869"/>
                <a:gd name="T12" fmla="*/ 585 w 590"/>
                <a:gd name="T13" fmla="*/ 581 h 869"/>
                <a:gd name="T14" fmla="*/ 580 w 590"/>
                <a:gd name="T15" fmla="*/ 613 h 869"/>
                <a:gd name="T16" fmla="*/ 508 w 590"/>
                <a:gd name="T17" fmla="*/ 759 h 869"/>
                <a:gd name="T18" fmla="*/ 508 w 590"/>
                <a:gd name="T19" fmla="*/ 761 h 869"/>
                <a:gd name="T20" fmla="*/ 465 w 590"/>
                <a:gd name="T21" fmla="*/ 813 h 869"/>
                <a:gd name="T22" fmla="*/ 331 w 590"/>
                <a:gd name="T23" fmla="*/ 866 h 869"/>
                <a:gd name="T24" fmla="*/ 310 w 590"/>
                <a:gd name="T25" fmla="*/ 865 h 869"/>
                <a:gd name="T26" fmla="*/ 145 w 590"/>
                <a:gd name="T27" fmla="*/ 796 h 869"/>
                <a:gd name="T28" fmla="*/ 107 w 590"/>
                <a:gd name="T29" fmla="*/ 765 h 869"/>
                <a:gd name="T30" fmla="*/ 7 w 590"/>
                <a:gd name="T31" fmla="*/ 522 h 869"/>
                <a:gd name="T32" fmla="*/ 0 w 590"/>
                <a:gd name="T33" fmla="*/ 501 h 869"/>
                <a:gd name="T34" fmla="*/ 245 w 590"/>
                <a:gd name="T35" fmla="*/ 549 h 869"/>
                <a:gd name="T36" fmla="*/ 378 w 590"/>
                <a:gd name="T37" fmla="*/ 417 h 869"/>
                <a:gd name="T38" fmla="*/ 234 w 590"/>
                <a:gd name="T39" fmla="*/ 265 h 869"/>
                <a:gd name="T40" fmla="*/ 99 w 590"/>
                <a:gd name="T41" fmla="*/ 408 h 869"/>
                <a:gd name="T42" fmla="*/ 245 w 590"/>
                <a:gd name="T43" fmla="*/ 54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0" h="869">
                  <a:moveTo>
                    <a:pt x="0" y="501"/>
                  </a:moveTo>
                  <a:cubicBezTo>
                    <a:pt x="2" y="495"/>
                    <a:pt x="4" y="489"/>
                    <a:pt x="7" y="484"/>
                  </a:cubicBezTo>
                  <a:cubicBezTo>
                    <a:pt x="87" y="330"/>
                    <a:pt x="167" y="176"/>
                    <a:pt x="246" y="22"/>
                  </a:cubicBezTo>
                  <a:cubicBezTo>
                    <a:pt x="255" y="5"/>
                    <a:pt x="264" y="0"/>
                    <a:pt x="282" y="7"/>
                  </a:cubicBezTo>
                  <a:cubicBezTo>
                    <a:pt x="296" y="13"/>
                    <a:pt x="312" y="17"/>
                    <a:pt x="328" y="18"/>
                  </a:cubicBezTo>
                  <a:cubicBezTo>
                    <a:pt x="351" y="20"/>
                    <a:pt x="361" y="30"/>
                    <a:pt x="369" y="51"/>
                  </a:cubicBezTo>
                  <a:cubicBezTo>
                    <a:pt x="440" y="228"/>
                    <a:pt x="512" y="404"/>
                    <a:pt x="585" y="581"/>
                  </a:cubicBezTo>
                  <a:cubicBezTo>
                    <a:pt x="590" y="594"/>
                    <a:pt x="587" y="603"/>
                    <a:pt x="580" y="613"/>
                  </a:cubicBezTo>
                  <a:cubicBezTo>
                    <a:pt x="548" y="658"/>
                    <a:pt x="520" y="705"/>
                    <a:pt x="508" y="759"/>
                  </a:cubicBezTo>
                  <a:cubicBezTo>
                    <a:pt x="508" y="760"/>
                    <a:pt x="508" y="761"/>
                    <a:pt x="508" y="761"/>
                  </a:cubicBezTo>
                  <a:cubicBezTo>
                    <a:pt x="512" y="794"/>
                    <a:pt x="491" y="804"/>
                    <a:pt x="465" y="813"/>
                  </a:cubicBezTo>
                  <a:cubicBezTo>
                    <a:pt x="420" y="829"/>
                    <a:pt x="376" y="849"/>
                    <a:pt x="331" y="866"/>
                  </a:cubicBezTo>
                  <a:cubicBezTo>
                    <a:pt x="325" y="868"/>
                    <a:pt x="315" y="869"/>
                    <a:pt x="310" y="865"/>
                  </a:cubicBezTo>
                  <a:cubicBezTo>
                    <a:pt x="263" y="822"/>
                    <a:pt x="205" y="807"/>
                    <a:pt x="145" y="796"/>
                  </a:cubicBezTo>
                  <a:cubicBezTo>
                    <a:pt x="125" y="792"/>
                    <a:pt x="115" y="784"/>
                    <a:pt x="107" y="765"/>
                  </a:cubicBezTo>
                  <a:cubicBezTo>
                    <a:pt x="75" y="683"/>
                    <a:pt x="41" y="603"/>
                    <a:pt x="7" y="522"/>
                  </a:cubicBezTo>
                  <a:cubicBezTo>
                    <a:pt x="5" y="515"/>
                    <a:pt x="2" y="508"/>
                    <a:pt x="0" y="501"/>
                  </a:cubicBezTo>
                  <a:close/>
                  <a:moveTo>
                    <a:pt x="245" y="549"/>
                  </a:moveTo>
                  <a:cubicBezTo>
                    <a:pt x="311" y="555"/>
                    <a:pt x="372" y="484"/>
                    <a:pt x="378" y="417"/>
                  </a:cubicBezTo>
                  <a:cubicBezTo>
                    <a:pt x="385" y="329"/>
                    <a:pt x="303" y="267"/>
                    <a:pt x="234" y="265"/>
                  </a:cubicBezTo>
                  <a:cubicBezTo>
                    <a:pt x="161" y="264"/>
                    <a:pt x="102" y="331"/>
                    <a:pt x="99" y="408"/>
                  </a:cubicBezTo>
                  <a:cubicBezTo>
                    <a:pt x="96" y="482"/>
                    <a:pt x="163" y="546"/>
                    <a:pt x="245" y="5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00"/>
            </a:p>
          </p:txBody>
        </p:sp>
        <p:sp>
          <p:nvSpPr>
            <p:cNvPr id="402" name="Freeform 12">
              <a:extLst>
                <a:ext uri="{FF2B5EF4-FFF2-40B4-BE49-F238E27FC236}">
                  <a16:creationId xmlns:a16="http://schemas.microsoft.com/office/drawing/2014/main" id="{E1A00E64-A59E-2C04-564A-E23861821822}"/>
                </a:ext>
              </a:extLst>
            </p:cNvPr>
            <p:cNvSpPr>
              <a:spLocks/>
            </p:cNvSpPr>
            <p:nvPr/>
          </p:nvSpPr>
          <p:spPr bwMode="auto">
            <a:xfrm>
              <a:off x="-5521325" y="1017588"/>
              <a:ext cx="2801938" cy="4167188"/>
            </a:xfrm>
            <a:custGeom>
              <a:avLst/>
              <a:gdLst>
                <a:gd name="T0" fmla="*/ 50 w 919"/>
                <a:gd name="T1" fmla="*/ 825 h 1368"/>
                <a:gd name="T2" fmla="*/ 116 w 919"/>
                <a:gd name="T3" fmla="*/ 991 h 1368"/>
                <a:gd name="T4" fmla="*/ 212 w 919"/>
                <a:gd name="T5" fmla="*/ 1231 h 1368"/>
                <a:gd name="T6" fmla="*/ 277 w 919"/>
                <a:gd name="T7" fmla="*/ 1260 h 1368"/>
                <a:gd name="T8" fmla="*/ 768 w 919"/>
                <a:gd name="T9" fmla="*/ 1060 h 1368"/>
                <a:gd name="T10" fmla="*/ 784 w 919"/>
                <a:gd name="T11" fmla="*/ 1053 h 1368"/>
                <a:gd name="T12" fmla="*/ 809 w 919"/>
                <a:gd name="T13" fmla="*/ 994 h 1368"/>
                <a:gd name="T14" fmla="*/ 452 w 919"/>
                <a:gd name="T15" fmla="*/ 120 h 1368"/>
                <a:gd name="T16" fmla="*/ 456 w 919"/>
                <a:gd name="T17" fmla="*/ 47 h 1368"/>
                <a:gd name="T18" fmla="*/ 481 w 919"/>
                <a:gd name="T19" fmla="*/ 0 h 1368"/>
                <a:gd name="T20" fmla="*/ 522 w 919"/>
                <a:gd name="T21" fmla="*/ 58 h 1368"/>
                <a:gd name="T22" fmla="*/ 672 w 919"/>
                <a:gd name="T23" fmla="*/ 434 h 1368"/>
                <a:gd name="T24" fmla="*/ 883 w 919"/>
                <a:gd name="T25" fmla="*/ 944 h 1368"/>
                <a:gd name="T26" fmla="*/ 802 w 919"/>
                <a:gd name="T27" fmla="*/ 1138 h 1368"/>
                <a:gd name="T28" fmla="*/ 328 w 919"/>
                <a:gd name="T29" fmla="*/ 1332 h 1368"/>
                <a:gd name="T30" fmla="*/ 129 w 919"/>
                <a:gd name="T31" fmla="*/ 1248 h 1368"/>
                <a:gd name="T32" fmla="*/ 7 w 919"/>
                <a:gd name="T33" fmla="*/ 940 h 1368"/>
                <a:gd name="T34" fmla="*/ 9 w 919"/>
                <a:gd name="T35" fmla="*/ 900 h 1368"/>
                <a:gd name="T36" fmla="*/ 50 w 919"/>
                <a:gd name="T37" fmla="*/ 825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9" h="1368">
                  <a:moveTo>
                    <a:pt x="50" y="825"/>
                  </a:moveTo>
                  <a:cubicBezTo>
                    <a:pt x="73" y="884"/>
                    <a:pt x="95" y="937"/>
                    <a:pt x="116" y="991"/>
                  </a:cubicBezTo>
                  <a:cubicBezTo>
                    <a:pt x="148" y="1071"/>
                    <a:pt x="180" y="1151"/>
                    <a:pt x="212" y="1231"/>
                  </a:cubicBezTo>
                  <a:cubicBezTo>
                    <a:pt x="225" y="1265"/>
                    <a:pt x="244" y="1274"/>
                    <a:pt x="277" y="1260"/>
                  </a:cubicBezTo>
                  <a:cubicBezTo>
                    <a:pt x="441" y="1194"/>
                    <a:pt x="604" y="1127"/>
                    <a:pt x="768" y="1060"/>
                  </a:cubicBezTo>
                  <a:cubicBezTo>
                    <a:pt x="773" y="1057"/>
                    <a:pt x="779" y="1056"/>
                    <a:pt x="784" y="1053"/>
                  </a:cubicBezTo>
                  <a:cubicBezTo>
                    <a:pt x="809" y="1043"/>
                    <a:pt x="819" y="1020"/>
                    <a:pt x="809" y="994"/>
                  </a:cubicBezTo>
                  <a:cubicBezTo>
                    <a:pt x="690" y="703"/>
                    <a:pt x="572" y="411"/>
                    <a:pt x="452" y="120"/>
                  </a:cubicBezTo>
                  <a:cubicBezTo>
                    <a:pt x="441" y="93"/>
                    <a:pt x="439" y="71"/>
                    <a:pt x="456" y="47"/>
                  </a:cubicBezTo>
                  <a:cubicBezTo>
                    <a:pt x="466" y="33"/>
                    <a:pt x="472" y="16"/>
                    <a:pt x="481" y="0"/>
                  </a:cubicBezTo>
                  <a:cubicBezTo>
                    <a:pt x="503" y="15"/>
                    <a:pt x="513" y="36"/>
                    <a:pt x="522" y="58"/>
                  </a:cubicBezTo>
                  <a:cubicBezTo>
                    <a:pt x="572" y="184"/>
                    <a:pt x="621" y="309"/>
                    <a:pt x="672" y="434"/>
                  </a:cubicBezTo>
                  <a:cubicBezTo>
                    <a:pt x="742" y="604"/>
                    <a:pt x="813" y="774"/>
                    <a:pt x="883" y="944"/>
                  </a:cubicBezTo>
                  <a:cubicBezTo>
                    <a:pt x="919" y="1029"/>
                    <a:pt x="888" y="1103"/>
                    <a:pt x="802" y="1138"/>
                  </a:cubicBezTo>
                  <a:cubicBezTo>
                    <a:pt x="644" y="1203"/>
                    <a:pt x="485" y="1266"/>
                    <a:pt x="328" y="1332"/>
                  </a:cubicBezTo>
                  <a:cubicBezTo>
                    <a:pt x="243" y="1368"/>
                    <a:pt x="161" y="1332"/>
                    <a:pt x="129" y="1248"/>
                  </a:cubicBezTo>
                  <a:cubicBezTo>
                    <a:pt x="91" y="1144"/>
                    <a:pt x="48" y="1043"/>
                    <a:pt x="7" y="940"/>
                  </a:cubicBezTo>
                  <a:cubicBezTo>
                    <a:pt x="0" y="926"/>
                    <a:pt x="1" y="914"/>
                    <a:pt x="9" y="900"/>
                  </a:cubicBezTo>
                  <a:cubicBezTo>
                    <a:pt x="23" y="877"/>
                    <a:pt x="35" y="853"/>
                    <a:pt x="50" y="8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00"/>
            </a:p>
          </p:txBody>
        </p:sp>
        <p:sp>
          <p:nvSpPr>
            <p:cNvPr id="403" name="Freeform 13">
              <a:extLst>
                <a:ext uri="{FF2B5EF4-FFF2-40B4-BE49-F238E27FC236}">
                  <a16:creationId xmlns:a16="http://schemas.microsoft.com/office/drawing/2014/main" id="{0D6D4F68-56EB-54F0-E878-472B1BBED3EF}"/>
                </a:ext>
              </a:extLst>
            </p:cNvPr>
            <p:cNvSpPr>
              <a:spLocks noEditPoints="1"/>
            </p:cNvSpPr>
            <p:nvPr/>
          </p:nvSpPr>
          <p:spPr bwMode="auto">
            <a:xfrm>
              <a:off x="-7962900" y="1839913"/>
              <a:ext cx="1698625" cy="1477963"/>
            </a:xfrm>
            <a:custGeom>
              <a:avLst/>
              <a:gdLst>
                <a:gd name="T0" fmla="*/ 557 w 557"/>
                <a:gd name="T1" fmla="*/ 286 h 485"/>
                <a:gd name="T2" fmla="*/ 476 w 557"/>
                <a:gd name="T3" fmla="*/ 464 h 485"/>
                <a:gd name="T4" fmla="*/ 462 w 557"/>
                <a:gd name="T5" fmla="*/ 454 h 485"/>
                <a:gd name="T6" fmla="*/ 366 w 557"/>
                <a:gd name="T7" fmla="*/ 444 h 485"/>
                <a:gd name="T8" fmla="*/ 134 w 557"/>
                <a:gd name="T9" fmla="*/ 431 h 485"/>
                <a:gd name="T10" fmla="*/ 100 w 557"/>
                <a:gd name="T11" fmla="*/ 85 h 485"/>
                <a:gd name="T12" fmla="*/ 334 w 557"/>
                <a:gd name="T13" fmla="*/ 28 h 485"/>
                <a:gd name="T14" fmla="*/ 487 w 557"/>
                <a:gd name="T15" fmla="*/ 217 h 485"/>
                <a:gd name="T16" fmla="*/ 538 w 557"/>
                <a:gd name="T17" fmla="*/ 279 h 485"/>
                <a:gd name="T18" fmla="*/ 557 w 557"/>
                <a:gd name="T19" fmla="*/ 286 h 485"/>
                <a:gd name="T20" fmla="*/ 119 w 557"/>
                <a:gd name="T21" fmla="*/ 243 h 485"/>
                <a:gd name="T22" fmla="*/ 262 w 557"/>
                <a:gd name="T23" fmla="*/ 388 h 485"/>
                <a:gd name="T24" fmla="*/ 407 w 557"/>
                <a:gd name="T25" fmla="*/ 243 h 485"/>
                <a:gd name="T26" fmla="*/ 262 w 557"/>
                <a:gd name="T27" fmla="*/ 97 h 485"/>
                <a:gd name="T28" fmla="*/ 119 w 557"/>
                <a:gd name="T29" fmla="*/ 24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7" h="485">
                  <a:moveTo>
                    <a:pt x="557" y="286"/>
                  </a:moveTo>
                  <a:cubicBezTo>
                    <a:pt x="517" y="341"/>
                    <a:pt x="487" y="397"/>
                    <a:pt x="476" y="464"/>
                  </a:cubicBezTo>
                  <a:cubicBezTo>
                    <a:pt x="470" y="460"/>
                    <a:pt x="465" y="458"/>
                    <a:pt x="462" y="454"/>
                  </a:cubicBezTo>
                  <a:cubicBezTo>
                    <a:pt x="433" y="424"/>
                    <a:pt x="402" y="426"/>
                    <a:pt x="366" y="444"/>
                  </a:cubicBezTo>
                  <a:cubicBezTo>
                    <a:pt x="287" y="485"/>
                    <a:pt x="208" y="480"/>
                    <a:pt x="134" y="431"/>
                  </a:cubicBezTo>
                  <a:cubicBezTo>
                    <a:pt x="16" y="353"/>
                    <a:pt x="0" y="185"/>
                    <a:pt x="100" y="85"/>
                  </a:cubicBezTo>
                  <a:cubicBezTo>
                    <a:pt x="166" y="18"/>
                    <a:pt x="246" y="0"/>
                    <a:pt x="334" y="28"/>
                  </a:cubicBezTo>
                  <a:cubicBezTo>
                    <a:pt x="425" y="57"/>
                    <a:pt x="474" y="123"/>
                    <a:pt x="487" y="217"/>
                  </a:cubicBezTo>
                  <a:cubicBezTo>
                    <a:pt x="491" y="249"/>
                    <a:pt x="506" y="270"/>
                    <a:pt x="538" y="279"/>
                  </a:cubicBezTo>
                  <a:cubicBezTo>
                    <a:pt x="543" y="281"/>
                    <a:pt x="549" y="283"/>
                    <a:pt x="557" y="286"/>
                  </a:cubicBezTo>
                  <a:close/>
                  <a:moveTo>
                    <a:pt x="119" y="243"/>
                  </a:moveTo>
                  <a:cubicBezTo>
                    <a:pt x="119" y="325"/>
                    <a:pt x="181" y="388"/>
                    <a:pt x="262" y="388"/>
                  </a:cubicBezTo>
                  <a:cubicBezTo>
                    <a:pt x="342" y="388"/>
                    <a:pt x="407" y="323"/>
                    <a:pt x="407" y="243"/>
                  </a:cubicBezTo>
                  <a:cubicBezTo>
                    <a:pt x="407" y="162"/>
                    <a:pt x="342" y="96"/>
                    <a:pt x="262" y="97"/>
                  </a:cubicBezTo>
                  <a:cubicBezTo>
                    <a:pt x="182" y="97"/>
                    <a:pt x="118" y="162"/>
                    <a:pt x="119" y="2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00"/>
            </a:p>
          </p:txBody>
        </p:sp>
        <p:sp>
          <p:nvSpPr>
            <p:cNvPr id="404" name="Freeform 14">
              <a:extLst>
                <a:ext uri="{FF2B5EF4-FFF2-40B4-BE49-F238E27FC236}">
                  <a16:creationId xmlns:a16="http://schemas.microsoft.com/office/drawing/2014/main" id="{88F10B52-639C-F0EB-2FDB-86DBD99DCF8D}"/>
                </a:ext>
              </a:extLst>
            </p:cNvPr>
            <p:cNvSpPr>
              <a:spLocks/>
            </p:cNvSpPr>
            <p:nvPr/>
          </p:nvSpPr>
          <p:spPr bwMode="auto">
            <a:xfrm>
              <a:off x="-6303963" y="1322388"/>
              <a:ext cx="885825" cy="1065213"/>
            </a:xfrm>
            <a:custGeom>
              <a:avLst/>
              <a:gdLst>
                <a:gd name="T0" fmla="*/ 61 w 291"/>
                <a:gd name="T1" fmla="*/ 350 h 350"/>
                <a:gd name="T2" fmla="*/ 20 w 291"/>
                <a:gd name="T3" fmla="*/ 247 h 350"/>
                <a:gd name="T4" fmla="*/ 79 w 291"/>
                <a:gd name="T5" fmla="*/ 92 h 350"/>
                <a:gd name="T6" fmla="*/ 288 w 291"/>
                <a:gd name="T7" fmla="*/ 0 h 350"/>
                <a:gd name="T8" fmla="*/ 291 w 291"/>
                <a:gd name="T9" fmla="*/ 5 h 350"/>
                <a:gd name="T10" fmla="*/ 249 w 291"/>
                <a:gd name="T11" fmla="*/ 70 h 350"/>
                <a:gd name="T12" fmla="*/ 151 w 291"/>
                <a:gd name="T13" fmla="*/ 150 h 350"/>
                <a:gd name="T14" fmla="*/ 120 w 291"/>
                <a:gd name="T15" fmla="*/ 164 h 350"/>
                <a:gd name="T16" fmla="*/ 100 w 291"/>
                <a:gd name="T17" fmla="*/ 217 h 350"/>
                <a:gd name="T18" fmla="*/ 88 w 291"/>
                <a:gd name="T19" fmla="*/ 311 h 350"/>
                <a:gd name="T20" fmla="*/ 61 w 291"/>
                <a:gd name="T21" fmla="*/ 35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1" h="350">
                  <a:moveTo>
                    <a:pt x="61" y="350"/>
                  </a:moveTo>
                  <a:cubicBezTo>
                    <a:pt x="46" y="313"/>
                    <a:pt x="31" y="281"/>
                    <a:pt x="20" y="247"/>
                  </a:cubicBezTo>
                  <a:cubicBezTo>
                    <a:pt x="0" y="189"/>
                    <a:pt x="24" y="120"/>
                    <a:pt x="79" y="92"/>
                  </a:cubicBezTo>
                  <a:cubicBezTo>
                    <a:pt x="147" y="57"/>
                    <a:pt x="218" y="30"/>
                    <a:pt x="288" y="0"/>
                  </a:cubicBezTo>
                  <a:cubicBezTo>
                    <a:pt x="289" y="2"/>
                    <a:pt x="290" y="3"/>
                    <a:pt x="291" y="5"/>
                  </a:cubicBezTo>
                  <a:cubicBezTo>
                    <a:pt x="277" y="26"/>
                    <a:pt x="261" y="47"/>
                    <a:pt x="249" y="70"/>
                  </a:cubicBezTo>
                  <a:cubicBezTo>
                    <a:pt x="227" y="111"/>
                    <a:pt x="195" y="137"/>
                    <a:pt x="151" y="150"/>
                  </a:cubicBezTo>
                  <a:cubicBezTo>
                    <a:pt x="140" y="153"/>
                    <a:pt x="130" y="159"/>
                    <a:pt x="120" y="164"/>
                  </a:cubicBezTo>
                  <a:cubicBezTo>
                    <a:pt x="99" y="174"/>
                    <a:pt x="88" y="198"/>
                    <a:pt x="100" y="217"/>
                  </a:cubicBezTo>
                  <a:cubicBezTo>
                    <a:pt x="123" y="253"/>
                    <a:pt x="114" y="282"/>
                    <a:pt x="88" y="311"/>
                  </a:cubicBezTo>
                  <a:cubicBezTo>
                    <a:pt x="79" y="322"/>
                    <a:pt x="72" y="335"/>
                    <a:pt x="61" y="3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000"/>
            </a:p>
          </p:txBody>
        </p:sp>
      </p:grpSp>
      <p:grpSp>
        <p:nvGrpSpPr>
          <p:cNvPr id="405" name="Group 404">
            <a:extLst>
              <a:ext uri="{FF2B5EF4-FFF2-40B4-BE49-F238E27FC236}">
                <a16:creationId xmlns:a16="http://schemas.microsoft.com/office/drawing/2014/main" id="{CC06BAD1-0AF6-014A-1656-F13E0B6BEE34}"/>
              </a:ext>
            </a:extLst>
          </p:cNvPr>
          <p:cNvGrpSpPr/>
          <p:nvPr/>
        </p:nvGrpSpPr>
        <p:grpSpPr>
          <a:xfrm>
            <a:off x="8098376" y="2249913"/>
            <a:ext cx="3817433" cy="1829987"/>
            <a:chOff x="4263197" y="2023959"/>
            <a:chExt cx="6265897" cy="3888728"/>
          </a:xfrm>
        </p:grpSpPr>
        <p:graphicFrame>
          <p:nvGraphicFramePr>
            <p:cNvPr id="413" name="Chart 412">
              <a:extLst>
                <a:ext uri="{FF2B5EF4-FFF2-40B4-BE49-F238E27FC236}">
                  <a16:creationId xmlns:a16="http://schemas.microsoft.com/office/drawing/2014/main" id="{EE0E93CC-E297-028B-895E-5CFFED486AC9}"/>
                </a:ext>
              </a:extLst>
            </p:cNvPr>
            <p:cNvGraphicFramePr/>
            <p:nvPr>
              <p:extLst>
                <p:ext uri="{D42A27DB-BD31-4B8C-83A1-F6EECF244321}">
                  <p14:modId xmlns:p14="http://schemas.microsoft.com/office/powerpoint/2010/main" val="1762935697"/>
                </p:ext>
              </p:extLst>
            </p:nvPr>
          </p:nvGraphicFramePr>
          <p:xfrm>
            <a:off x="7588583" y="3542401"/>
            <a:ext cx="2940511" cy="13688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07" name="Chart 406">
              <a:extLst>
                <a:ext uri="{FF2B5EF4-FFF2-40B4-BE49-F238E27FC236}">
                  <a16:creationId xmlns:a16="http://schemas.microsoft.com/office/drawing/2014/main" id="{F119A243-7893-7033-9232-C3873FD341C0}"/>
                </a:ext>
              </a:extLst>
            </p:cNvPr>
            <p:cNvGraphicFramePr/>
            <p:nvPr>
              <p:extLst>
                <p:ext uri="{D42A27DB-BD31-4B8C-83A1-F6EECF244321}">
                  <p14:modId xmlns:p14="http://schemas.microsoft.com/office/powerpoint/2010/main" val="3348239100"/>
                </p:ext>
              </p:extLst>
            </p:nvPr>
          </p:nvGraphicFramePr>
          <p:xfrm>
            <a:off x="7588583" y="2023959"/>
            <a:ext cx="2940511" cy="1845948"/>
          </p:xfrm>
          <a:graphic>
            <a:graphicData uri="http://schemas.openxmlformats.org/drawingml/2006/chart">
              <c:chart xmlns:c="http://schemas.openxmlformats.org/drawingml/2006/chart" xmlns:r="http://schemas.openxmlformats.org/officeDocument/2006/relationships" r:id="rId4"/>
            </a:graphicData>
          </a:graphic>
        </p:graphicFrame>
        <p:sp>
          <p:nvSpPr>
            <p:cNvPr id="408" name="TextBox 407">
              <a:extLst>
                <a:ext uri="{FF2B5EF4-FFF2-40B4-BE49-F238E27FC236}">
                  <a16:creationId xmlns:a16="http://schemas.microsoft.com/office/drawing/2014/main" id="{170FBBD5-0919-3BCC-C041-5BB5C54806CA}"/>
                </a:ext>
              </a:extLst>
            </p:cNvPr>
            <p:cNvSpPr txBox="1"/>
            <p:nvPr/>
          </p:nvSpPr>
          <p:spPr>
            <a:xfrm>
              <a:off x="4263197" y="2385481"/>
              <a:ext cx="3411757" cy="218975"/>
            </a:xfrm>
            <a:prstGeom prst="rect">
              <a:avLst/>
            </a:prstGeom>
            <a:noFill/>
          </p:spPr>
          <p:txBody>
            <a:bodyPr wrap="square" lIns="0" tIns="0" rIns="0" bIns="0" rtlCol="0" anchor="ctr" anchorCtr="0">
              <a:noAutofit/>
            </a:bodyPr>
            <a:lstStyle/>
            <a:p>
              <a:pPr algn="r"/>
              <a:r>
                <a:rPr lang="en-US" sz="700" dirty="0"/>
                <a:t>Improving operational efficiency and quality</a:t>
              </a:r>
            </a:p>
          </p:txBody>
        </p:sp>
        <p:sp>
          <p:nvSpPr>
            <p:cNvPr id="409" name="TextBox 408">
              <a:extLst>
                <a:ext uri="{FF2B5EF4-FFF2-40B4-BE49-F238E27FC236}">
                  <a16:creationId xmlns:a16="http://schemas.microsoft.com/office/drawing/2014/main" id="{8622BDE8-7C24-A443-F00B-C32C60D2C288}"/>
                </a:ext>
              </a:extLst>
            </p:cNvPr>
            <p:cNvSpPr txBox="1"/>
            <p:nvPr/>
          </p:nvSpPr>
          <p:spPr>
            <a:xfrm>
              <a:off x="4263197" y="2709408"/>
              <a:ext cx="3411757" cy="223582"/>
            </a:xfrm>
            <a:prstGeom prst="rect">
              <a:avLst/>
            </a:prstGeom>
            <a:noFill/>
          </p:spPr>
          <p:txBody>
            <a:bodyPr wrap="square" lIns="0" tIns="0" rIns="0" bIns="0" rtlCol="0" anchor="ctr" anchorCtr="0">
              <a:noAutofit/>
            </a:bodyPr>
            <a:lstStyle/>
            <a:p>
              <a:pPr algn="r"/>
              <a:r>
                <a:rPr lang="en-US" sz="700"/>
                <a:t>Improving process governance &amp; compliance</a:t>
              </a:r>
            </a:p>
          </p:txBody>
        </p:sp>
        <p:sp>
          <p:nvSpPr>
            <p:cNvPr id="410" name="TextBox 409">
              <a:extLst>
                <a:ext uri="{FF2B5EF4-FFF2-40B4-BE49-F238E27FC236}">
                  <a16:creationId xmlns:a16="http://schemas.microsoft.com/office/drawing/2014/main" id="{EF7CEBB7-0614-35BE-79B9-0B4DA1C6D43F}"/>
                </a:ext>
              </a:extLst>
            </p:cNvPr>
            <p:cNvSpPr txBox="1"/>
            <p:nvPr/>
          </p:nvSpPr>
          <p:spPr>
            <a:xfrm>
              <a:off x="4327242" y="3030562"/>
              <a:ext cx="3333950" cy="231976"/>
            </a:xfrm>
            <a:prstGeom prst="rect">
              <a:avLst/>
            </a:prstGeom>
            <a:noFill/>
          </p:spPr>
          <p:txBody>
            <a:bodyPr wrap="square" lIns="0" tIns="0" rIns="0" bIns="0" rtlCol="0" anchor="ctr" anchorCtr="0">
              <a:noAutofit/>
            </a:bodyPr>
            <a:lstStyle/>
            <a:p>
              <a:pPr algn="r"/>
              <a:r>
                <a:rPr lang="en-US" sz="700"/>
                <a:t>Improving employee/workforce productivity</a:t>
              </a:r>
            </a:p>
          </p:txBody>
        </p:sp>
        <p:sp>
          <p:nvSpPr>
            <p:cNvPr id="411" name="TextBox 410">
              <a:extLst>
                <a:ext uri="{FF2B5EF4-FFF2-40B4-BE49-F238E27FC236}">
                  <a16:creationId xmlns:a16="http://schemas.microsoft.com/office/drawing/2014/main" id="{515A0DD7-2584-74C4-63AB-10BDB404BDDB}"/>
                </a:ext>
              </a:extLst>
            </p:cNvPr>
            <p:cNvSpPr txBox="1"/>
            <p:nvPr/>
          </p:nvSpPr>
          <p:spPr>
            <a:xfrm>
              <a:off x="6742165" y="5038194"/>
              <a:ext cx="943053" cy="201299"/>
            </a:xfrm>
            <a:prstGeom prst="rect">
              <a:avLst/>
            </a:prstGeom>
            <a:noFill/>
          </p:spPr>
          <p:txBody>
            <a:bodyPr wrap="square" lIns="0" tIns="0" rIns="0" bIns="0" rtlCol="0" anchor="ctr" anchorCtr="0">
              <a:noAutofit/>
            </a:bodyPr>
            <a:lstStyle/>
            <a:p>
              <a:pPr algn="r"/>
              <a:r>
                <a:rPr lang="en-IN" sz="700"/>
                <a:t>Cost savings</a:t>
              </a:r>
            </a:p>
          </p:txBody>
        </p:sp>
        <p:graphicFrame>
          <p:nvGraphicFramePr>
            <p:cNvPr id="412" name="Chart 411">
              <a:extLst>
                <a:ext uri="{FF2B5EF4-FFF2-40B4-BE49-F238E27FC236}">
                  <a16:creationId xmlns:a16="http://schemas.microsoft.com/office/drawing/2014/main" id="{8D7C3A46-ECAA-E440-4178-772985425B40}"/>
                </a:ext>
              </a:extLst>
            </p:cNvPr>
            <p:cNvGraphicFramePr/>
            <p:nvPr>
              <p:extLst>
                <p:ext uri="{D42A27DB-BD31-4B8C-83A1-F6EECF244321}">
                  <p14:modId xmlns:p14="http://schemas.microsoft.com/office/powerpoint/2010/main" val="2138606356"/>
                </p:ext>
              </p:extLst>
            </p:nvPr>
          </p:nvGraphicFramePr>
          <p:xfrm>
            <a:off x="7588583" y="4505340"/>
            <a:ext cx="2783860" cy="1407347"/>
          </p:xfrm>
          <a:graphic>
            <a:graphicData uri="http://schemas.openxmlformats.org/drawingml/2006/chart">
              <c:chart xmlns:c="http://schemas.openxmlformats.org/drawingml/2006/chart" xmlns:r="http://schemas.openxmlformats.org/officeDocument/2006/relationships" r:id="rId5"/>
            </a:graphicData>
          </a:graphic>
        </p:graphicFrame>
        <p:sp>
          <p:nvSpPr>
            <p:cNvPr id="1213" name="TextBox 1212">
              <a:extLst>
                <a:ext uri="{FF2B5EF4-FFF2-40B4-BE49-F238E27FC236}">
                  <a16:creationId xmlns:a16="http://schemas.microsoft.com/office/drawing/2014/main" id="{C5F83244-5A41-C091-07A8-6A1E5FEFF237}"/>
                </a:ext>
              </a:extLst>
            </p:cNvPr>
            <p:cNvSpPr txBox="1"/>
            <p:nvPr/>
          </p:nvSpPr>
          <p:spPr>
            <a:xfrm>
              <a:off x="4321811" y="3820296"/>
              <a:ext cx="3411757" cy="218975"/>
            </a:xfrm>
            <a:prstGeom prst="rect">
              <a:avLst/>
            </a:prstGeom>
            <a:noFill/>
          </p:spPr>
          <p:txBody>
            <a:bodyPr wrap="square" lIns="0" tIns="0" rIns="0" bIns="0" rtlCol="0" anchor="ctr" anchorCtr="0">
              <a:noAutofit/>
            </a:bodyPr>
            <a:lstStyle/>
            <a:p>
              <a:pPr algn="r"/>
              <a:r>
                <a:rPr lang="en-US" sz="700"/>
                <a:t>Increasing top-line growth</a:t>
              </a:r>
            </a:p>
          </p:txBody>
        </p:sp>
        <p:sp>
          <p:nvSpPr>
            <p:cNvPr id="1214" name="TextBox 1213">
              <a:extLst>
                <a:ext uri="{FF2B5EF4-FFF2-40B4-BE49-F238E27FC236}">
                  <a16:creationId xmlns:a16="http://schemas.microsoft.com/office/drawing/2014/main" id="{5423723E-EE71-8133-30BE-64CED86EFD2A}"/>
                </a:ext>
              </a:extLst>
            </p:cNvPr>
            <p:cNvSpPr txBox="1"/>
            <p:nvPr/>
          </p:nvSpPr>
          <p:spPr>
            <a:xfrm>
              <a:off x="4321811" y="4144223"/>
              <a:ext cx="3411757" cy="223582"/>
            </a:xfrm>
            <a:prstGeom prst="rect">
              <a:avLst/>
            </a:prstGeom>
            <a:noFill/>
          </p:spPr>
          <p:txBody>
            <a:bodyPr wrap="square" lIns="0" tIns="0" rIns="0" bIns="0" rtlCol="0" anchor="ctr" anchorCtr="0">
              <a:noAutofit/>
            </a:bodyPr>
            <a:lstStyle/>
            <a:p>
              <a:pPr algn="r"/>
              <a:r>
                <a:rPr lang="en-US" sz="700"/>
                <a:t>Enhancing customer experience</a:t>
              </a:r>
              <a:endParaRPr lang="en-IN" sz="700"/>
            </a:p>
          </p:txBody>
        </p:sp>
        <p:sp>
          <p:nvSpPr>
            <p:cNvPr id="1215" name="TextBox 1214">
              <a:extLst>
                <a:ext uri="{FF2B5EF4-FFF2-40B4-BE49-F238E27FC236}">
                  <a16:creationId xmlns:a16="http://schemas.microsoft.com/office/drawing/2014/main" id="{17BBF096-481F-EA33-3711-FCB5947556DA}"/>
                </a:ext>
              </a:extLst>
            </p:cNvPr>
            <p:cNvSpPr txBox="1"/>
            <p:nvPr/>
          </p:nvSpPr>
          <p:spPr>
            <a:xfrm>
              <a:off x="4399618" y="4455028"/>
              <a:ext cx="3333950" cy="231976"/>
            </a:xfrm>
            <a:prstGeom prst="rect">
              <a:avLst/>
            </a:prstGeom>
            <a:noFill/>
          </p:spPr>
          <p:txBody>
            <a:bodyPr wrap="square" lIns="0" tIns="0" rIns="0" bIns="0" rtlCol="0" anchor="ctr" anchorCtr="0">
              <a:noAutofit/>
            </a:bodyPr>
            <a:lstStyle/>
            <a:p>
              <a:pPr algn="r"/>
              <a:r>
                <a:rPr lang="en-US" sz="700"/>
                <a:t>Improving the </a:t>
              </a:r>
              <a:r>
                <a:rPr lang="en-US" sz="700" err="1"/>
                <a:t>RoI</a:t>
              </a:r>
              <a:r>
                <a:rPr lang="en-US" sz="700"/>
                <a:t> of transformation initiatives</a:t>
              </a:r>
            </a:p>
          </p:txBody>
        </p:sp>
        <p:sp>
          <p:nvSpPr>
            <p:cNvPr id="1216" name="TextBox 1215">
              <a:extLst>
                <a:ext uri="{FF2B5EF4-FFF2-40B4-BE49-F238E27FC236}">
                  <a16:creationId xmlns:a16="http://schemas.microsoft.com/office/drawing/2014/main" id="{3BADBF8B-00B6-2F33-F296-A8519CCD9AC0}"/>
                </a:ext>
              </a:extLst>
            </p:cNvPr>
            <p:cNvSpPr txBox="1"/>
            <p:nvPr/>
          </p:nvSpPr>
          <p:spPr>
            <a:xfrm>
              <a:off x="4306887" y="3330228"/>
              <a:ext cx="3333950" cy="231976"/>
            </a:xfrm>
            <a:prstGeom prst="rect">
              <a:avLst/>
            </a:prstGeom>
            <a:noFill/>
          </p:spPr>
          <p:txBody>
            <a:bodyPr wrap="square" lIns="0" tIns="0" rIns="0" bIns="0" rtlCol="0" anchor="ctr" anchorCtr="0">
              <a:noAutofit/>
            </a:bodyPr>
            <a:lstStyle/>
            <a:p>
              <a:pPr algn="r"/>
              <a:r>
                <a:rPr lang="en-US" sz="700"/>
                <a:t>Enhancing employee experience</a:t>
              </a:r>
            </a:p>
          </p:txBody>
        </p:sp>
      </p:grpSp>
      <p:grpSp>
        <p:nvGrpSpPr>
          <p:cNvPr id="418" name="Group 417">
            <a:extLst>
              <a:ext uri="{FF2B5EF4-FFF2-40B4-BE49-F238E27FC236}">
                <a16:creationId xmlns:a16="http://schemas.microsoft.com/office/drawing/2014/main" id="{7CD98612-20F6-F50B-170F-64193ADB162B}"/>
              </a:ext>
            </a:extLst>
          </p:cNvPr>
          <p:cNvGrpSpPr>
            <a:grpSpLocks noChangeAspect="1"/>
          </p:cNvGrpSpPr>
          <p:nvPr/>
        </p:nvGrpSpPr>
        <p:grpSpPr>
          <a:xfrm>
            <a:off x="11423490" y="2390547"/>
            <a:ext cx="153109" cy="153109"/>
            <a:chOff x="2013768" y="1371600"/>
            <a:chExt cx="589040" cy="586152"/>
          </a:xfrm>
          <a:solidFill>
            <a:schemeClr val="bg1">
              <a:lumMod val="85000"/>
            </a:schemeClr>
          </a:solidFill>
        </p:grpSpPr>
        <p:sp>
          <p:nvSpPr>
            <p:cNvPr id="437" name="Freeform 6">
              <a:extLst>
                <a:ext uri="{FF2B5EF4-FFF2-40B4-BE49-F238E27FC236}">
                  <a16:creationId xmlns:a16="http://schemas.microsoft.com/office/drawing/2014/main" id="{EC7DD93D-F391-97B9-F5A8-25CD1D3AA10B}"/>
                </a:ext>
              </a:extLst>
            </p:cNvPr>
            <p:cNvSpPr>
              <a:spLocks noEditPoints="1"/>
            </p:cNvSpPr>
            <p:nvPr/>
          </p:nvSpPr>
          <p:spPr bwMode="auto">
            <a:xfrm>
              <a:off x="2013768" y="1371600"/>
              <a:ext cx="589040" cy="586152"/>
            </a:xfrm>
            <a:custGeom>
              <a:avLst/>
              <a:gdLst>
                <a:gd name="T0" fmla="*/ 1399 w 1506"/>
                <a:gd name="T1" fmla="*/ 427 h 1507"/>
                <a:gd name="T2" fmla="*/ 1371 w 1506"/>
                <a:gd name="T3" fmla="*/ 623 h 1507"/>
                <a:gd name="T4" fmla="*/ 1474 w 1506"/>
                <a:gd name="T5" fmla="*/ 794 h 1507"/>
                <a:gd name="T6" fmla="*/ 1353 w 1506"/>
                <a:gd name="T7" fmla="*/ 953 h 1507"/>
                <a:gd name="T8" fmla="*/ 1351 w 1506"/>
                <a:gd name="T9" fmla="*/ 1151 h 1507"/>
                <a:gd name="T10" fmla="*/ 1174 w 1506"/>
                <a:gd name="T11" fmla="*/ 1220 h 1507"/>
                <a:gd name="T12" fmla="*/ 1077 w 1506"/>
                <a:gd name="T13" fmla="*/ 1400 h 1507"/>
                <a:gd name="T14" fmla="*/ 881 w 1506"/>
                <a:gd name="T15" fmla="*/ 1371 h 1507"/>
                <a:gd name="T16" fmla="*/ 711 w 1506"/>
                <a:gd name="T17" fmla="*/ 1478 h 1507"/>
                <a:gd name="T18" fmla="*/ 555 w 1506"/>
                <a:gd name="T19" fmla="*/ 1355 h 1507"/>
                <a:gd name="T20" fmla="*/ 353 w 1506"/>
                <a:gd name="T21" fmla="*/ 1360 h 1507"/>
                <a:gd name="T22" fmla="*/ 280 w 1506"/>
                <a:gd name="T23" fmla="*/ 1178 h 1507"/>
                <a:gd name="T24" fmla="*/ 103 w 1506"/>
                <a:gd name="T25" fmla="*/ 1078 h 1507"/>
                <a:gd name="T26" fmla="*/ 128 w 1506"/>
                <a:gd name="T27" fmla="*/ 882 h 1507"/>
                <a:gd name="T28" fmla="*/ 30 w 1506"/>
                <a:gd name="T29" fmla="*/ 713 h 1507"/>
                <a:gd name="T30" fmla="*/ 153 w 1506"/>
                <a:gd name="T31" fmla="*/ 555 h 1507"/>
                <a:gd name="T32" fmla="*/ 148 w 1506"/>
                <a:gd name="T33" fmla="*/ 354 h 1507"/>
                <a:gd name="T34" fmla="*/ 330 w 1506"/>
                <a:gd name="T35" fmla="*/ 285 h 1507"/>
                <a:gd name="T36" fmla="*/ 422 w 1506"/>
                <a:gd name="T37" fmla="*/ 105 h 1507"/>
                <a:gd name="T38" fmla="*/ 624 w 1506"/>
                <a:gd name="T39" fmla="*/ 132 h 1507"/>
                <a:gd name="T40" fmla="*/ 791 w 1506"/>
                <a:gd name="T41" fmla="*/ 30 h 1507"/>
                <a:gd name="T42" fmla="*/ 951 w 1506"/>
                <a:gd name="T43" fmla="*/ 150 h 1507"/>
                <a:gd name="T44" fmla="*/ 1150 w 1506"/>
                <a:gd name="T45" fmla="*/ 153 h 1507"/>
                <a:gd name="T46" fmla="*/ 1217 w 1506"/>
                <a:gd name="T47" fmla="*/ 327 h 1507"/>
                <a:gd name="T48" fmla="*/ 1404 w 1506"/>
                <a:gd name="T49" fmla="*/ 408 h 1507"/>
                <a:gd name="T50" fmla="*/ 711 w 1506"/>
                <a:gd name="T51" fmla="*/ 459 h 1507"/>
                <a:gd name="T52" fmla="*/ 627 w 1506"/>
                <a:gd name="T53" fmla="*/ 632 h 1507"/>
                <a:gd name="T54" fmla="*/ 446 w 1506"/>
                <a:gd name="T55" fmla="*/ 646 h 1507"/>
                <a:gd name="T56" fmla="*/ 436 w 1506"/>
                <a:gd name="T57" fmla="*/ 722 h 1507"/>
                <a:gd name="T58" fmla="*/ 570 w 1506"/>
                <a:gd name="T59" fmla="*/ 855 h 1507"/>
                <a:gd name="T60" fmla="*/ 544 w 1506"/>
                <a:gd name="T61" fmla="*/ 1067 h 1507"/>
                <a:gd name="T62" fmla="*/ 729 w 1506"/>
                <a:gd name="T63" fmla="*/ 979 h 1507"/>
                <a:gd name="T64" fmla="*/ 908 w 1506"/>
                <a:gd name="T65" fmla="*/ 1066 h 1507"/>
                <a:gd name="T66" fmla="*/ 970 w 1506"/>
                <a:gd name="T67" fmla="*/ 1020 h 1507"/>
                <a:gd name="T68" fmla="*/ 936 w 1506"/>
                <a:gd name="T69" fmla="*/ 828 h 1507"/>
                <a:gd name="T70" fmla="*/ 1086 w 1506"/>
                <a:gd name="T71" fmla="*/ 672 h 1507"/>
                <a:gd name="T72" fmla="*/ 876 w 1506"/>
                <a:gd name="T73" fmla="*/ 633 h 1507"/>
                <a:gd name="T74" fmla="*/ 790 w 1506"/>
                <a:gd name="T75" fmla="*/ 459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6" h="1507">
                  <a:moveTo>
                    <a:pt x="1404" y="408"/>
                  </a:moveTo>
                  <a:cubicBezTo>
                    <a:pt x="1403" y="412"/>
                    <a:pt x="1401" y="420"/>
                    <a:pt x="1399" y="427"/>
                  </a:cubicBezTo>
                  <a:cubicBezTo>
                    <a:pt x="1384" y="470"/>
                    <a:pt x="1369" y="513"/>
                    <a:pt x="1354" y="555"/>
                  </a:cubicBezTo>
                  <a:cubicBezTo>
                    <a:pt x="1345" y="582"/>
                    <a:pt x="1349" y="604"/>
                    <a:pt x="1371" y="623"/>
                  </a:cubicBezTo>
                  <a:cubicBezTo>
                    <a:pt x="1406" y="652"/>
                    <a:pt x="1440" y="682"/>
                    <a:pt x="1474" y="713"/>
                  </a:cubicBezTo>
                  <a:cubicBezTo>
                    <a:pt x="1506" y="742"/>
                    <a:pt x="1506" y="766"/>
                    <a:pt x="1474" y="794"/>
                  </a:cubicBezTo>
                  <a:cubicBezTo>
                    <a:pt x="1440" y="823"/>
                    <a:pt x="1407" y="851"/>
                    <a:pt x="1373" y="879"/>
                  </a:cubicBezTo>
                  <a:cubicBezTo>
                    <a:pt x="1345" y="903"/>
                    <a:pt x="1341" y="917"/>
                    <a:pt x="1353" y="953"/>
                  </a:cubicBezTo>
                  <a:cubicBezTo>
                    <a:pt x="1367" y="994"/>
                    <a:pt x="1381" y="1036"/>
                    <a:pt x="1395" y="1077"/>
                  </a:cubicBezTo>
                  <a:cubicBezTo>
                    <a:pt x="1410" y="1119"/>
                    <a:pt x="1395" y="1143"/>
                    <a:pt x="1351" y="1151"/>
                  </a:cubicBezTo>
                  <a:cubicBezTo>
                    <a:pt x="1305" y="1160"/>
                    <a:pt x="1260" y="1170"/>
                    <a:pt x="1214" y="1179"/>
                  </a:cubicBezTo>
                  <a:cubicBezTo>
                    <a:pt x="1191" y="1183"/>
                    <a:pt x="1179" y="1198"/>
                    <a:pt x="1174" y="1220"/>
                  </a:cubicBezTo>
                  <a:cubicBezTo>
                    <a:pt x="1165" y="1267"/>
                    <a:pt x="1155" y="1314"/>
                    <a:pt x="1146" y="1361"/>
                  </a:cubicBezTo>
                  <a:cubicBezTo>
                    <a:pt x="1139" y="1398"/>
                    <a:pt x="1114" y="1413"/>
                    <a:pt x="1077" y="1400"/>
                  </a:cubicBezTo>
                  <a:cubicBezTo>
                    <a:pt x="1032" y="1385"/>
                    <a:pt x="988" y="1370"/>
                    <a:pt x="943" y="1355"/>
                  </a:cubicBezTo>
                  <a:cubicBezTo>
                    <a:pt x="918" y="1346"/>
                    <a:pt x="898" y="1351"/>
                    <a:pt x="881" y="1371"/>
                  </a:cubicBezTo>
                  <a:cubicBezTo>
                    <a:pt x="850" y="1406"/>
                    <a:pt x="819" y="1441"/>
                    <a:pt x="789" y="1477"/>
                  </a:cubicBezTo>
                  <a:cubicBezTo>
                    <a:pt x="763" y="1506"/>
                    <a:pt x="737" y="1507"/>
                    <a:pt x="711" y="1478"/>
                  </a:cubicBezTo>
                  <a:cubicBezTo>
                    <a:pt x="680" y="1443"/>
                    <a:pt x="650" y="1408"/>
                    <a:pt x="619" y="1373"/>
                  </a:cubicBezTo>
                  <a:cubicBezTo>
                    <a:pt x="600" y="1350"/>
                    <a:pt x="583" y="1346"/>
                    <a:pt x="555" y="1355"/>
                  </a:cubicBezTo>
                  <a:cubicBezTo>
                    <a:pt x="511" y="1370"/>
                    <a:pt x="467" y="1385"/>
                    <a:pt x="423" y="1400"/>
                  </a:cubicBezTo>
                  <a:cubicBezTo>
                    <a:pt x="384" y="1413"/>
                    <a:pt x="361" y="1400"/>
                    <a:pt x="353" y="1360"/>
                  </a:cubicBezTo>
                  <a:cubicBezTo>
                    <a:pt x="344" y="1316"/>
                    <a:pt x="335" y="1271"/>
                    <a:pt x="326" y="1226"/>
                  </a:cubicBezTo>
                  <a:cubicBezTo>
                    <a:pt x="321" y="1199"/>
                    <a:pt x="308" y="1183"/>
                    <a:pt x="280" y="1178"/>
                  </a:cubicBezTo>
                  <a:cubicBezTo>
                    <a:pt x="235" y="1169"/>
                    <a:pt x="191" y="1160"/>
                    <a:pt x="146" y="1151"/>
                  </a:cubicBezTo>
                  <a:cubicBezTo>
                    <a:pt x="104" y="1143"/>
                    <a:pt x="89" y="1118"/>
                    <a:pt x="103" y="1078"/>
                  </a:cubicBezTo>
                  <a:cubicBezTo>
                    <a:pt x="118" y="1035"/>
                    <a:pt x="133" y="992"/>
                    <a:pt x="147" y="949"/>
                  </a:cubicBezTo>
                  <a:cubicBezTo>
                    <a:pt x="158" y="918"/>
                    <a:pt x="153" y="903"/>
                    <a:pt x="128" y="882"/>
                  </a:cubicBezTo>
                  <a:cubicBezTo>
                    <a:pt x="96" y="854"/>
                    <a:pt x="63" y="825"/>
                    <a:pt x="30" y="797"/>
                  </a:cubicBezTo>
                  <a:cubicBezTo>
                    <a:pt x="1" y="771"/>
                    <a:pt x="0" y="739"/>
                    <a:pt x="30" y="713"/>
                  </a:cubicBezTo>
                  <a:cubicBezTo>
                    <a:pt x="64" y="682"/>
                    <a:pt x="100" y="652"/>
                    <a:pt x="135" y="621"/>
                  </a:cubicBezTo>
                  <a:cubicBezTo>
                    <a:pt x="159" y="600"/>
                    <a:pt x="163" y="585"/>
                    <a:pt x="153" y="555"/>
                  </a:cubicBezTo>
                  <a:cubicBezTo>
                    <a:pt x="138" y="512"/>
                    <a:pt x="123" y="469"/>
                    <a:pt x="108" y="425"/>
                  </a:cubicBezTo>
                  <a:cubicBezTo>
                    <a:pt x="94" y="386"/>
                    <a:pt x="107" y="363"/>
                    <a:pt x="148" y="354"/>
                  </a:cubicBezTo>
                  <a:cubicBezTo>
                    <a:pt x="195" y="345"/>
                    <a:pt x="241" y="336"/>
                    <a:pt x="287" y="327"/>
                  </a:cubicBezTo>
                  <a:cubicBezTo>
                    <a:pt x="311" y="322"/>
                    <a:pt x="325" y="308"/>
                    <a:pt x="330" y="285"/>
                  </a:cubicBezTo>
                  <a:cubicBezTo>
                    <a:pt x="340" y="237"/>
                    <a:pt x="349" y="190"/>
                    <a:pt x="358" y="142"/>
                  </a:cubicBezTo>
                  <a:cubicBezTo>
                    <a:pt x="365" y="109"/>
                    <a:pt x="389" y="94"/>
                    <a:pt x="422" y="105"/>
                  </a:cubicBezTo>
                  <a:cubicBezTo>
                    <a:pt x="466" y="120"/>
                    <a:pt x="509" y="135"/>
                    <a:pt x="553" y="151"/>
                  </a:cubicBezTo>
                  <a:cubicBezTo>
                    <a:pt x="586" y="162"/>
                    <a:pt x="601" y="158"/>
                    <a:pt x="624" y="132"/>
                  </a:cubicBezTo>
                  <a:cubicBezTo>
                    <a:pt x="654" y="98"/>
                    <a:pt x="683" y="63"/>
                    <a:pt x="713" y="29"/>
                  </a:cubicBezTo>
                  <a:cubicBezTo>
                    <a:pt x="740" y="0"/>
                    <a:pt x="764" y="0"/>
                    <a:pt x="791" y="30"/>
                  </a:cubicBezTo>
                  <a:cubicBezTo>
                    <a:pt x="821" y="63"/>
                    <a:pt x="850" y="98"/>
                    <a:pt x="880" y="132"/>
                  </a:cubicBezTo>
                  <a:cubicBezTo>
                    <a:pt x="903" y="158"/>
                    <a:pt x="918" y="162"/>
                    <a:pt x="951" y="150"/>
                  </a:cubicBezTo>
                  <a:cubicBezTo>
                    <a:pt x="991" y="137"/>
                    <a:pt x="1031" y="122"/>
                    <a:pt x="1071" y="108"/>
                  </a:cubicBezTo>
                  <a:cubicBezTo>
                    <a:pt x="1117" y="92"/>
                    <a:pt x="1141" y="106"/>
                    <a:pt x="1150" y="153"/>
                  </a:cubicBezTo>
                  <a:cubicBezTo>
                    <a:pt x="1159" y="198"/>
                    <a:pt x="1169" y="243"/>
                    <a:pt x="1177" y="288"/>
                  </a:cubicBezTo>
                  <a:cubicBezTo>
                    <a:pt x="1182" y="311"/>
                    <a:pt x="1196" y="323"/>
                    <a:pt x="1217" y="327"/>
                  </a:cubicBezTo>
                  <a:cubicBezTo>
                    <a:pt x="1264" y="337"/>
                    <a:pt x="1311" y="346"/>
                    <a:pt x="1358" y="355"/>
                  </a:cubicBezTo>
                  <a:cubicBezTo>
                    <a:pt x="1388" y="362"/>
                    <a:pt x="1403" y="377"/>
                    <a:pt x="1404" y="408"/>
                  </a:cubicBezTo>
                  <a:close/>
                  <a:moveTo>
                    <a:pt x="751" y="429"/>
                  </a:moveTo>
                  <a:cubicBezTo>
                    <a:pt x="730" y="431"/>
                    <a:pt x="718" y="441"/>
                    <a:pt x="711" y="459"/>
                  </a:cubicBezTo>
                  <a:cubicBezTo>
                    <a:pt x="690" y="512"/>
                    <a:pt x="669" y="565"/>
                    <a:pt x="646" y="617"/>
                  </a:cubicBezTo>
                  <a:cubicBezTo>
                    <a:pt x="643" y="624"/>
                    <a:pt x="634" y="631"/>
                    <a:pt x="627" y="632"/>
                  </a:cubicBezTo>
                  <a:cubicBezTo>
                    <a:pt x="597" y="636"/>
                    <a:pt x="566" y="637"/>
                    <a:pt x="535" y="639"/>
                  </a:cubicBezTo>
                  <a:cubicBezTo>
                    <a:pt x="505" y="641"/>
                    <a:pt x="475" y="642"/>
                    <a:pt x="446" y="646"/>
                  </a:cubicBezTo>
                  <a:cubicBezTo>
                    <a:pt x="418" y="650"/>
                    <a:pt x="404" y="679"/>
                    <a:pt x="417" y="702"/>
                  </a:cubicBezTo>
                  <a:cubicBezTo>
                    <a:pt x="422" y="710"/>
                    <a:pt x="429" y="716"/>
                    <a:pt x="436" y="722"/>
                  </a:cubicBezTo>
                  <a:cubicBezTo>
                    <a:pt x="478" y="758"/>
                    <a:pt x="520" y="793"/>
                    <a:pt x="562" y="828"/>
                  </a:cubicBezTo>
                  <a:cubicBezTo>
                    <a:pt x="572" y="836"/>
                    <a:pt x="573" y="843"/>
                    <a:pt x="570" y="855"/>
                  </a:cubicBezTo>
                  <a:cubicBezTo>
                    <a:pt x="556" y="908"/>
                    <a:pt x="544" y="962"/>
                    <a:pt x="530" y="1015"/>
                  </a:cubicBezTo>
                  <a:cubicBezTo>
                    <a:pt x="524" y="1035"/>
                    <a:pt x="525" y="1053"/>
                    <a:pt x="544" y="1067"/>
                  </a:cubicBezTo>
                  <a:cubicBezTo>
                    <a:pt x="562" y="1079"/>
                    <a:pt x="579" y="1074"/>
                    <a:pt x="595" y="1063"/>
                  </a:cubicBezTo>
                  <a:cubicBezTo>
                    <a:pt x="640" y="1035"/>
                    <a:pt x="685" y="1008"/>
                    <a:pt x="729" y="979"/>
                  </a:cubicBezTo>
                  <a:cubicBezTo>
                    <a:pt x="743" y="970"/>
                    <a:pt x="754" y="969"/>
                    <a:pt x="769" y="979"/>
                  </a:cubicBezTo>
                  <a:cubicBezTo>
                    <a:pt x="815" y="1009"/>
                    <a:pt x="862" y="1037"/>
                    <a:pt x="908" y="1066"/>
                  </a:cubicBezTo>
                  <a:cubicBezTo>
                    <a:pt x="924" y="1076"/>
                    <a:pt x="940" y="1078"/>
                    <a:pt x="956" y="1066"/>
                  </a:cubicBezTo>
                  <a:cubicBezTo>
                    <a:pt x="972" y="1055"/>
                    <a:pt x="975" y="1039"/>
                    <a:pt x="970" y="1020"/>
                  </a:cubicBezTo>
                  <a:cubicBezTo>
                    <a:pt x="956" y="964"/>
                    <a:pt x="943" y="908"/>
                    <a:pt x="928" y="852"/>
                  </a:cubicBezTo>
                  <a:cubicBezTo>
                    <a:pt x="925" y="841"/>
                    <a:pt x="927" y="835"/>
                    <a:pt x="936" y="828"/>
                  </a:cubicBezTo>
                  <a:cubicBezTo>
                    <a:pt x="977" y="794"/>
                    <a:pt x="1017" y="760"/>
                    <a:pt x="1058" y="726"/>
                  </a:cubicBezTo>
                  <a:cubicBezTo>
                    <a:pt x="1075" y="711"/>
                    <a:pt x="1095" y="699"/>
                    <a:pt x="1086" y="672"/>
                  </a:cubicBezTo>
                  <a:cubicBezTo>
                    <a:pt x="1076" y="643"/>
                    <a:pt x="1051" y="645"/>
                    <a:pt x="1028" y="643"/>
                  </a:cubicBezTo>
                  <a:cubicBezTo>
                    <a:pt x="978" y="640"/>
                    <a:pt x="927" y="636"/>
                    <a:pt x="876" y="633"/>
                  </a:cubicBezTo>
                  <a:cubicBezTo>
                    <a:pt x="864" y="633"/>
                    <a:pt x="858" y="628"/>
                    <a:pt x="854" y="616"/>
                  </a:cubicBezTo>
                  <a:cubicBezTo>
                    <a:pt x="833" y="564"/>
                    <a:pt x="811" y="511"/>
                    <a:pt x="790" y="459"/>
                  </a:cubicBezTo>
                  <a:cubicBezTo>
                    <a:pt x="783" y="440"/>
                    <a:pt x="770" y="430"/>
                    <a:pt x="751" y="429"/>
                  </a:cubicBezTo>
                  <a:close/>
                </a:path>
              </a:pathLst>
            </a:custGeom>
            <a:grpFill/>
            <a:ln>
              <a:noFill/>
            </a:ln>
          </p:spPr>
          <p:txBody>
            <a:bodyPr vert="horz" wrap="none" lIns="91440" tIns="45720" rIns="91440" bIns="45720" numCol="1" anchor="t" anchorCtr="0" compatLnSpc="1">
              <a:prstTxWarp prst="textNoShape">
                <a:avLst/>
              </a:prstTxWarp>
            </a:bodyPr>
            <a:lstStyle/>
            <a:p>
              <a:endParaRPr lang="en-US"/>
            </a:p>
          </p:txBody>
        </p:sp>
        <p:sp>
          <p:nvSpPr>
            <p:cNvPr id="438" name="Oval 437">
              <a:extLst>
                <a:ext uri="{FF2B5EF4-FFF2-40B4-BE49-F238E27FC236}">
                  <a16:creationId xmlns:a16="http://schemas.microsoft.com/office/drawing/2014/main" id="{C1EE7068-6E5F-A434-5B0E-02AE9E2087CB}"/>
                </a:ext>
              </a:extLst>
            </p:cNvPr>
            <p:cNvSpPr/>
            <p:nvPr/>
          </p:nvSpPr>
          <p:spPr>
            <a:xfrm>
              <a:off x="2065844" y="1497583"/>
              <a:ext cx="477877" cy="323850"/>
            </a:xfrm>
            <a:prstGeom prst="ellipse">
              <a:avLst/>
            </a:prstGeom>
            <a:grpFill/>
          </p:spPr>
          <p:txBody>
            <a:bodyPr wrap="none" lIns="0" tIns="0" rIns="0" bIns="0" anchor="ctr">
              <a:noAutofit/>
            </a:bodyPr>
            <a:lstStyle/>
            <a:p>
              <a:pPr algn="ctr"/>
              <a:r>
                <a:rPr lang="en-US" sz="500" b="1"/>
                <a:t>6.2</a:t>
              </a:r>
              <a:endParaRPr lang="en-IN" sz="500" b="1"/>
            </a:p>
          </p:txBody>
        </p:sp>
      </p:grpSp>
      <p:grpSp>
        <p:nvGrpSpPr>
          <p:cNvPr id="419" name="Group 418">
            <a:extLst>
              <a:ext uri="{FF2B5EF4-FFF2-40B4-BE49-F238E27FC236}">
                <a16:creationId xmlns:a16="http://schemas.microsoft.com/office/drawing/2014/main" id="{56FB70FC-F9EA-81A4-1B3D-F9FC190FAC56}"/>
              </a:ext>
            </a:extLst>
          </p:cNvPr>
          <p:cNvGrpSpPr>
            <a:grpSpLocks noChangeAspect="1"/>
          </p:cNvGrpSpPr>
          <p:nvPr/>
        </p:nvGrpSpPr>
        <p:grpSpPr>
          <a:xfrm>
            <a:off x="11423490" y="2529785"/>
            <a:ext cx="153109" cy="153109"/>
            <a:chOff x="2013768" y="1371600"/>
            <a:chExt cx="589040" cy="586152"/>
          </a:xfrm>
          <a:solidFill>
            <a:schemeClr val="bg1">
              <a:lumMod val="85000"/>
            </a:schemeClr>
          </a:solidFill>
        </p:grpSpPr>
        <p:sp>
          <p:nvSpPr>
            <p:cNvPr id="435" name="Freeform 6">
              <a:extLst>
                <a:ext uri="{FF2B5EF4-FFF2-40B4-BE49-F238E27FC236}">
                  <a16:creationId xmlns:a16="http://schemas.microsoft.com/office/drawing/2014/main" id="{DF7184C6-918C-596A-94F1-9086B7039A2D}"/>
                </a:ext>
              </a:extLst>
            </p:cNvPr>
            <p:cNvSpPr>
              <a:spLocks noEditPoints="1"/>
            </p:cNvSpPr>
            <p:nvPr/>
          </p:nvSpPr>
          <p:spPr bwMode="auto">
            <a:xfrm>
              <a:off x="2013768" y="1371600"/>
              <a:ext cx="589040" cy="586152"/>
            </a:xfrm>
            <a:custGeom>
              <a:avLst/>
              <a:gdLst>
                <a:gd name="T0" fmla="*/ 1399 w 1506"/>
                <a:gd name="T1" fmla="*/ 427 h 1507"/>
                <a:gd name="T2" fmla="*/ 1371 w 1506"/>
                <a:gd name="T3" fmla="*/ 623 h 1507"/>
                <a:gd name="T4" fmla="*/ 1474 w 1506"/>
                <a:gd name="T5" fmla="*/ 794 h 1507"/>
                <a:gd name="T6" fmla="*/ 1353 w 1506"/>
                <a:gd name="T7" fmla="*/ 953 h 1507"/>
                <a:gd name="T8" fmla="*/ 1351 w 1506"/>
                <a:gd name="T9" fmla="*/ 1151 h 1507"/>
                <a:gd name="T10" fmla="*/ 1174 w 1506"/>
                <a:gd name="T11" fmla="*/ 1220 h 1507"/>
                <a:gd name="T12" fmla="*/ 1077 w 1506"/>
                <a:gd name="T13" fmla="*/ 1400 h 1507"/>
                <a:gd name="T14" fmla="*/ 881 w 1506"/>
                <a:gd name="T15" fmla="*/ 1371 h 1507"/>
                <a:gd name="T16" fmla="*/ 711 w 1506"/>
                <a:gd name="T17" fmla="*/ 1478 h 1507"/>
                <a:gd name="T18" fmla="*/ 555 w 1506"/>
                <a:gd name="T19" fmla="*/ 1355 h 1507"/>
                <a:gd name="T20" fmla="*/ 353 w 1506"/>
                <a:gd name="T21" fmla="*/ 1360 h 1507"/>
                <a:gd name="T22" fmla="*/ 280 w 1506"/>
                <a:gd name="T23" fmla="*/ 1178 h 1507"/>
                <a:gd name="T24" fmla="*/ 103 w 1506"/>
                <a:gd name="T25" fmla="*/ 1078 h 1507"/>
                <a:gd name="T26" fmla="*/ 128 w 1506"/>
                <a:gd name="T27" fmla="*/ 882 h 1507"/>
                <a:gd name="T28" fmla="*/ 30 w 1506"/>
                <a:gd name="T29" fmla="*/ 713 h 1507"/>
                <a:gd name="T30" fmla="*/ 153 w 1506"/>
                <a:gd name="T31" fmla="*/ 555 h 1507"/>
                <a:gd name="T32" fmla="*/ 148 w 1506"/>
                <a:gd name="T33" fmla="*/ 354 h 1507"/>
                <a:gd name="T34" fmla="*/ 330 w 1506"/>
                <a:gd name="T35" fmla="*/ 285 h 1507"/>
                <a:gd name="T36" fmla="*/ 422 w 1506"/>
                <a:gd name="T37" fmla="*/ 105 h 1507"/>
                <a:gd name="T38" fmla="*/ 624 w 1506"/>
                <a:gd name="T39" fmla="*/ 132 h 1507"/>
                <a:gd name="T40" fmla="*/ 791 w 1506"/>
                <a:gd name="T41" fmla="*/ 30 h 1507"/>
                <a:gd name="T42" fmla="*/ 951 w 1506"/>
                <a:gd name="T43" fmla="*/ 150 h 1507"/>
                <a:gd name="T44" fmla="*/ 1150 w 1506"/>
                <a:gd name="T45" fmla="*/ 153 h 1507"/>
                <a:gd name="T46" fmla="*/ 1217 w 1506"/>
                <a:gd name="T47" fmla="*/ 327 h 1507"/>
                <a:gd name="T48" fmla="*/ 1404 w 1506"/>
                <a:gd name="T49" fmla="*/ 408 h 1507"/>
                <a:gd name="T50" fmla="*/ 711 w 1506"/>
                <a:gd name="T51" fmla="*/ 459 h 1507"/>
                <a:gd name="T52" fmla="*/ 627 w 1506"/>
                <a:gd name="T53" fmla="*/ 632 h 1507"/>
                <a:gd name="T54" fmla="*/ 446 w 1506"/>
                <a:gd name="T55" fmla="*/ 646 h 1507"/>
                <a:gd name="T56" fmla="*/ 436 w 1506"/>
                <a:gd name="T57" fmla="*/ 722 h 1507"/>
                <a:gd name="T58" fmla="*/ 570 w 1506"/>
                <a:gd name="T59" fmla="*/ 855 h 1507"/>
                <a:gd name="T60" fmla="*/ 544 w 1506"/>
                <a:gd name="T61" fmla="*/ 1067 h 1507"/>
                <a:gd name="T62" fmla="*/ 729 w 1506"/>
                <a:gd name="T63" fmla="*/ 979 h 1507"/>
                <a:gd name="T64" fmla="*/ 908 w 1506"/>
                <a:gd name="T65" fmla="*/ 1066 h 1507"/>
                <a:gd name="T66" fmla="*/ 970 w 1506"/>
                <a:gd name="T67" fmla="*/ 1020 h 1507"/>
                <a:gd name="T68" fmla="*/ 936 w 1506"/>
                <a:gd name="T69" fmla="*/ 828 h 1507"/>
                <a:gd name="T70" fmla="*/ 1086 w 1506"/>
                <a:gd name="T71" fmla="*/ 672 h 1507"/>
                <a:gd name="T72" fmla="*/ 876 w 1506"/>
                <a:gd name="T73" fmla="*/ 633 h 1507"/>
                <a:gd name="T74" fmla="*/ 790 w 1506"/>
                <a:gd name="T75" fmla="*/ 459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6" h="1507">
                  <a:moveTo>
                    <a:pt x="1404" y="408"/>
                  </a:moveTo>
                  <a:cubicBezTo>
                    <a:pt x="1403" y="412"/>
                    <a:pt x="1401" y="420"/>
                    <a:pt x="1399" y="427"/>
                  </a:cubicBezTo>
                  <a:cubicBezTo>
                    <a:pt x="1384" y="470"/>
                    <a:pt x="1369" y="513"/>
                    <a:pt x="1354" y="555"/>
                  </a:cubicBezTo>
                  <a:cubicBezTo>
                    <a:pt x="1345" y="582"/>
                    <a:pt x="1349" y="604"/>
                    <a:pt x="1371" y="623"/>
                  </a:cubicBezTo>
                  <a:cubicBezTo>
                    <a:pt x="1406" y="652"/>
                    <a:pt x="1440" y="682"/>
                    <a:pt x="1474" y="713"/>
                  </a:cubicBezTo>
                  <a:cubicBezTo>
                    <a:pt x="1506" y="742"/>
                    <a:pt x="1506" y="766"/>
                    <a:pt x="1474" y="794"/>
                  </a:cubicBezTo>
                  <a:cubicBezTo>
                    <a:pt x="1440" y="823"/>
                    <a:pt x="1407" y="851"/>
                    <a:pt x="1373" y="879"/>
                  </a:cubicBezTo>
                  <a:cubicBezTo>
                    <a:pt x="1345" y="903"/>
                    <a:pt x="1341" y="917"/>
                    <a:pt x="1353" y="953"/>
                  </a:cubicBezTo>
                  <a:cubicBezTo>
                    <a:pt x="1367" y="994"/>
                    <a:pt x="1381" y="1036"/>
                    <a:pt x="1395" y="1077"/>
                  </a:cubicBezTo>
                  <a:cubicBezTo>
                    <a:pt x="1410" y="1119"/>
                    <a:pt x="1395" y="1143"/>
                    <a:pt x="1351" y="1151"/>
                  </a:cubicBezTo>
                  <a:cubicBezTo>
                    <a:pt x="1305" y="1160"/>
                    <a:pt x="1260" y="1170"/>
                    <a:pt x="1214" y="1179"/>
                  </a:cubicBezTo>
                  <a:cubicBezTo>
                    <a:pt x="1191" y="1183"/>
                    <a:pt x="1179" y="1198"/>
                    <a:pt x="1174" y="1220"/>
                  </a:cubicBezTo>
                  <a:cubicBezTo>
                    <a:pt x="1165" y="1267"/>
                    <a:pt x="1155" y="1314"/>
                    <a:pt x="1146" y="1361"/>
                  </a:cubicBezTo>
                  <a:cubicBezTo>
                    <a:pt x="1139" y="1398"/>
                    <a:pt x="1114" y="1413"/>
                    <a:pt x="1077" y="1400"/>
                  </a:cubicBezTo>
                  <a:cubicBezTo>
                    <a:pt x="1032" y="1385"/>
                    <a:pt x="988" y="1370"/>
                    <a:pt x="943" y="1355"/>
                  </a:cubicBezTo>
                  <a:cubicBezTo>
                    <a:pt x="918" y="1346"/>
                    <a:pt x="898" y="1351"/>
                    <a:pt x="881" y="1371"/>
                  </a:cubicBezTo>
                  <a:cubicBezTo>
                    <a:pt x="850" y="1406"/>
                    <a:pt x="819" y="1441"/>
                    <a:pt x="789" y="1477"/>
                  </a:cubicBezTo>
                  <a:cubicBezTo>
                    <a:pt x="763" y="1506"/>
                    <a:pt x="737" y="1507"/>
                    <a:pt x="711" y="1478"/>
                  </a:cubicBezTo>
                  <a:cubicBezTo>
                    <a:pt x="680" y="1443"/>
                    <a:pt x="650" y="1408"/>
                    <a:pt x="619" y="1373"/>
                  </a:cubicBezTo>
                  <a:cubicBezTo>
                    <a:pt x="600" y="1350"/>
                    <a:pt x="583" y="1346"/>
                    <a:pt x="555" y="1355"/>
                  </a:cubicBezTo>
                  <a:cubicBezTo>
                    <a:pt x="511" y="1370"/>
                    <a:pt x="467" y="1385"/>
                    <a:pt x="423" y="1400"/>
                  </a:cubicBezTo>
                  <a:cubicBezTo>
                    <a:pt x="384" y="1413"/>
                    <a:pt x="361" y="1400"/>
                    <a:pt x="353" y="1360"/>
                  </a:cubicBezTo>
                  <a:cubicBezTo>
                    <a:pt x="344" y="1316"/>
                    <a:pt x="335" y="1271"/>
                    <a:pt x="326" y="1226"/>
                  </a:cubicBezTo>
                  <a:cubicBezTo>
                    <a:pt x="321" y="1199"/>
                    <a:pt x="308" y="1183"/>
                    <a:pt x="280" y="1178"/>
                  </a:cubicBezTo>
                  <a:cubicBezTo>
                    <a:pt x="235" y="1169"/>
                    <a:pt x="191" y="1160"/>
                    <a:pt x="146" y="1151"/>
                  </a:cubicBezTo>
                  <a:cubicBezTo>
                    <a:pt x="104" y="1143"/>
                    <a:pt x="89" y="1118"/>
                    <a:pt x="103" y="1078"/>
                  </a:cubicBezTo>
                  <a:cubicBezTo>
                    <a:pt x="118" y="1035"/>
                    <a:pt x="133" y="992"/>
                    <a:pt x="147" y="949"/>
                  </a:cubicBezTo>
                  <a:cubicBezTo>
                    <a:pt x="158" y="918"/>
                    <a:pt x="153" y="903"/>
                    <a:pt x="128" y="882"/>
                  </a:cubicBezTo>
                  <a:cubicBezTo>
                    <a:pt x="96" y="854"/>
                    <a:pt x="63" y="825"/>
                    <a:pt x="30" y="797"/>
                  </a:cubicBezTo>
                  <a:cubicBezTo>
                    <a:pt x="1" y="771"/>
                    <a:pt x="0" y="739"/>
                    <a:pt x="30" y="713"/>
                  </a:cubicBezTo>
                  <a:cubicBezTo>
                    <a:pt x="64" y="682"/>
                    <a:pt x="100" y="652"/>
                    <a:pt x="135" y="621"/>
                  </a:cubicBezTo>
                  <a:cubicBezTo>
                    <a:pt x="159" y="600"/>
                    <a:pt x="163" y="585"/>
                    <a:pt x="153" y="555"/>
                  </a:cubicBezTo>
                  <a:cubicBezTo>
                    <a:pt x="138" y="512"/>
                    <a:pt x="123" y="469"/>
                    <a:pt x="108" y="425"/>
                  </a:cubicBezTo>
                  <a:cubicBezTo>
                    <a:pt x="94" y="386"/>
                    <a:pt x="107" y="363"/>
                    <a:pt x="148" y="354"/>
                  </a:cubicBezTo>
                  <a:cubicBezTo>
                    <a:pt x="195" y="345"/>
                    <a:pt x="241" y="336"/>
                    <a:pt x="287" y="327"/>
                  </a:cubicBezTo>
                  <a:cubicBezTo>
                    <a:pt x="311" y="322"/>
                    <a:pt x="325" y="308"/>
                    <a:pt x="330" y="285"/>
                  </a:cubicBezTo>
                  <a:cubicBezTo>
                    <a:pt x="340" y="237"/>
                    <a:pt x="349" y="190"/>
                    <a:pt x="358" y="142"/>
                  </a:cubicBezTo>
                  <a:cubicBezTo>
                    <a:pt x="365" y="109"/>
                    <a:pt x="389" y="94"/>
                    <a:pt x="422" y="105"/>
                  </a:cubicBezTo>
                  <a:cubicBezTo>
                    <a:pt x="466" y="120"/>
                    <a:pt x="509" y="135"/>
                    <a:pt x="553" y="151"/>
                  </a:cubicBezTo>
                  <a:cubicBezTo>
                    <a:pt x="586" y="162"/>
                    <a:pt x="601" y="158"/>
                    <a:pt x="624" y="132"/>
                  </a:cubicBezTo>
                  <a:cubicBezTo>
                    <a:pt x="654" y="98"/>
                    <a:pt x="683" y="63"/>
                    <a:pt x="713" y="29"/>
                  </a:cubicBezTo>
                  <a:cubicBezTo>
                    <a:pt x="740" y="0"/>
                    <a:pt x="764" y="0"/>
                    <a:pt x="791" y="30"/>
                  </a:cubicBezTo>
                  <a:cubicBezTo>
                    <a:pt x="821" y="63"/>
                    <a:pt x="850" y="98"/>
                    <a:pt x="880" y="132"/>
                  </a:cubicBezTo>
                  <a:cubicBezTo>
                    <a:pt x="903" y="158"/>
                    <a:pt x="918" y="162"/>
                    <a:pt x="951" y="150"/>
                  </a:cubicBezTo>
                  <a:cubicBezTo>
                    <a:pt x="991" y="137"/>
                    <a:pt x="1031" y="122"/>
                    <a:pt x="1071" y="108"/>
                  </a:cubicBezTo>
                  <a:cubicBezTo>
                    <a:pt x="1117" y="92"/>
                    <a:pt x="1141" y="106"/>
                    <a:pt x="1150" y="153"/>
                  </a:cubicBezTo>
                  <a:cubicBezTo>
                    <a:pt x="1159" y="198"/>
                    <a:pt x="1169" y="243"/>
                    <a:pt x="1177" y="288"/>
                  </a:cubicBezTo>
                  <a:cubicBezTo>
                    <a:pt x="1182" y="311"/>
                    <a:pt x="1196" y="323"/>
                    <a:pt x="1217" y="327"/>
                  </a:cubicBezTo>
                  <a:cubicBezTo>
                    <a:pt x="1264" y="337"/>
                    <a:pt x="1311" y="346"/>
                    <a:pt x="1358" y="355"/>
                  </a:cubicBezTo>
                  <a:cubicBezTo>
                    <a:pt x="1388" y="362"/>
                    <a:pt x="1403" y="377"/>
                    <a:pt x="1404" y="408"/>
                  </a:cubicBezTo>
                  <a:close/>
                  <a:moveTo>
                    <a:pt x="751" y="429"/>
                  </a:moveTo>
                  <a:cubicBezTo>
                    <a:pt x="730" y="431"/>
                    <a:pt x="718" y="441"/>
                    <a:pt x="711" y="459"/>
                  </a:cubicBezTo>
                  <a:cubicBezTo>
                    <a:pt x="690" y="512"/>
                    <a:pt x="669" y="565"/>
                    <a:pt x="646" y="617"/>
                  </a:cubicBezTo>
                  <a:cubicBezTo>
                    <a:pt x="643" y="624"/>
                    <a:pt x="634" y="631"/>
                    <a:pt x="627" y="632"/>
                  </a:cubicBezTo>
                  <a:cubicBezTo>
                    <a:pt x="597" y="636"/>
                    <a:pt x="566" y="637"/>
                    <a:pt x="535" y="639"/>
                  </a:cubicBezTo>
                  <a:cubicBezTo>
                    <a:pt x="505" y="641"/>
                    <a:pt x="475" y="642"/>
                    <a:pt x="446" y="646"/>
                  </a:cubicBezTo>
                  <a:cubicBezTo>
                    <a:pt x="418" y="650"/>
                    <a:pt x="404" y="679"/>
                    <a:pt x="417" y="702"/>
                  </a:cubicBezTo>
                  <a:cubicBezTo>
                    <a:pt x="422" y="710"/>
                    <a:pt x="429" y="716"/>
                    <a:pt x="436" y="722"/>
                  </a:cubicBezTo>
                  <a:cubicBezTo>
                    <a:pt x="478" y="758"/>
                    <a:pt x="520" y="793"/>
                    <a:pt x="562" y="828"/>
                  </a:cubicBezTo>
                  <a:cubicBezTo>
                    <a:pt x="572" y="836"/>
                    <a:pt x="573" y="843"/>
                    <a:pt x="570" y="855"/>
                  </a:cubicBezTo>
                  <a:cubicBezTo>
                    <a:pt x="556" y="908"/>
                    <a:pt x="544" y="962"/>
                    <a:pt x="530" y="1015"/>
                  </a:cubicBezTo>
                  <a:cubicBezTo>
                    <a:pt x="524" y="1035"/>
                    <a:pt x="525" y="1053"/>
                    <a:pt x="544" y="1067"/>
                  </a:cubicBezTo>
                  <a:cubicBezTo>
                    <a:pt x="562" y="1079"/>
                    <a:pt x="579" y="1074"/>
                    <a:pt x="595" y="1063"/>
                  </a:cubicBezTo>
                  <a:cubicBezTo>
                    <a:pt x="640" y="1035"/>
                    <a:pt x="685" y="1008"/>
                    <a:pt x="729" y="979"/>
                  </a:cubicBezTo>
                  <a:cubicBezTo>
                    <a:pt x="743" y="970"/>
                    <a:pt x="754" y="969"/>
                    <a:pt x="769" y="979"/>
                  </a:cubicBezTo>
                  <a:cubicBezTo>
                    <a:pt x="815" y="1009"/>
                    <a:pt x="862" y="1037"/>
                    <a:pt x="908" y="1066"/>
                  </a:cubicBezTo>
                  <a:cubicBezTo>
                    <a:pt x="924" y="1076"/>
                    <a:pt x="940" y="1078"/>
                    <a:pt x="956" y="1066"/>
                  </a:cubicBezTo>
                  <a:cubicBezTo>
                    <a:pt x="972" y="1055"/>
                    <a:pt x="975" y="1039"/>
                    <a:pt x="970" y="1020"/>
                  </a:cubicBezTo>
                  <a:cubicBezTo>
                    <a:pt x="956" y="964"/>
                    <a:pt x="943" y="908"/>
                    <a:pt x="928" y="852"/>
                  </a:cubicBezTo>
                  <a:cubicBezTo>
                    <a:pt x="925" y="841"/>
                    <a:pt x="927" y="835"/>
                    <a:pt x="936" y="828"/>
                  </a:cubicBezTo>
                  <a:cubicBezTo>
                    <a:pt x="977" y="794"/>
                    <a:pt x="1017" y="760"/>
                    <a:pt x="1058" y="726"/>
                  </a:cubicBezTo>
                  <a:cubicBezTo>
                    <a:pt x="1075" y="711"/>
                    <a:pt x="1095" y="699"/>
                    <a:pt x="1086" y="672"/>
                  </a:cubicBezTo>
                  <a:cubicBezTo>
                    <a:pt x="1076" y="643"/>
                    <a:pt x="1051" y="645"/>
                    <a:pt x="1028" y="643"/>
                  </a:cubicBezTo>
                  <a:cubicBezTo>
                    <a:pt x="978" y="640"/>
                    <a:pt x="927" y="636"/>
                    <a:pt x="876" y="633"/>
                  </a:cubicBezTo>
                  <a:cubicBezTo>
                    <a:pt x="864" y="633"/>
                    <a:pt x="858" y="628"/>
                    <a:pt x="854" y="616"/>
                  </a:cubicBezTo>
                  <a:cubicBezTo>
                    <a:pt x="833" y="564"/>
                    <a:pt x="811" y="511"/>
                    <a:pt x="790" y="459"/>
                  </a:cubicBezTo>
                  <a:cubicBezTo>
                    <a:pt x="783" y="440"/>
                    <a:pt x="770" y="430"/>
                    <a:pt x="751" y="429"/>
                  </a:cubicBezTo>
                  <a:close/>
                </a:path>
              </a:pathLst>
            </a:custGeom>
            <a:grpFill/>
            <a:ln>
              <a:noFill/>
            </a:ln>
          </p:spPr>
          <p:txBody>
            <a:bodyPr vert="horz" wrap="none" lIns="91440" tIns="45720" rIns="91440" bIns="45720" numCol="1" anchor="t" anchorCtr="0" compatLnSpc="1">
              <a:prstTxWarp prst="textNoShape">
                <a:avLst/>
              </a:prstTxWarp>
            </a:bodyPr>
            <a:lstStyle/>
            <a:p>
              <a:endParaRPr lang="en-US"/>
            </a:p>
          </p:txBody>
        </p:sp>
        <p:sp>
          <p:nvSpPr>
            <p:cNvPr id="436" name="Oval 435">
              <a:extLst>
                <a:ext uri="{FF2B5EF4-FFF2-40B4-BE49-F238E27FC236}">
                  <a16:creationId xmlns:a16="http://schemas.microsoft.com/office/drawing/2014/main" id="{5A5291EA-0E4B-FE11-5F2B-80B75195CD19}"/>
                </a:ext>
              </a:extLst>
            </p:cNvPr>
            <p:cNvSpPr/>
            <p:nvPr/>
          </p:nvSpPr>
          <p:spPr>
            <a:xfrm>
              <a:off x="2065844" y="1497583"/>
              <a:ext cx="477877" cy="323850"/>
            </a:xfrm>
            <a:prstGeom prst="ellipse">
              <a:avLst/>
            </a:prstGeom>
            <a:grpFill/>
          </p:spPr>
          <p:txBody>
            <a:bodyPr wrap="none" lIns="0" tIns="0" rIns="0" bIns="0" anchor="ctr">
              <a:noAutofit/>
            </a:bodyPr>
            <a:lstStyle/>
            <a:p>
              <a:pPr algn="ctr"/>
              <a:r>
                <a:rPr lang="en-US" sz="500" b="1"/>
                <a:t>6.2</a:t>
              </a:r>
              <a:endParaRPr lang="en-IN" sz="500" b="1"/>
            </a:p>
          </p:txBody>
        </p:sp>
      </p:grpSp>
      <p:grpSp>
        <p:nvGrpSpPr>
          <p:cNvPr id="420" name="Group 419">
            <a:extLst>
              <a:ext uri="{FF2B5EF4-FFF2-40B4-BE49-F238E27FC236}">
                <a16:creationId xmlns:a16="http://schemas.microsoft.com/office/drawing/2014/main" id="{A5A59784-9448-0D0A-CB10-08BA6CE0F461}"/>
              </a:ext>
            </a:extLst>
          </p:cNvPr>
          <p:cNvGrpSpPr>
            <a:grpSpLocks noChangeAspect="1"/>
          </p:cNvGrpSpPr>
          <p:nvPr/>
        </p:nvGrpSpPr>
        <p:grpSpPr>
          <a:xfrm>
            <a:off x="11423490" y="2677132"/>
            <a:ext cx="153109" cy="153109"/>
            <a:chOff x="2013768" y="1371600"/>
            <a:chExt cx="589040" cy="586152"/>
          </a:xfrm>
          <a:solidFill>
            <a:schemeClr val="bg1">
              <a:lumMod val="85000"/>
            </a:schemeClr>
          </a:solidFill>
        </p:grpSpPr>
        <p:sp>
          <p:nvSpPr>
            <p:cNvPr id="433" name="Freeform 6">
              <a:extLst>
                <a:ext uri="{FF2B5EF4-FFF2-40B4-BE49-F238E27FC236}">
                  <a16:creationId xmlns:a16="http://schemas.microsoft.com/office/drawing/2014/main" id="{F245CADA-120F-773B-CCC1-95D71CFD5CE2}"/>
                </a:ext>
              </a:extLst>
            </p:cNvPr>
            <p:cNvSpPr>
              <a:spLocks noEditPoints="1"/>
            </p:cNvSpPr>
            <p:nvPr/>
          </p:nvSpPr>
          <p:spPr bwMode="auto">
            <a:xfrm>
              <a:off x="2013768" y="1371600"/>
              <a:ext cx="589040" cy="586152"/>
            </a:xfrm>
            <a:custGeom>
              <a:avLst/>
              <a:gdLst>
                <a:gd name="T0" fmla="*/ 1399 w 1506"/>
                <a:gd name="T1" fmla="*/ 427 h 1507"/>
                <a:gd name="T2" fmla="*/ 1371 w 1506"/>
                <a:gd name="T3" fmla="*/ 623 h 1507"/>
                <a:gd name="T4" fmla="*/ 1474 w 1506"/>
                <a:gd name="T5" fmla="*/ 794 h 1507"/>
                <a:gd name="T6" fmla="*/ 1353 w 1506"/>
                <a:gd name="T7" fmla="*/ 953 h 1507"/>
                <a:gd name="T8" fmla="*/ 1351 w 1506"/>
                <a:gd name="T9" fmla="*/ 1151 h 1507"/>
                <a:gd name="T10" fmla="*/ 1174 w 1506"/>
                <a:gd name="T11" fmla="*/ 1220 h 1507"/>
                <a:gd name="T12" fmla="*/ 1077 w 1506"/>
                <a:gd name="T13" fmla="*/ 1400 h 1507"/>
                <a:gd name="T14" fmla="*/ 881 w 1506"/>
                <a:gd name="T15" fmla="*/ 1371 h 1507"/>
                <a:gd name="T16" fmla="*/ 711 w 1506"/>
                <a:gd name="T17" fmla="*/ 1478 h 1507"/>
                <a:gd name="T18" fmla="*/ 555 w 1506"/>
                <a:gd name="T19" fmla="*/ 1355 h 1507"/>
                <a:gd name="T20" fmla="*/ 353 w 1506"/>
                <a:gd name="T21" fmla="*/ 1360 h 1507"/>
                <a:gd name="T22" fmla="*/ 280 w 1506"/>
                <a:gd name="T23" fmla="*/ 1178 h 1507"/>
                <a:gd name="T24" fmla="*/ 103 w 1506"/>
                <a:gd name="T25" fmla="*/ 1078 h 1507"/>
                <a:gd name="T26" fmla="*/ 128 w 1506"/>
                <a:gd name="T27" fmla="*/ 882 h 1507"/>
                <a:gd name="T28" fmla="*/ 30 w 1506"/>
                <a:gd name="T29" fmla="*/ 713 h 1507"/>
                <a:gd name="T30" fmla="*/ 153 w 1506"/>
                <a:gd name="T31" fmla="*/ 555 h 1507"/>
                <a:gd name="T32" fmla="*/ 148 w 1506"/>
                <a:gd name="T33" fmla="*/ 354 h 1507"/>
                <a:gd name="T34" fmla="*/ 330 w 1506"/>
                <a:gd name="T35" fmla="*/ 285 h 1507"/>
                <a:gd name="T36" fmla="*/ 422 w 1506"/>
                <a:gd name="T37" fmla="*/ 105 h 1507"/>
                <a:gd name="T38" fmla="*/ 624 w 1506"/>
                <a:gd name="T39" fmla="*/ 132 h 1507"/>
                <a:gd name="T40" fmla="*/ 791 w 1506"/>
                <a:gd name="T41" fmla="*/ 30 h 1507"/>
                <a:gd name="T42" fmla="*/ 951 w 1506"/>
                <a:gd name="T43" fmla="*/ 150 h 1507"/>
                <a:gd name="T44" fmla="*/ 1150 w 1506"/>
                <a:gd name="T45" fmla="*/ 153 h 1507"/>
                <a:gd name="T46" fmla="*/ 1217 w 1506"/>
                <a:gd name="T47" fmla="*/ 327 h 1507"/>
                <a:gd name="T48" fmla="*/ 1404 w 1506"/>
                <a:gd name="T49" fmla="*/ 408 h 1507"/>
                <a:gd name="T50" fmla="*/ 711 w 1506"/>
                <a:gd name="T51" fmla="*/ 459 h 1507"/>
                <a:gd name="T52" fmla="*/ 627 w 1506"/>
                <a:gd name="T53" fmla="*/ 632 h 1507"/>
                <a:gd name="T54" fmla="*/ 446 w 1506"/>
                <a:gd name="T55" fmla="*/ 646 h 1507"/>
                <a:gd name="T56" fmla="*/ 436 w 1506"/>
                <a:gd name="T57" fmla="*/ 722 h 1507"/>
                <a:gd name="T58" fmla="*/ 570 w 1506"/>
                <a:gd name="T59" fmla="*/ 855 h 1507"/>
                <a:gd name="T60" fmla="*/ 544 w 1506"/>
                <a:gd name="T61" fmla="*/ 1067 h 1507"/>
                <a:gd name="T62" fmla="*/ 729 w 1506"/>
                <a:gd name="T63" fmla="*/ 979 h 1507"/>
                <a:gd name="T64" fmla="*/ 908 w 1506"/>
                <a:gd name="T65" fmla="*/ 1066 h 1507"/>
                <a:gd name="T66" fmla="*/ 970 w 1506"/>
                <a:gd name="T67" fmla="*/ 1020 h 1507"/>
                <a:gd name="T68" fmla="*/ 936 w 1506"/>
                <a:gd name="T69" fmla="*/ 828 h 1507"/>
                <a:gd name="T70" fmla="*/ 1086 w 1506"/>
                <a:gd name="T71" fmla="*/ 672 h 1507"/>
                <a:gd name="T72" fmla="*/ 876 w 1506"/>
                <a:gd name="T73" fmla="*/ 633 h 1507"/>
                <a:gd name="T74" fmla="*/ 790 w 1506"/>
                <a:gd name="T75" fmla="*/ 459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6" h="1507">
                  <a:moveTo>
                    <a:pt x="1404" y="408"/>
                  </a:moveTo>
                  <a:cubicBezTo>
                    <a:pt x="1403" y="412"/>
                    <a:pt x="1401" y="420"/>
                    <a:pt x="1399" y="427"/>
                  </a:cubicBezTo>
                  <a:cubicBezTo>
                    <a:pt x="1384" y="470"/>
                    <a:pt x="1369" y="513"/>
                    <a:pt x="1354" y="555"/>
                  </a:cubicBezTo>
                  <a:cubicBezTo>
                    <a:pt x="1345" y="582"/>
                    <a:pt x="1349" y="604"/>
                    <a:pt x="1371" y="623"/>
                  </a:cubicBezTo>
                  <a:cubicBezTo>
                    <a:pt x="1406" y="652"/>
                    <a:pt x="1440" y="682"/>
                    <a:pt x="1474" y="713"/>
                  </a:cubicBezTo>
                  <a:cubicBezTo>
                    <a:pt x="1506" y="742"/>
                    <a:pt x="1506" y="766"/>
                    <a:pt x="1474" y="794"/>
                  </a:cubicBezTo>
                  <a:cubicBezTo>
                    <a:pt x="1440" y="823"/>
                    <a:pt x="1407" y="851"/>
                    <a:pt x="1373" y="879"/>
                  </a:cubicBezTo>
                  <a:cubicBezTo>
                    <a:pt x="1345" y="903"/>
                    <a:pt x="1341" y="917"/>
                    <a:pt x="1353" y="953"/>
                  </a:cubicBezTo>
                  <a:cubicBezTo>
                    <a:pt x="1367" y="994"/>
                    <a:pt x="1381" y="1036"/>
                    <a:pt x="1395" y="1077"/>
                  </a:cubicBezTo>
                  <a:cubicBezTo>
                    <a:pt x="1410" y="1119"/>
                    <a:pt x="1395" y="1143"/>
                    <a:pt x="1351" y="1151"/>
                  </a:cubicBezTo>
                  <a:cubicBezTo>
                    <a:pt x="1305" y="1160"/>
                    <a:pt x="1260" y="1170"/>
                    <a:pt x="1214" y="1179"/>
                  </a:cubicBezTo>
                  <a:cubicBezTo>
                    <a:pt x="1191" y="1183"/>
                    <a:pt x="1179" y="1198"/>
                    <a:pt x="1174" y="1220"/>
                  </a:cubicBezTo>
                  <a:cubicBezTo>
                    <a:pt x="1165" y="1267"/>
                    <a:pt x="1155" y="1314"/>
                    <a:pt x="1146" y="1361"/>
                  </a:cubicBezTo>
                  <a:cubicBezTo>
                    <a:pt x="1139" y="1398"/>
                    <a:pt x="1114" y="1413"/>
                    <a:pt x="1077" y="1400"/>
                  </a:cubicBezTo>
                  <a:cubicBezTo>
                    <a:pt x="1032" y="1385"/>
                    <a:pt x="988" y="1370"/>
                    <a:pt x="943" y="1355"/>
                  </a:cubicBezTo>
                  <a:cubicBezTo>
                    <a:pt x="918" y="1346"/>
                    <a:pt x="898" y="1351"/>
                    <a:pt x="881" y="1371"/>
                  </a:cubicBezTo>
                  <a:cubicBezTo>
                    <a:pt x="850" y="1406"/>
                    <a:pt x="819" y="1441"/>
                    <a:pt x="789" y="1477"/>
                  </a:cubicBezTo>
                  <a:cubicBezTo>
                    <a:pt x="763" y="1506"/>
                    <a:pt x="737" y="1507"/>
                    <a:pt x="711" y="1478"/>
                  </a:cubicBezTo>
                  <a:cubicBezTo>
                    <a:pt x="680" y="1443"/>
                    <a:pt x="650" y="1408"/>
                    <a:pt x="619" y="1373"/>
                  </a:cubicBezTo>
                  <a:cubicBezTo>
                    <a:pt x="600" y="1350"/>
                    <a:pt x="583" y="1346"/>
                    <a:pt x="555" y="1355"/>
                  </a:cubicBezTo>
                  <a:cubicBezTo>
                    <a:pt x="511" y="1370"/>
                    <a:pt x="467" y="1385"/>
                    <a:pt x="423" y="1400"/>
                  </a:cubicBezTo>
                  <a:cubicBezTo>
                    <a:pt x="384" y="1413"/>
                    <a:pt x="361" y="1400"/>
                    <a:pt x="353" y="1360"/>
                  </a:cubicBezTo>
                  <a:cubicBezTo>
                    <a:pt x="344" y="1316"/>
                    <a:pt x="335" y="1271"/>
                    <a:pt x="326" y="1226"/>
                  </a:cubicBezTo>
                  <a:cubicBezTo>
                    <a:pt x="321" y="1199"/>
                    <a:pt x="308" y="1183"/>
                    <a:pt x="280" y="1178"/>
                  </a:cubicBezTo>
                  <a:cubicBezTo>
                    <a:pt x="235" y="1169"/>
                    <a:pt x="191" y="1160"/>
                    <a:pt x="146" y="1151"/>
                  </a:cubicBezTo>
                  <a:cubicBezTo>
                    <a:pt x="104" y="1143"/>
                    <a:pt x="89" y="1118"/>
                    <a:pt x="103" y="1078"/>
                  </a:cubicBezTo>
                  <a:cubicBezTo>
                    <a:pt x="118" y="1035"/>
                    <a:pt x="133" y="992"/>
                    <a:pt x="147" y="949"/>
                  </a:cubicBezTo>
                  <a:cubicBezTo>
                    <a:pt x="158" y="918"/>
                    <a:pt x="153" y="903"/>
                    <a:pt x="128" y="882"/>
                  </a:cubicBezTo>
                  <a:cubicBezTo>
                    <a:pt x="96" y="854"/>
                    <a:pt x="63" y="825"/>
                    <a:pt x="30" y="797"/>
                  </a:cubicBezTo>
                  <a:cubicBezTo>
                    <a:pt x="1" y="771"/>
                    <a:pt x="0" y="739"/>
                    <a:pt x="30" y="713"/>
                  </a:cubicBezTo>
                  <a:cubicBezTo>
                    <a:pt x="64" y="682"/>
                    <a:pt x="100" y="652"/>
                    <a:pt x="135" y="621"/>
                  </a:cubicBezTo>
                  <a:cubicBezTo>
                    <a:pt x="159" y="600"/>
                    <a:pt x="163" y="585"/>
                    <a:pt x="153" y="555"/>
                  </a:cubicBezTo>
                  <a:cubicBezTo>
                    <a:pt x="138" y="512"/>
                    <a:pt x="123" y="469"/>
                    <a:pt x="108" y="425"/>
                  </a:cubicBezTo>
                  <a:cubicBezTo>
                    <a:pt x="94" y="386"/>
                    <a:pt x="107" y="363"/>
                    <a:pt x="148" y="354"/>
                  </a:cubicBezTo>
                  <a:cubicBezTo>
                    <a:pt x="195" y="345"/>
                    <a:pt x="241" y="336"/>
                    <a:pt x="287" y="327"/>
                  </a:cubicBezTo>
                  <a:cubicBezTo>
                    <a:pt x="311" y="322"/>
                    <a:pt x="325" y="308"/>
                    <a:pt x="330" y="285"/>
                  </a:cubicBezTo>
                  <a:cubicBezTo>
                    <a:pt x="340" y="237"/>
                    <a:pt x="349" y="190"/>
                    <a:pt x="358" y="142"/>
                  </a:cubicBezTo>
                  <a:cubicBezTo>
                    <a:pt x="365" y="109"/>
                    <a:pt x="389" y="94"/>
                    <a:pt x="422" y="105"/>
                  </a:cubicBezTo>
                  <a:cubicBezTo>
                    <a:pt x="466" y="120"/>
                    <a:pt x="509" y="135"/>
                    <a:pt x="553" y="151"/>
                  </a:cubicBezTo>
                  <a:cubicBezTo>
                    <a:pt x="586" y="162"/>
                    <a:pt x="601" y="158"/>
                    <a:pt x="624" y="132"/>
                  </a:cubicBezTo>
                  <a:cubicBezTo>
                    <a:pt x="654" y="98"/>
                    <a:pt x="683" y="63"/>
                    <a:pt x="713" y="29"/>
                  </a:cubicBezTo>
                  <a:cubicBezTo>
                    <a:pt x="740" y="0"/>
                    <a:pt x="764" y="0"/>
                    <a:pt x="791" y="30"/>
                  </a:cubicBezTo>
                  <a:cubicBezTo>
                    <a:pt x="821" y="63"/>
                    <a:pt x="850" y="98"/>
                    <a:pt x="880" y="132"/>
                  </a:cubicBezTo>
                  <a:cubicBezTo>
                    <a:pt x="903" y="158"/>
                    <a:pt x="918" y="162"/>
                    <a:pt x="951" y="150"/>
                  </a:cubicBezTo>
                  <a:cubicBezTo>
                    <a:pt x="991" y="137"/>
                    <a:pt x="1031" y="122"/>
                    <a:pt x="1071" y="108"/>
                  </a:cubicBezTo>
                  <a:cubicBezTo>
                    <a:pt x="1117" y="92"/>
                    <a:pt x="1141" y="106"/>
                    <a:pt x="1150" y="153"/>
                  </a:cubicBezTo>
                  <a:cubicBezTo>
                    <a:pt x="1159" y="198"/>
                    <a:pt x="1169" y="243"/>
                    <a:pt x="1177" y="288"/>
                  </a:cubicBezTo>
                  <a:cubicBezTo>
                    <a:pt x="1182" y="311"/>
                    <a:pt x="1196" y="323"/>
                    <a:pt x="1217" y="327"/>
                  </a:cubicBezTo>
                  <a:cubicBezTo>
                    <a:pt x="1264" y="337"/>
                    <a:pt x="1311" y="346"/>
                    <a:pt x="1358" y="355"/>
                  </a:cubicBezTo>
                  <a:cubicBezTo>
                    <a:pt x="1388" y="362"/>
                    <a:pt x="1403" y="377"/>
                    <a:pt x="1404" y="408"/>
                  </a:cubicBezTo>
                  <a:close/>
                  <a:moveTo>
                    <a:pt x="751" y="429"/>
                  </a:moveTo>
                  <a:cubicBezTo>
                    <a:pt x="730" y="431"/>
                    <a:pt x="718" y="441"/>
                    <a:pt x="711" y="459"/>
                  </a:cubicBezTo>
                  <a:cubicBezTo>
                    <a:pt x="690" y="512"/>
                    <a:pt x="669" y="565"/>
                    <a:pt x="646" y="617"/>
                  </a:cubicBezTo>
                  <a:cubicBezTo>
                    <a:pt x="643" y="624"/>
                    <a:pt x="634" y="631"/>
                    <a:pt x="627" y="632"/>
                  </a:cubicBezTo>
                  <a:cubicBezTo>
                    <a:pt x="597" y="636"/>
                    <a:pt x="566" y="637"/>
                    <a:pt x="535" y="639"/>
                  </a:cubicBezTo>
                  <a:cubicBezTo>
                    <a:pt x="505" y="641"/>
                    <a:pt x="475" y="642"/>
                    <a:pt x="446" y="646"/>
                  </a:cubicBezTo>
                  <a:cubicBezTo>
                    <a:pt x="418" y="650"/>
                    <a:pt x="404" y="679"/>
                    <a:pt x="417" y="702"/>
                  </a:cubicBezTo>
                  <a:cubicBezTo>
                    <a:pt x="422" y="710"/>
                    <a:pt x="429" y="716"/>
                    <a:pt x="436" y="722"/>
                  </a:cubicBezTo>
                  <a:cubicBezTo>
                    <a:pt x="478" y="758"/>
                    <a:pt x="520" y="793"/>
                    <a:pt x="562" y="828"/>
                  </a:cubicBezTo>
                  <a:cubicBezTo>
                    <a:pt x="572" y="836"/>
                    <a:pt x="573" y="843"/>
                    <a:pt x="570" y="855"/>
                  </a:cubicBezTo>
                  <a:cubicBezTo>
                    <a:pt x="556" y="908"/>
                    <a:pt x="544" y="962"/>
                    <a:pt x="530" y="1015"/>
                  </a:cubicBezTo>
                  <a:cubicBezTo>
                    <a:pt x="524" y="1035"/>
                    <a:pt x="525" y="1053"/>
                    <a:pt x="544" y="1067"/>
                  </a:cubicBezTo>
                  <a:cubicBezTo>
                    <a:pt x="562" y="1079"/>
                    <a:pt x="579" y="1074"/>
                    <a:pt x="595" y="1063"/>
                  </a:cubicBezTo>
                  <a:cubicBezTo>
                    <a:pt x="640" y="1035"/>
                    <a:pt x="685" y="1008"/>
                    <a:pt x="729" y="979"/>
                  </a:cubicBezTo>
                  <a:cubicBezTo>
                    <a:pt x="743" y="970"/>
                    <a:pt x="754" y="969"/>
                    <a:pt x="769" y="979"/>
                  </a:cubicBezTo>
                  <a:cubicBezTo>
                    <a:pt x="815" y="1009"/>
                    <a:pt x="862" y="1037"/>
                    <a:pt x="908" y="1066"/>
                  </a:cubicBezTo>
                  <a:cubicBezTo>
                    <a:pt x="924" y="1076"/>
                    <a:pt x="940" y="1078"/>
                    <a:pt x="956" y="1066"/>
                  </a:cubicBezTo>
                  <a:cubicBezTo>
                    <a:pt x="972" y="1055"/>
                    <a:pt x="975" y="1039"/>
                    <a:pt x="970" y="1020"/>
                  </a:cubicBezTo>
                  <a:cubicBezTo>
                    <a:pt x="956" y="964"/>
                    <a:pt x="943" y="908"/>
                    <a:pt x="928" y="852"/>
                  </a:cubicBezTo>
                  <a:cubicBezTo>
                    <a:pt x="925" y="841"/>
                    <a:pt x="927" y="835"/>
                    <a:pt x="936" y="828"/>
                  </a:cubicBezTo>
                  <a:cubicBezTo>
                    <a:pt x="977" y="794"/>
                    <a:pt x="1017" y="760"/>
                    <a:pt x="1058" y="726"/>
                  </a:cubicBezTo>
                  <a:cubicBezTo>
                    <a:pt x="1075" y="711"/>
                    <a:pt x="1095" y="699"/>
                    <a:pt x="1086" y="672"/>
                  </a:cubicBezTo>
                  <a:cubicBezTo>
                    <a:pt x="1076" y="643"/>
                    <a:pt x="1051" y="645"/>
                    <a:pt x="1028" y="643"/>
                  </a:cubicBezTo>
                  <a:cubicBezTo>
                    <a:pt x="978" y="640"/>
                    <a:pt x="927" y="636"/>
                    <a:pt x="876" y="633"/>
                  </a:cubicBezTo>
                  <a:cubicBezTo>
                    <a:pt x="864" y="633"/>
                    <a:pt x="858" y="628"/>
                    <a:pt x="854" y="616"/>
                  </a:cubicBezTo>
                  <a:cubicBezTo>
                    <a:pt x="833" y="564"/>
                    <a:pt x="811" y="511"/>
                    <a:pt x="790" y="459"/>
                  </a:cubicBezTo>
                  <a:cubicBezTo>
                    <a:pt x="783" y="440"/>
                    <a:pt x="770" y="430"/>
                    <a:pt x="751" y="429"/>
                  </a:cubicBezTo>
                  <a:close/>
                </a:path>
              </a:pathLst>
            </a:custGeom>
            <a:grpFill/>
            <a:ln>
              <a:noFill/>
            </a:ln>
          </p:spPr>
          <p:txBody>
            <a:bodyPr vert="horz" wrap="none" lIns="91440" tIns="45720" rIns="91440" bIns="45720" numCol="1" anchor="t" anchorCtr="0" compatLnSpc="1">
              <a:prstTxWarp prst="textNoShape">
                <a:avLst/>
              </a:prstTxWarp>
            </a:bodyPr>
            <a:lstStyle/>
            <a:p>
              <a:endParaRPr lang="en-US"/>
            </a:p>
          </p:txBody>
        </p:sp>
        <p:sp>
          <p:nvSpPr>
            <p:cNvPr id="434" name="Oval 433">
              <a:extLst>
                <a:ext uri="{FF2B5EF4-FFF2-40B4-BE49-F238E27FC236}">
                  <a16:creationId xmlns:a16="http://schemas.microsoft.com/office/drawing/2014/main" id="{1ACDFE99-6042-7F3A-D51C-36E739DD3F17}"/>
                </a:ext>
              </a:extLst>
            </p:cNvPr>
            <p:cNvSpPr/>
            <p:nvPr/>
          </p:nvSpPr>
          <p:spPr>
            <a:xfrm>
              <a:off x="2065844" y="1497583"/>
              <a:ext cx="477877" cy="323850"/>
            </a:xfrm>
            <a:prstGeom prst="ellipse">
              <a:avLst/>
            </a:prstGeom>
            <a:grpFill/>
          </p:spPr>
          <p:txBody>
            <a:bodyPr wrap="none" lIns="0" tIns="0" rIns="0" bIns="0" anchor="ctr">
              <a:noAutofit/>
            </a:bodyPr>
            <a:lstStyle/>
            <a:p>
              <a:pPr algn="ctr"/>
              <a:r>
                <a:rPr lang="en-US" sz="500" b="1"/>
                <a:t>6.1</a:t>
              </a:r>
              <a:endParaRPr lang="en-IN" sz="500" b="1"/>
            </a:p>
          </p:txBody>
        </p:sp>
      </p:grpSp>
      <p:grpSp>
        <p:nvGrpSpPr>
          <p:cNvPr id="422" name="Group 421">
            <a:extLst>
              <a:ext uri="{FF2B5EF4-FFF2-40B4-BE49-F238E27FC236}">
                <a16:creationId xmlns:a16="http://schemas.microsoft.com/office/drawing/2014/main" id="{570DCEEC-B3CF-3334-2098-AD2601388CA5}"/>
              </a:ext>
            </a:extLst>
          </p:cNvPr>
          <p:cNvGrpSpPr>
            <a:grpSpLocks noChangeAspect="1"/>
          </p:cNvGrpSpPr>
          <p:nvPr/>
        </p:nvGrpSpPr>
        <p:grpSpPr>
          <a:xfrm>
            <a:off x="11423490" y="3074456"/>
            <a:ext cx="153109" cy="153109"/>
            <a:chOff x="2013768" y="1371600"/>
            <a:chExt cx="589040" cy="586152"/>
          </a:xfrm>
          <a:solidFill>
            <a:schemeClr val="bg1">
              <a:lumMod val="85000"/>
            </a:schemeClr>
          </a:solidFill>
        </p:grpSpPr>
        <p:sp>
          <p:nvSpPr>
            <p:cNvPr id="429" name="Freeform 6">
              <a:extLst>
                <a:ext uri="{FF2B5EF4-FFF2-40B4-BE49-F238E27FC236}">
                  <a16:creationId xmlns:a16="http://schemas.microsoft.com/office/drawing/2014/main" id="{A400F238-23F1-E632-F06B-306AD3DCD343}"/>
                </a:ext>
              </a:extLst>
            </p:cNvPr>
            <p:cNvSpPr>
              <a:spLocks noEditPoints="1"/>
            </p:cNvSpPr>
            <p:nvPr/>
          </p:nvSpPr>
          <p:spPr bwMode="auto">
            <a:xfrm>
              <a:off x="2013768" y="1371600"/>
              <a:ext cx="589040" cy="586152"/>
            </a:xfrm>
            <a:custGeom>
              <a:avLst/>
              <a:gdLst>
                <a:gd name="T0" fmla="*/ 1399 w 1506"/>
                <a:gd name="T1" fmla="*/ 427 h 1507"/>
                <a:gd name="T2" fmla="*/ 1371 w 1506"/>
                <a:gd name="T3" fmla="*/ 623 h 1507"/>
                <a:gd name="T4" fmla="*/ 1474 w 1506"/>
                <a:gd name="T5" fmla="*/ 794 h 1507"/>
                <a:gd name="T6" fmla="*/ 1353 w 1506"/>
                <a:gd name="T7" fmla="*/ 953 h 1507"/>
                <a:gd name="T8" fmla="*/ 1351 w 1506"/>
                <a:gd name="T9" fmla="*/ 1151 h 1507"/>
                <a:gd name="T10" fmla="*/ 1174 w 1506"/>
                <a:gd name="T11" fmla="*/ 1220 h 1507"/>
                <a:gd name="T12" fmla="*/ 1077 w 1506"/>
                <a:gd name="T13" fmla="*/ 1400 h 1507"/>
                <a:gd name="T14" fmla="*/ 881 w 1506"/>
                <a:gd name="T15" fmla="*/ 1371 h 1507"/>
                <a:gd name="T16" fmla="*/ 711 w 1506"/>
                <a:gd name="T17" fmla="*/ 1478 h 1507"/>
                <a:gd name="T18" fmla="*/ 555 w 1506"/>
                <a:gd name="T19" fmla="*/ 1355 h 1507"/>
                <a:gd name="T20" fmla="*/ 353 w 1506"/>
                <a:gd name="T21" fmla="*/ 1360 h 1507"/>
                <a:gd name="T22" fmla="*/ 280 w 1506"/>
                <a:gd name="T23" fmla="*/ 1178 h 1507"/>
                <a:gd name="T24" fmla="*/ 103 w 1506"/>
                <a:gd name="T25" fmla="*/ 1078 h 1507"/>
                <a:gd name="T26" fmla="*/ 128 w 1506"/>
                <a:gd name="T27" fmla="*/ 882 h 1507"/>
                <a:gd name="T28" fmla="*/ 30 w 1506"/>
                <a:gd name="T29" fmla="*/ 713 h 1507"/>
                <a:gd name="T30" fmla="*/ 153 w 1506"/>
                <a:gd name="T31" fmla="*/ 555 h 1507"/>
                <a:gd name="T32" fmla="*/ 148 w 1506"/>
                <a:gd name="T33" fmla="*/ 354 h 1507"/>
                <a:gd name="T34" fmla="*/ 330 w 1506"/>
                <a:gd name="T35" fmla="*/ 285 h 1507"/>
                <a:gd name="T36" fmla="*/ 422 w 1506"/>
                <a:gd name="T37" fmla="*/ 105 h 1507"/>
                <a:gd name="T38" fmla="*/ 624 w 1506"/>
                <a:gd name="T39" fmla="*/ 132 h 1507"/>
                <a:gd name="T40" fmla="*/ 791 w 1506"/>
                <a:gd name="T41" fmla="*/ 30 h 1507"/>
                <a:gd name="T42" fmla="*/ 951 w 1506"/>
                <a:gd name="T43" fmla="*/ 150 h 1507"/>
                <a:gd name="T44" fmla="*/ 1150 w 1506"/>
                <a:gd name="T45" fmla="*/ 153 h 1507"/>
                <a:gd name="T46" fmla="*/ 1217 w 1506"/>
                <a:gd name="T47" fmla="*/ 327 h 1507"/>
                <a:gd name="T48" fmla="*/ 1404 w 1506"/>
                <a:gd name="T49" fmla="*/ 408 h 1507"/>
                <a:gd name="T50" fmla="*/ 711 w 1506"/>
                <a:gd name="T51" fmla="*/ 459 h 1507"/>
                <a:gd name="T52" fmla="*/ 627 w 1506"/>
                <a:gd name="T53" fmla="*/ 632 h 1507"/>
                <a:gd name="T54" fmla="*/ 446 w 1506"/>
                <a:gd name="T55" fmla="*/ 646 h 1507"/>
                <a:gd name="T56" fmla="*/ 436 w 1506"/>
                <a:gd name="T57" fmla="*/ 722 h 1507"/>
                <a:gd name="T58" fmla="*/ 570 w 1506"/>
                <a:gd name="T59" fmla="*/ 855 h 1507"/>
                <a:gd name="T60" fmla="*/ 544 w 1506"/>
                <a:gd name="T61" fmla="*/ 1067 h 1507"/>
                <a:gd name="T62" fmla="*/ 729 w 1506"/>
                <a:gd name="T63" fmla="*/ 979 h 1507"/>
                <a:gd name="T64" fmla="*/ 908 w 1506"/>
                <a:gd name="T65" fmla="*/ 1066 h 1507"/>
                <a:gd name="T66" fmla="*/ 970 w 1506"/>
                <a:gd name="T67" fmla="*/ 1020 h 1507"/>
                <a:gd name="T68" fmla="*/ 936 w 1506"/>
                <a:gd name="T69" fmla="*/ 828 h 1507"/>
                <a:gd name="T70" fmla="*/ 1086 w 1506"/>
                <a:gd name="T71" fmla="*/ 672 h 1507"/>
                <a:gd name="T72" fmla="*/ 876 w 1506"/>
                <a:gd name="T73" fmla="*/ 633 h 1507"/>
                <a:gd name="T74" fmla="*/ 790 w 1506"/>
                <a:gd name="T75" fmla="*/ 459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6" h="1507">
                  <a:moveTo>
                    <a:pt x="1404" y="408"/>
                  </a:moveTo>
                  <a:cubicBezTo>
                    <a:pt x="1403" y="412"/>
                    <a:pt x="1401" y="420"/>
                    <a:pt x="1399" y="427"/>
                  </a:cubicBezTo>
                  <a:cubicBezTo>
                    <a:pt x="1384" y="470"/>
                    <a:pt x="1369" y="513"/>
                    <a:pt x="1354" y="555"/>
                  </a:cubicBezTo>
                  <a:cubicBezTo>
                    <a:pt x="1345" y="582"/>
                    <a:pt x="1349" y="604"/>
                    <a:pt x="1371" y="623"/>
                  </a:cubicBezTo>
                  <a:cubicBezTo>
                    <a:pt x="1406" y="652"/>
                    <a:pt x="1440" y="682"/>
                    <a:pt x="1474" y="713"/>
                  </a:cubicBezTo>
                  <a:cubicBezTo>
                    <a:pt x="1506" y="742"/>
                    <a:pt x="1506" y="766"/>
                    <a:pt x="1474" y="794"/>
                  </a:cubicBezTo>
                  <a:cubicBezTo>
                    <a:pt x="1440" y="823"/>
                    <a:pt x="1407" y="851"/>
                    <a:pt x="1373" y="879"/>
                  </a:cubicBezTo>
                  <a:cubicBezTo>
                    <a:pt x="1345" y="903"/>
                    <a:pt x="1341" y="917"/>
                    <a:pt x="1353" y="953"/>
                  </a:cubicBezTo>
                  <a:cubicBezTo>
                    <a:pt x="1367" y="994"/>
                    <a:pt x="1381" y="1036"/>
                    <a:pt x="1395" y="1077"/>
                  </a:cubicBezTo>
                  <a:cubicBezTo>
                    <a:pt x="1410" y="1119"/>
                    <a:pt x="1395" y="1143"/>
                    <a:pt x="1351" y="1151"/>
                  </a:cubicBezTo>
                  <a:cubicBezTo>
                    <a:pt x="1305" y="1160"/>
                    <a:pt x="1260" y="1170"/>
                    <a:pt x="1214" y="1179"/>
                  </a:cubicBezTo>
                  <a:cubicBezTo>
                    <a:pt x="1191" y="1183"/>
                    <a:pt x="1179" y="1198"/>
                    <a:pt x="1174" y="1220"/>
                  </a:cubicBezTo>
                  <a:cubicBezTo>
                    <a:pt x="1165" y="1267"/>
                    <a:pt x="1155" y="1314"/>
                    <a:pt x="1146" y="1361"/>
                  </a:cubicBezTo>
                  <a:cubicBezTo>
                    <a:pt x="1139" y="1398"/>
                    <a:pt x="1114" y="1413"/>
                    <a:pt x="1077" y="1400"/>
                  </a:cubicBezTo>
                  <a:cubicBezTo>
                    <a:pt x="1032" y="1385"/>
                    <a:pt x="988" y="1370"/>
                    <a:pt x="943" y="1355"/>
                  </a:cubicBezTo>
                  <a:cubicBezTo>
                    <a:pt x="918" y="1346"/>
                    <a:pt x="898" y="1351"/>
                    <a:pt x="881" y="1371"/>
                  </a:cubicBezTo>
                  <a:cubicBezTo>
                    <a:pt x="850" y="1406"/>
                    <a:pt x="819" y="1441"/>
                    <a:pt x="789" y="1477"/>
                  </a:cubicBezTo>
                  <a:cubicBezTo>
                    <a:pt x="763" y="1506"/>
                    <a:pt x="737" y="1507"/>
                    <a:pt x="711" y="1478"/>
                  </a:cubicBezTo>
                  <a:cubicBezTo>
                    <a:pt x="680" y="1443"/>
                    <a:pt x="650" y="1408"/>
                    <a:pt x="619" y="1373"/>
                  </a:cubicBezTo>
                  <a:cubicBezTo>
                    <a:pt x="600" y="1350"/>
                    <a:pt x="583" y="1346"/>
                    <a:pt x="555" y="1355"/>
                  </a:cubicBezTo>
                  <a:cubicBezTo>
                    <a:pt x="511" y="1370"/>
                    <a:pt x="467" y="1385"/>
                    <a:pt x="423" y="1400"/>
                  </a:cubicBezTo>
                  <a:cubicBezTo>
                    <a:pt x="384" y="1413"/>
                    <a:pt x="361" y="1400"/>
                    <a:pt x="353" y="1360"/>
                  </a:cubicBezTo>
                  <a:cubicBezTo>
                    <a:pt x="344" y="1316"/>
                    <a:pt x="335" y="1271"/>
                    <a:pt x="326" y="1226"/>
                  </a:cubicBezTo>
                  <a:cubicBezTo>
                    <a:pt x="321" y="1199"/>
                    <a:pt x="308" y="1183"/>
                    <a:pt x="280" y="1178"/>
                  </a:cubicBezTo>
                  <a:cubicBezTo>
                    <a:pt x="235" y="1169"/>
                    <a:pt x="191" y="1160"/>
                    <a:pt x="146" y="1151"/>
                  </a:cubicBezTo>
                  <a:cubicBezTo>
                    <a:pt x="104" y="1143"/>
                    <a:pt x="89" y="1118"/>
                    <a:pt x="103" y="1078"/>
                  </a:cubicBezTo>
                  <a:cubicBezTo>
                    <a:pt x="118" y="1035"/>
                    <a:pt x="133" y="992"/>
                    <a:pt x="147" y="949"/>
                  </a:cubicBezTo>
                  <a:cubicBezTo>
                    <a:pt x="158" y="918"/>
                    <a:pt x="153" y="903"/>
                    <a:pt x="128" y="882"/>
                  </a:cubicBezTo>
                  <a:cubicBezTo>
                    <a:pt x="96" y="854"/>
                    <a:pt x="63" y="825"/>
                    <a:pt x="30" y="797"/>
                  </a:cubicBezTo>
                  <a:cubicBezTo>
                    <a:pt x="1" y="771"/>
                    <a:pt x="0" y="739"/>
                    <a:pt x="30" y="713"/>
                  </a:cubicBezTo>
                  <a:cubicBezTo>
                    <a:pt x="64" y="682"/>
                    <a:pt x="100" y="652"/>
                    <a:pt x="135" y="621"/>
                  </a:cubicBezTo>
                  <a:cubicBezTo>
                    <a:pt x="159" y="600"/>
                    <a:pt x="163" y="585"/>
                    <a:pt x="153" y="555"/>
                  </a:cubicBezTo>
                  <a:cubicBezTo>
                    <a:pt x="138" y="512"/>
                    <a:pt x="123" y="469"/>
                    <a:pt x="108" y="425"/>
                  </a:cubicBezTo>
                  <a:cubicBezTo>
                    <a:pt x="94" y="386"/>
                    <a:pt x="107" y="363"/>
                    <a:pt x="148" y="354"/>
                  </a:cubicBezTo>
                  <a:cubicBezTo>
                    <a:pt x="195" y="345"/>
                    <a:pt x="241" y="336"/>
                    <a:pt x="287" y="327"/>
                  </a:cubicBezTo>
                  <a:cubicBezTo>
                    <a:pt x="311" y="322"/>
                    <a:pt x="325" y="308"/>
                    <a:pt x="330" y="285"/>
                  </a:cubicBezTo>
                  <a:cubicBezTo>
                    <a:pt x="340" y="237"/>
                    <a:pt x="349" y="190"/>
                    <a:pt x="358" y="142"/>
                  </a:cubicBezTo>
                  <a:cubicBezTo>
                    <a:pt x="365" y="109"/>
                    <a:pt x="389" y="94"/>
                    <a:pt x="422" y="105"/>
                  </a:cubicBezTo>
                  <a:cubicBezTo>
                    <a:pt x="466" y="120"/>
                    <a:pt x="509" y="135"/>
                    <a:pt x="553" y="151"/>
                  </a:cubicBezTo>
                  <a:cubicBezTo>
                    <a:pt x="586" y="162"/>
                    <a:pt x="601" y="158"/>
                    <a:pt x="624" y="132"/>
                  </a:cubicBezTo>
                  <a:cubicBezTo>
                    <a:pt x="654" y="98"/>
                    <a:pt x="683" y="63"/>
                    <a:pt x="713" y="29"/>
                  </a:cubicBezTo>
                  <a:cubicBezTo>
                    <a:pt x="740" y="0"/>
                    <a:pt x="764" y="0"/>
                    <a:pt x="791" y="30"/>
                  </a:cubicBezTo>
                  <a:cubicBezTo>
                    <a:pt x="821" y="63"/>
                    <a:pt x="850" y="98"/>
                    <a:pt x="880" y="132"/>
                  </a:cubicBezTo>
                  <a:cubicBezTo>
                    <a:pt x="903" y="158"/>
                    <a:pt x="918" y="162"/>
                    <a:pt x="951" y="150"/>
                  </a:cubicBezTo>
                  <a:cubicBezTo>
                    <a:pt x="991" y="137"/>
                    <a:pt x="1031" y="122"/>
                    <a:pt x="1071" y="108"/>
                  </a:cubicBezTo>
                  <a:cubicBezTo>
                    <a:pt x="1117" y="92"/>
                    <a:pt x="1141" y="106"/>
                    <a:pt x="1150" y="153"/>
                  </a:cubicBezTo>
                  <a:cubicBezTo>
                    <a:pt x="1159" y="198"/>
                    <a:pt x="1169" y="243"/>
                    <a:pt x="1177" y="288"/>
                  </a:cubicBezTo>
                  <a:cubicBezTo>
                    <a:pt x="1182" y="311"/>
                    <a:pt x="1196" y="323"/>
                    <a:pt x="1217" y="327"/>
                  </a:cubicBezTo>
                  <a:cubicBezTo>
                    <a:pt x="1264" y="337"/>
                    <a:pt x="1311" y="346"/>
                    <a:pt x="1358" y="355"/>
                  </a:cubicBezTo>
                  <a:cubicBezTo>
                    <a:pt x="1388" y="362"/>
                    <a:pt x="1403" y="377"/>
                    <a:pt x="1404" y="408"/>
                  </a:cubicBezTo>
                  <a:close/>
                  <a:moveTo>
                    <a:pt x="751" y="429"/>
                  </a:moveTo>
                  <a:cubicBezTo>
                    <a:pt x="730" y="431"/>
                    <a:pt x="718" y="441"/>
                    <a:pt x="711" y="459"/>
                  </a:cubicBezTo>
                  <a:cubicBezTo>
                    <a:pt x="690" y="512"/>
                    <a:pt x="669" y="565"/>
                    <a:pt x="646" y="617"/>
                  </a:cubicBezTo>
                  <a:cubicBezTo>
                    <a:pt x="643" y="624"/>
                    <a:pt x="634" y="631"/>
                    <a:pt x="627" y="632"/>
                  </a:cubicBezTo>
                  <a:cubicBezTo>
                    <a:pt x="597" y="636"/>
                    <a:pt x="566" y="637"/>
                    <a:pt x="535" y="639"/>
                  </a:cubicBezTo>
                  <a:cubicBezTo>
                    <a:pt x="505" y="641"/>
                    <a:pt x="475" y="642"/>
                    <a:pt x="446" y="646"/>
                  </a:cubicBezTo>
                  <a:cubicBezTo>
                    <a:pt x="418" y="650"/>
                    <a:pt x="404" y="679"/>
                    <a:pt x="417" y="702"/>
                  </a:cubicBezTo>
                  <a:cubicBezTo>
                    <a:pt x="422" y="710"/>
                    <a:pt x="429" y="716"/>
                    <a:pt x="436" y="722"/>
                  </a:cubicBezTo>
                  <a:cubicBezTo>
                    <a:pt x="478" y="758"/>
                    <a:pt x="520" y="793"/>
                    <a:pt x="562" y="828"/>
                  </a:cubicBezTo>
                  <a:cubicBezTo>
                    <a:pt x="572" y="836"/>
                    <a:pt x="573" y="843"/>
                    <a:pt x="570" y="855"/>
                  </a:cubicBezTo>
                  <a:cubicBezTo>
                    <a:pt x="556" y="908"/>
                    <a:pt x="544" y="962"/>
                    <a:pt x="530" y="1015"/>
                  </a:cubicBezTo>
                  <a:cubicBezTo>
                    <a:pt x="524" y="1035"/>
                    <a:pt x="525" y="1053"/>
                    <a:pt x="544" y="1067"/>
                  </a:cubicBezTo>
                  <a:cubicBezTo>
                    <a:pt x="562" y="1079"/>
                    <a:pt x="579" y="1074"/>
                    <a:pt x="595" y="1063"/>
                  </a:cubicBezTo>
                  <a:cubicBezTo>
                    <a:pt x="640" y="1035"/>
                    <a:pt x="685" y="1008"/>
                    <a:pt x="729" y="979"/>
                  </a:cubicBezTo>
                  <a:cubicBezTo>
                    <a:pt x="743" y="970"/>
                    <a:pt x="754" y="969"/>
                    <a:pt x="769" y="979"/>
                  </a:cubicBezTo>
                  <a:cubicBezTo>
                    <a:pt x="815" y="1009"/>
                    <a:pt x="862" y="1037"/>
                    <a:pt x="908" y="1066"/>
                  </a:cubicBezTo>
                  <a:cubicBezTo>
                    <a:pt x="924" y="1076"/>
                    <a:pt x="940" y="1078"/>
                    <a:pt x="956" y="1066"/>
                  </a:cubicBezTo>
                  <a:cubicBezTo>
                    <a:pt x="972" y="1055"/>
                    <a:pt x="975" y="1039"/>
                    <a:pt x="970" y="1020"/>
                  </a:cubicBezTo>
                  <a:cubicBezTo>
                    <a:pt x="956" y="964"/>
                    <a:pt x="943" y="908"/>
                    <a:pt x="928" y="852"/>
                  </a:cubicBezTo>
                  <a:cubicBezTo>
                    <a:pt x="925" y="841"/>
                    <a:pt x="927" y="835"/>
                    <a:pt x="936" y="828"/>
                  </a:cubicBezTo>
                  <a:cubicBezTo>
                    <a:pt x="977" y="794"/>
                    <a:pt x="1017" y="760"/>
                    <a:pt x="1058" y="726"/>
                  </a:cubicBezTo>
                  <a:cubicBezTo>
                    <a:pt x="1075" y="711"/>
                    <a:pt x="1095" y="699"/>
                    <a:pt x="1086" y="672"/>
                  </a:cubicBezTo>
                  <a:cubicBezTo>
                    <a:pt x="1076" y="643"/>
                    <a:pt x="1051" y="645"/>
                    <a:pt x="1028" y="643"/>
                  </a:cubicBezTo>
                  <a:cubicBezTo>
                    <a:pt x="978" y="640"/>
                    <a:pt x="927" y="636"/>
                    <a:pt x="876" y="633"/>
                  </a:cubicBezTo>
                  <a:cubicBezTo>
                    <a:pt x="864" y="633"/>
                    <a:pt x="858" y="628"/>
                    <a:pt x="854" y="616"/>
                  </a:cubicBezTo>
                  <a:cubicBezTo>
                    <a:pt x="833" y="564"/>
                    <a:pt x="811" y="511"/>
                    <a:pt x="790" y="459"/>
                  </a:cubicBezTo>
                  <a:cubicBezTo>
                    <a:pt x="783" y="440"/>
                    <a:pt x="770" y="430"/>
                    <a:pt x="751" y="429"/>
                  </a:cubicBezTo>
                  <a:close/>
                </a:path>
              </a:pathLst>
            </a:custGeom>
            <a:grpFill/>
            <a:ln>
              <a:noFill/>
            </a:ln>
          </p:spPr>
          <p:txBody>
            <a:bodyPr vert="horz" wrap="none" lIns="91440" tIns="45720" rIns="91440" bIns="45720" numCol="1" anchor="t" anchorCtr="0" compatLnSpc="1">
              <a:prstTxWarp prst="textNoShape">
                <a:avLst/>
              </a:prstTxWarp>
            </a:bodyPr>
            <a:lstStyle/>
            <a:p>
              <a:endParaRPr lang="en-US"/>
            </a:p>
          </p:txBody>
        </p:sp>
        <p:sp>
          <p:nvSpPr>
            <p:cNvPr id="430" name="Oval 429">
              <a:extLst>
                <a:ext uri="{FF2B5EF4-FFF2-40B4-BE49-F238E27FC236}">
                  <a16:creationId xmlns:a16="http://schemas.microsoft.com/office/drawing/2014/main" id="{955F9FAC-D77D-D5AD-0657-2C4F57109F3A}"/>
                </a:ext>
              </a:extLst>
            </p:cNvPr>
            <p:cNvSpPr/>
            <p:nvPr/>
          </p:nvSpPr>
          <p:spPr>
            <a:xfrm>
              <a:off x="2065844" y="1497583"/>
              <a:ext cx="477877" cy="323850"/>
            </a:xfrm>
            <a:prstGeom prst="ellipse">
              <a:avLst/>
            </a:prstGeom>
            <a:grpFill/>
          </p:spPr>
          <p:txBody>
            <a:bodyPr wrap="none" lIns="0" tIns="0" rIns="0" bIns="0" anchor="ctr">
              <a:noAutofit/>
            </a:bodyPr>
            <a:lstStyle/>
            <a:p>
              <a:pPr algn="ctr"/>
              <a:r>
                <a:rPr lang="en-US" sz="500" b="1"/>
                <a:t>6.0</a:t>
              </a:r>
              <a:endParaRPr lang="en-IN" sz="500" b="1"/>
            </a:p>
          </p:txBody>
        </p:sp>
      </p:grpSp>
      <p:grpSp>
        <p:nvGrpSpPr>
          <p:cNvPr id="423" name="Group 422">
            <a:extLst>
              <a:ext uri="{FF2B5EF4-FFF2-40B4-BE49-F238E27FC236}">
                <a16:creationId xmlns:a16="http://schemas.microsoft.com/office/drawing/2014/main" id="{AEDE1B49-3D31-212F-A63B-5A022B26928A}"/>
              </a:ext>
            </a:extLst>
          </p:cNvPr>
          <p:cNvGrpSpPr>
            <a:grpSpLocks noChangeAspect="1"/>
          </p:cNvGrpSpPr>
          <p:nvPr/>
        </p:nvGrpSpPr>
        <p:grpSpPr>
          <a:xfrm>
            <a:off x="11423490" y="3221854"/>
            <a:ext cx="153109" cy="153109"/>
            <a:chOff x="2013768" y="1371600"/>
            <a:chExt cx="589040" cy="586152"/>
          </a:xfrm>
          <a:solidFill>
            <a:schemeClr val="bg1">
              <a:lumMod val="85000"/>
            </a:schemeClr>
          </a:solidFill>
        </p:grpSpPr>
        <p:sp>
          <p:nvSpPr>
            <p:cNvPr id="427" name="Freeform 6">
              <a:extLst>
                <a:ext uri="{FF2B5EF4-FFF2-40B4-BE49-F238E27FC236}">
                  <a16:creationId xmlns:a16="http://schemas.microsoft.com/office/drawing/2014/main" id="{3B16345D-AE81-EC52-AC1B-1A8413A7F48C}"/>
                </a:ext>
              </a:extLst>
            </p:cNvPr>
            <p:cNvSpPr>
              <a:spLocks noEditPoints="1"/>
            </p:cNvSpPr>
            <p:nvPr/>
          </p:nvSpPr>
          <p:spPr bwMode="auto">
            <a:xfrm>
              <a:off x="2013768" y="1371600"/>
              <a:ext cx="589040" cy="586152"/>
            </a:xfrm>
            <a:custGeom>
              <a:avLst/>
              <a:gdLst>
                <a:gd name="T0" fmla="*/ 1399 w 1506"/>
                <a:gd name="T1" fmla="*/ 427 h 1507"/>
                <a:gd name="T2" fmla="*/ 1371 w 1506"/>
                <a:gd name="T3" fmla="*/ 623 h 1507"/>
                <a:gd name="T4" fmla="*/ 1474 w 1506"/>
                <a:gd name="T5" fmla="*/ 794 h 1507"/>
                <a:gd name="T6" fmla="*/ 1353 w 1506"/>
                <a:gd name="T7" fmla="*/ 953 h 1507"/>
                <a:gd name="T8" fmla="*/ 1351 w 1506"/>
                <a:gd name="T9" fmla="*/ 1151 h 1507"/>
                <a:gd name="T10" fmla="*/ 1174 w 1506"/>
                <a:gd name="T11" fmla="*/ 1220 h 1507"/>
                <a:gd name="T12" fmla="*/ 1077 w 1506"/>
                <a:gd name="T13" fmla="*/ 1400 h 1507"/>
                <a:gd name="T14" fmla="*/ 881 w 1506"/>
                <a:gd name="T15" fmla="*/ 1371 h 1507"/>
                <a:gd name="T16" fmla="*/ 711 w 1506"/>
                <a:gd name="T17" fmla="*/ 1478 h 1507"/>
                <a:gd name="T18" fmla="*/ 555 w 1506"/>
                <a:gd name="T19" fmla="*/ 1355 h 1507"/>
                <a:gd name="T20" fmla="*/ 353 w 1506"/>
                <a:gd name="T21" fmla="*/ 1360 h 1507"/>
                <a:gd name="T22" fmla="*/ 280 w 1506"/>
                <a:gd name="T23" fmla="*/ 1178 h 1507"/>
                <a:gd name="T24" fmla="*/ 103 w 1506"/>
                <a:gd name="T25" fmla="*/ 1078 h 1507"/>
                <a:gd name="T26" fmla="*/ 128 w 1506"/>
                <a:gd name="T27" fmla="*/ 882 h 1507"/>
                <a:gd name="T28" fmla="*/ 30 w 1506"/>
                <a:gd name="T29" fmla="*/ 713 h 1507"/>
                <a:gd name="T30" fmla="*/ 153 w 1506"/>
                <a:gd name="T31" fmla="*/ 555 h 1507"/>
                <a:gd name="T32" fmla="*/ 148 w 1506"/>
                <a:gd name="T33" fmla="*/ 354 h 1507"/>
                <a:gd name="T34" fmla="*/ 330 w 1506"/>
                <a:gd name="T35" fmla="*/ 285 h 1507"/>
                <a:gd name="T36" fmla="*/ 422 w 1506"/>
                <a:gd name="T37" fmla="*/ 105 h 1507"/>
                <a:gd name="T38" fmla="*/ 624 w 1506"/>
                <a:gd name="T39" fmla="*/ 132 h 1507"/>
                <a:gd name="T40" fmla="*/ 791 w 1506"/>
                <a:gd name="T41" fmla="*/ 30 h 1507"/>
                <a:gd name="T42" fmla="*/ 951 w 1506"/>
                <a:gd name="T43" fmla="*/ 150 h 1507"/>
                <a:gd name="T44" fmla="*/ 1150 w 1506"/>
                <a:gd name="T45" fmla="*/ 153 h 1507"/>
                <a:gd name="T46" fmla="*/ 1217 w 1506"/>
                <a:gd name="T47" fmla="*/ 327 h 1507"/>
                <a:gd name="T48" fmla="*/ 1404 w 1506"/>
                <a:gd name="T49" fmla="*/ 408 h 1507"/>
                <a:gd name="T50" fmla="*/ 711 w 1506"/>
                <a:gd name="T51" fmla="*/ 459 h 1507"/>
                <a:gd name="T52" fmla="*/ 627 w 1506"/>
                <a:gd name="T53" fmla="*/ 632 h 1507"/>
                <a:gd name="T54" fmla="*/ 446 w 1506"/>
                <a:gd name="T55" fmla="*/ 646 h 1507"/>
                <a:gd name="T56" fmla="*/ 436 w 1506"/>
                <a:gd name="T57" fmla="*/ 722 h 1507"/>
                <a:gd name="T58" fmla="*/ 570 w 1506"/>
                <a:gd name="T59" fmla="*/ 855 h 1507"/>
                <a:gd name="T60" fmla="*/ 544 w 1506"/>
                <a:gd name="T61" fmla="*/ 1067 h 1507"/>
                <a:gd name="T62" fmla="*/ 729 w 1506"/>
                <a:gd name="T63" fmla="*/ 979 h 1507"/>
                <a:gd name="T64" fmla="*/ 908 w 1506"/>
                <a:gd name="T65" fmla="*/ 1066 h 1507"/>
                <a:gd name="T66" fmla="*/ 970 w 1506"/>
                <a:gd name="T67" fmla="*/ 1020 h 1507"/>
                <a:gd name="T68" fmla="*/ 936 w 1506"/>
                <a:gd name="T69" fmla="*/ 828 h 1507"/>
                <a:gd name="T70" fmla="*/ 1086 w 1506"/>
                <a:gd name="T71" fmla="*/ 672 h 1507"/>
                <a:gd name="T72" fmla="*/ 876 w 1506"/>
                <a:gd name="T73" fmla="*/ 633 h 1507"/>
                <a:gd name="T74" fmla="*/ 790 w 1506"/>
                <a:gd name="T75" fmla="*/ 459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6" h="1507">
                  <a:moveTo>
                    <a:pt x="1404" y="408"/>
                  </a:moveTo>
                  <a:cubicBezTo>
                    <a:pt x="1403" y="412"/>
                    <a:pt x="1401" y="420"/>
                    <a:pt x="1399" y="427"/>
                  </a:cubicBezTo>
                  <a:cubicBezTo>
                    <a:pt x="1384" y="470"/>
                    <a:pt x="1369" y="513"/>
                    <a:pt x="1354" y="555"/>
                  </a:cubicBezTo>
                  <a:cubicBezTo>
                    <a:pt x="1345" y="582"/>
                    <a:pt x="1349" y="604"/>
                    <a:pt x="1371" y="623"/>
                  </a:cubicBezTo>
                  <a:cubicBezTo>
                    <a:pt x="1406" y="652"/>
                    <a:pt x="1440" y="682"/>
                    <a:pt x="1474" y="713"/>
                  </a:cubicBezTo>
                  <a:cubicBezTo>
                    <a:pt x="1506" y="742"/>
                    <a:pt x="1506" y="766"/>
                    <a:pt x="1474" y="794"/>
                  </a:cubicBezTo>
                  <a:cubicBezTo>
                    <a:pt x="1440" y="823"/>
                    <a:pt x="1407" y="851"/>
                    <a:pt x="1373" y="879"/>
                  </a:cubicBezTo>
                  <a:cubicBezTo>
                    <a:pt x="1345" y="903"/>
                    <a:pt x="1341" y="917"/>
                    <a:pt x="1353" y="953"/>
                  </a:cubicBezTo>
                  <a:cubicBezTo>
                    <a:pt x="1367" y="994"/>
                    <a:pt x="1381" y="1036"/>
                    <a:pt x="1395" y="1077"/>
                  </a:cubicBezTo>
                  <a:cubicBezTo>
                    <a:pt x="1410" y="1119"/>
                    <a:pt x="1395" y="1143"/>
                    <a:pt x="1351" y="1151"/>
                  </a:cubicBezTo>
                  <a:cubicBezTo>
                    <a:pt x="1305" y="1160"/>
                    <a:pt x="1260" y="1170"/>
                    <a:pt x="1214" y="1179"/>
                  </a:cubicBezTo>
                  <a:cubicBezTo>
                    <a:pt x="1191" y="1183"/>
                    <a:pt x="1179" y="1198"/>
                    <a:pt x="1174" y="1220"/>
                  </a:cubicBezTo>
                  <a:cubicBezTo>
                    <a:pt x="1165" y="1267"/>
                    <a:pt x="1155" y="1314"/>
                    <a:pt x="1146" y="1361"/>
                  </a:cubicBezTo>
                  <a:cubicBezTo>
                    <a:pt x="1139" y="1398"/>
                    <a:pt x="1114" y="1413"/>
                    <a:pt x="1077" y="1400"/>
                  </a:cubicBezTo>
                  <a:cubicBezTo>
                    <a:pt x="1032" y="1385"/>
                    <a:pt x="988" y="1370"/>
                    <a:pt x="943" y="1355"/>
                  </a:cubicBezTo>
                  <a:cubicBezTo>
                    <a:pt x="918" y="1346"/>
                    <a:pt x="898" y="1351"/>
                    <a:pt x="881" y="1371"/>
                  </a:cubicBezTo>
                  <a:cubicBezTo>
                    <a:pt x="850" y="1406"/>
                    <a:pt x="819" y="1441"/>
                    <a:pt x="789" y="1477"/>
                  </a:cubicBezTo>
                  <a:cubicBezTo>
                    <a:pt x="763" y="1506"/>
                    <a:pt x="737" y="1507"/>
                    <a:pt x="711" y="1478"/>
                  </a:cubicBezTo>
                  <a:cubicBezTo>
                    <a:pt x="680" y="1443"/>
                    <a:pt x="650" y="1408"/>
                    <a:pt x="619" y="1373"/>
                  </a:cubicBezTo>
                  <a:cubicBezTo>
                    <a:pt x="600" y="1350"/>
                    <a:pt x="583" y="1346"/>
                    <a:pt x="555" y="1355"/>
                  </a:cubicBezTo>
                  <a:cubicBezTo>
                    <a:pt x="511" y="1370"/>
                    <a:pt x="467" y="1385"/>
                    <a:pt x="423" y="1400"/>
                  </a:cubicBezTo>
                  <a:cubicBezTo>
                    <a:pt x="384" y="1413"/>
                    <a:pt x="361" y="1400"/>
                    <a:pt x="353" y="1360"/>
                  </a:cubicBezTo>
                  <a:cubicBezTo>
                    <a:pt x="344" y="1316"/>
                    <a:pt x="335" y="1271"/>
                    <a:pt x="326" y="1226"/>
                  </a:cubicBezTo>
                  <a:cubicBezTo>
                    <a:pt x="321" y="1199"/>
                    <a:pt x="308" y="1183"/>
                    <a:pt x="280" y="1178"/>
                  </a:cubicBezTo>
                  <a:cubicBezTo>
                    <a:pt x="235" y="1169"/>
                    <a:pt x="191" y="1160"/>
                    <a:pt x="146" y="1151"/>
                  </a:cubicBezTo>
                  <a:cubicBezTo>
                    <a:pt x="104" y="1143"/>
                    <a:pt x="89" y="1118"/>
                    <a:pt x="103" y="1078"/>
                  </a:cubicBezTo>
                  <a:cubicBezTo>
                    <a:pt x="118" y="1035"/>
                    <a:pt x="133" y="992"/>
                    <a:pt x="147" y="949"/>
                  </a:cubicBezTo>
                  <a:cubicBezTo>
                    <a:pt x="158" y="918"/>
                    <a:pt x="153" y="903"/>
                    <a:pt x="128" y="882"/>
                  </a:cubicBezTo>
                  <a:cubicBezTo>
                    <a:pt x="96" y="854"/>
                    <a:pt x="63" y="825"/>
                    <a:pt x="30" y="797"/>
                  </a:cubicBezTo>
                  <a:cubicBezTo>
                    <a:pt x="1" y="771"/>
                    <a:pt x="0" y="739"/>
                    <a:pt x="30" y="713"/>
                  </a:cubicBezTo>
                  <a:cubicBezTo>
                    <a:pt x="64" y="682"/>
                    <a:pt x="100" y="652"/>
                    <a:pt x="135" y="621"/>
                  </a:cubicBezTo>
                  <a:cubicBezTo>
                    <a:pt x="159" y="600"/>
                    <a:pt x="163" y="585"/>
                    <a:pt x="153" y="555"/>
                  </a:cubicBezTo>
                  <a:cubicBezTo>
                    <a:pt x="138" y="512"/>
                    <a:pt x="123" y="469"/>
                    <a:pt x="108" y="425"/>
                  </a:cubicBezTo>
                  <a:cubicBezTo>
                    <a:pt x="94" y="386"/>
                    <a:pt x="107" y="363"/>
                    <a:pt x="148" y="354"/>
                  </a:cubicBezTo>
                  <a:cubicBezTo>
                    <a:pt x="195" y="345"/>
                    <a:pt x="241" y="336"/>
                    <a:pt x="287" y="327"/>
                  </a:cubicBezTo>
                  <a:cubicBezTo>
                    <a:pt x="311" y="322"/>
                    <a:pt x="325" y="308"/>
                    <a:pt x="330" y="285"/>
                  </a:cubicBezTo>
                  <a:cubicBezTo>
                    <a:pt x="340" y="237"/>
                    <a:pt x="349" y="190"/>
                    <a:pt x="358" y="142"/>
                  </a:cubicBezTo>
                  <a:cubicBezTo>
                    <a:pt x="365" y="109"/>
                    <a:pt x="389" y="94"/>
                    <a:pt x="422" y="105"/>
                  </a:cubicBezTo>
                  <a:cubicBezTo>
                    <a:pt x="466" y="120"/>
                    <a:pt x="509" y="135"/>
                    <a:pt x="553" y="151"/>
                  </a:cubicBezTo>
                  <a:cubicBezTo>
                    <a:pt x="586" y="162"/>
                    <a:pt x="601" y="158"/>
                    <a:pt x="624" y="132"/>
                  </a:cubicBezTo>
                  <a:cubicBezTo>
                    <a:pt x="654" y="98"/>
                    <a:pt x="683" y="63"/>
                    <a:pt x="713" y="29"/>
                  </a:cubicBezTo>
                  <a:cubicBezTo>
                    <a:pt x="740" y="0"/>
                    <a:pt x="764" y="0"/>
                    <a:pt x="791" y="30"/>
                  </a:cubicBezTo>
                  <a:cubicBezTo>
                    <a:pt x="821" y="63"/>
                    <a:pt x="850" y="98"/>
                    <a:pt x="880" y="132"/>
                  </a:cubicBezTo>
                  <a:cubicBezTo>
                    <a:pt x="903" y="158"/>
                    <a:pt x="918" y="162"/>
                    <a:pt x="951" y="150"/>
                  </a:cubicBezTo>
                  <a:cubicBezTo>
                    <a:pt x="991" y="137"/>
                    <a:pt x="1031" y="122"/>
                    <a:pt x="1071" y="108"/>
                  </a:cubicBezTo>
                  <a:cubicBezTo>
                    <a:pt x="1117" y="92"/>
                    <a:pt x="1141" y="106"/>
                    <a:pt x="1150" y="153"/>
                  </a:cubicBezTo>
                  <a:cubicBezTo>
                    <a:pt x="1159" y="198"/>
                    <a:pt x="1169" y="243"/>
                    <a:pt x="1177" y="288"/>
                  </a:cubicBezTo>
                  <a:cubicBezTo>
                    <a:pt x="1182" y="311"/>
                    <a:pt x="1196" y="323"/>
                    <a:pt x="1217" y="327"/>
                  </a:cubicBezTo>
                  <a:cubicBezTo>
                    <a:pt x="1264" y="337"/>
                    <a:pt x="1311" y="346"/>
                    <a:pt x="1358" y="355"/>
                  </a:cubicBezTo>
                  <a:cubicBezTo>
                    <a:pt x="1388" y="362"/>
                    <a:pt x="1403" y="377"/>
                    <a:pt x="1404" y="408"/>
                  </a:cubicBezTo>
                  <a:close/>
                  <a:moveTo>
                    <a:pt x="751" y="429"/>
                  </a:moveTo>
                  <a:cubicBezTo>
                    <a:pt x="730" y="431"/>
                    <a:pt x="718" y="441"/>
                    <a:pt x="711" y="459"/>
                  </a:cubicBezTo>
                  <a:cubicBezTo>
                    <a:pt x="690" y="512"/>
                    <a:pt x="669" y="565"/>
                    <a:pt x="646" y="617"/>
                  </a:cubicBezTo>
                  <a:cubicBezTo>
                    <a:pt x="643" y="624"/>
                    <a:pt x="634" y="631"/>
                    <a:pt x="627" y="632"/>
                  </a:cubicBezTo>
                  <a:cubicBezTo>
                    <a:pt x="597" y="636"/>
                    <a:pt x="566" y="637"/>
                    <a:pt x="535" y="639"/>
                  </a:cubicBezTo>
                  <a:cubicBezTo>
                    <a:pt x="505" y="641"/>
                    <a:pt x="475" y="642"/>
                    <a:pt x="446" y="646"/>
                  </a:cubicBezTo>
                  <a:cubicBezTo>
                    <a:pt x="418" y="650"/>
                    <a:pt x="404" y="679"/>
                    <a:pt x="417" y="702"/>
                  </a:cubicBezTo>
                  <a:cubicBezTo>
                    <a:pt x="422" y="710"/>
                    <a:pt x="429" y="716"/>
                    <a:pt x="436" y="722"/>
                  </a:cubicBezTo>
                  <a:cubicBezTo>
                    <a:pt x="478" y="758"/>
                    <a:pt x="520" y="793"/>
                    <a:pt x="562" y="828"/>
                  </a:cubicBezTo>
                  <a:cubicBezTo>
                    <a:pt x="572" y="836"/>
                    <a:pt x="573" y="843"/>
                    <a:pt x="570" y="855"/>
                  </a:cubicBezTo>
                  <a:cubicBezTo>
                    <a:pt x="556" y="908"/>
                    <a:pt x="544" y="962"/>
                    <a:pt x="530" y="1015"/>
                  </a:cubicBezTo>
                  <a:cubicBezTo>
                    <a:pt x="524" y="1035"/>
                    <a:pt x="525" y="1053"/>
                    <a:pt x="544" y="1067"/>
                  </a:cubicBezTo>
                  <a:cubicBezTo>
                    <a:pt x="562" y="1079"/>
                    <a:pt x="579" y="1074"/>
                    <a:pt x="595" y="1063"/>
                  </a:cubicBezTo>
                  <a:cubicBezTo>
                    <a:pt x="640" y="1035"/>
                    <a:pt x="685" y="1008"/>
                    <a:pt x="729" y="979"/>
                  </a:cubicBezTo>
                  <a:cubicBezTo>
                    <a:pt x="743" y="970"/>
                    <a:pt x="754" y="969"/>
                    <a:pt x="769" y="979"/>
                  </a:cubicBezTo>
                  <a:cubicBezTo>
                    <a:pt x="815" y="1009"/>
                    <a:pt x="862" y="1037"/>
                    <a:pt x="908" y="1066"/>
                  </a:cubicBezTo>
                  <a:cubicBezTo>
                    <a:pt x="924" y="1076"/>
                    <a:pt x="940" y="1078"/>
                    <a:pt x="956" y="1066"/>
                  </a:cubicBezTo>
                  <a:cubicBezTo>
                    <a:pt x="972" y="1055"/>
                    <a:pt x="975" y="1039"/>
                    <a:pt x="970" y="1020"/>
                  </a:cubicBezTo>
                  <a:cubicBezTo>
                    <a:pt x="956" y="964"/>
                    <a:pt x="943" y="908"/>
                    <a:pt x="928" y="852"/>
                  </a:cubicBezTo>
                  <a:cubicBezTo>
                    <a:pt x="925" y="841"/>
                    <a:pt x="927" y="835"/>
                    <a:pt x="936" y="828"/>
                  </a:cubicBezTo>
                  <a:cubicBezTo>
                    <a:pt x="977" y="794"/>
                    <a:pt x="1017" y="760"/>
                    <a:pt x="1058" y="726"/>
                  </a:cubicBezTo>
                  <a:cubicBezTo>
                    <a:pt x="1075" y="711"/>
                    <a:pt x="1095" y="699"/>
                    <a:pt x="1086" y="672"/>
                  </a:cubicBezTo>
                  <a:cubicBezTo>
                    <a:pt x="1076" y="643"/>
                    <a:pt x="1051" y="645"/>
                    <a:pt x="1028" y="643"/>
                  </a:cubicBezTo>
                  <a:cubicBezTo>
                    <a:pt x="978" y="640"/>
                    <a:pt x="927" y="636"/>
                    <a:pt x="876" y="633"/>
                  </a:cubicBezTo>
                  <a:cubicBezTo>
                    <a:pt x="864" y="633"/>
                    <a:pt x="858" y="628"/>
                    <a:pt x="854" y="616"/>
                  </a:cubicBezTo>
                  <a:cubicBezTo>
                    <a:pt x="833" y="564"/>
                    <a:pt x="811" y="511"/>
                    <a:pt x="790" y="459"/>
                  </a:cubicBezTo>
                  <a:cubicBezTo>
                    <a:pt x="783" y="440"/>
                    <a:pt x="770" y="430"/>
                    <a:pt x="751" y="429"/>
                  </a:cubicBezTo>
                  <a:close/>
                </a:path>
              </a:pathLst>
            </a:custGeom>
            <a:grpFill/>
            <a:ln>
              <a:noFill/>
            </a:ln>
          </p:spPr>
          <p:txBody>
            <a:bodyPr vert="horz" wrap="none" lIns="91440" tIns="45720" rIns="91440" bIns="45720" numCol="1" anchor="t" anchorCtr="0" compatLnSpc="1">
              <a:prstTxWarp prst="textNoShape">
                <a:avLst/>
              </a:prstTxWarp>
            </a:bodyPr>
            <a:lstStyle/>
            <a:p>
              <a:endParaRPr lang="en-US"/>
            </a:p>
          </p:txBody>
        </p:sp>
        <p:sp>
          <p:nvSpPr>
            <p:cNvPr id="428" name="Oval 427">
              <a:extLst>
                <a:ext uri="{FF2B5EF4-FFF2-40B4-BE49-F238E27FC236}">
                  <a16:creationId xmlns:a16="http://schemas.microsoft.com/office/drawing/2014/main" id="{32181CBF-8F64-43B5-037D-90C86ADF0C16}"/>
                </a:ext>
              </a:extLst>
            </p:cNvPr>
            <p:cNvSpPr/>
            <p:nvPr/>
          </p:nvSpPr>
          <p:spPr>
            <a:xfrm>
              <a:off x="2065844" y="1497583"/>
              <a:ext cx="477877" cy="323850"/>
            </a:xfrm>
            <a:prstGeom prst="ellipse">
              <a:avLst/>
            </a:prstGeom>
            <a:grpFill/>
          </p:spPr>
          <p:txBody>
            <a:bodyPr wrap="none" lIns="0" tIns="0" rIns="0" bIns="0" anchor="ctr">
              <a:noAutofit/>
            </a:bodyPr>
            <a:lstStyle/>
            <a:p>
              <a:pPr algn="ctr"/>
              <a:r>
                <a:rPr lang="en-US" sz="500" b="1"/>
                <a:t>5.9</a:t>
              </a:r>
              <a:endParaRPr lang="en-IN" sz="500" b="1"/>
            </a:p>
          </p:txBody>
        </p:sp>
      </p:grpSp>
      <p:grpSp>
        <p:nvGrpSpPr>
          <p:cNvPr id="424" name="Group 423">
            <a:extLst>
              <a:ext uri="{FF2B5EF4-FFF2-40B4-BE49-F238E27FC236}">
                <a16:creationId xmlns:a16="http://schemas.microsoft.com/office/drawing/2014/main" id="{AA491BC9-181D-A160-2AC1-3CFFE8421145}"/>
              </a:ext>
            </a:extLst>
          </p:cNvPr>
          <p:cNvGrpSpPr>
            <a:grpSpLocks noChangeAspect="1"/>
          </p:cNvGrpSpPr>
          <p:nvPr/>
        </p:nvGrpSpPr>
        <p:grpSpPr>
          <a:xfrm>
            <a:off x="11423490" y="3363591"/>
            <a:ext cx="153109" cy="153109"/>
            <a:chOff x="2013768" y="1371600"/>
            <a:chExt cx="589040" cy="586152"/>
          </a:xfrm>
          <a:solidFill>
            <a:schemeClr val="bg1">
              <a:lumMod val="85000"/>
            </a:schemeClr>
          </a:solidFill>
        </p:grpSpPr>
        <p:sp>
          <p:nvSpPr>
            <p:cNvPr id="425" name="Freeform 6">
              <a:extLst>
                <a:ext uri="{FF2B5EF4-FFF2-40B4-BE49-F238E27FC236}">
                  <a16:creationId xmlns:a16="http://schemas.microsoft.com/office/drawing/2014/main" id="{CAC2AEFF-A198-F942-B8EA-11B2083904C1}"/>
                </a:ext>
              </a:extLst>
            </p:cNvPr>
            <p:cNvSpPr>
              <a:spLocks noEditPoints="1"/>
            </p:cNvSpPr>
            <p:nvPr/>
          </p:nvSpPr>
          <p:spPr bwMode="auto">
            <a:xfrm>
              <a:off x="2013768" y="1371600"/>
              <a:ext cx="589040" cy="586152"/>
            </a:xfrm>
            <a:custGeom>
              <a:avLst/>
              <a:gdLst>
                <a:gd name="T0" fmla="*/ 1399 w 1506"/>
                <a:gd name="T1" fmla="*/ 427 h 1507"/>
                <a:gd name="T2" fmla="*/ 1371 w 1506"/>
                <a:gd name="T3" fmla="*/ 623 h 1507"/>
                <a:gd name="T4" fmla="*/ 1474 w 1506"/>
                <a:gd name="T5" fmla="*/ 794 h 1507"/>
                <a:gd name="T6" fmla="*/ 1353 w 1506"/>
                <a:gd name="T7" fmla="*/ 953 h 1507"/>
                <a:gd name="T8" fmla="*/ 1351 w 1506"/>
                <a:gd name="T9" fmla="*/ 1151 h 1507"/>
                <a:gd name="T10" fmla="*/ 1174 w 1506"/>
                <a:gd name="T11" fmla="*/ 1220 h 1507"/>
                <a:gd name="T12" fmla="*/ 1077 w 1506"/>
                <a:gd name="T13" fmla="*/ 1400 h 1507"/>
                <a:gd name="T14" fmla="*/ 881 w 1506"/>
                <a:gd name="T15" fmla="*/ 1371 h 1507"/>
                <a:gd name="T16" fmla="*/ 711 w 1506"/>
                <a:gd name="T17" fmla="*/ 1478 h 1507"/>
                <a:gd name="T18" fmla="*/ 555 w 1506"/>
                <a:gd name="T19" fmla="*/ 1355 h 1507"/>
                <a:gd name="T20" fmla="*/ 353 w 1506"/>
                <a:gd name="T21" fmla="*/ 1360 h 1507"/>
                <a:gd name="T22" fmla="*/ 280 w 1506"/>
                <a:gd name="T23" fmla="*/ 1178 h 1507"/>
                <a:gd name="T24" fmla="*/ 103 w 1506"/>
                <a:gd name="T25" fmla="*/ 1078 h 1507"/>
                <a:gd name="T26" fmla="*/ 128 w 1506"/>
                <a:gd name="T27" fmla="*/ 882 h 1507"/>
                <a:gd name="T28" fmla="*/ 30 w 1506"/>
                <a:gd name="T29" fmla="*/ 713 h 1507"/>
                <a:gd name="T30" fmla="*/ 153 w 1506"/>
                <a:gd name="T31" fmla="*/ 555 h 1507"/>
                <a:gd name="T32" fmla="*/ 148 w 1506"/>
                <a:gd name="T33" fmla="*/ 354 h 1507"/>
                <a:gd name="T34" fmla="*/ 330 w 1506"/>
                <a:gd name="T35" fmla="*/ 285 h 1507"/>
                <a:gd name="T36" fmla="*/ 422 w 1506"/>
                <a:gd name="T37" fmla="*/ 105 h 1507"/>
                <a:gd name="T38" fmla="*/ 624 w 1506"/>
                <a:gd name="T39" fmla="*/ 132 h 1507"/>
                <a:gd name="T40" fmla="*/ 791 w 1506"/>
                <a:gd name="T41" fmla="*/ 30 h 1507"/>
                <a:gd name="T42" fmla="*/ 951 w 1506"/>
                <a:gd name="T43" fmla="*/ 150 h 1507"/>
                <a:gd name="T44" fmla="*/ 1150 w 1506"/>
                <a:gd name="T45" fmla="*/ 153 h 1507"/>
                <a:gd name="T46" fmla="*/ 1217 w 1506"/>
                <a:gd name="T47" fmla="*/ 327 h 1507"/>
                <a:gd name="T48" fmla="*/ 1404 w 1506"/>
                <a:gd name="T49" fmla="*/ 408 h 1507"/>
                <a:gd name="T50" fmla="*/ 711 w 1506"/>
                <a:gd name="T51" fmla="*/ 459 h 1507"/>
                <a:gd name="T52" fmla="*/ 627 w 1506"/>
                <a:gd name="T53" fmla="*/ 632 h 1507"/>
                <a:gd name="T54" fmla="*/ 446 w 1506"/>
                <a:gd name="T55" fmla="*/ 646 h 1507"/>
                <a:gd name="T56" fmla="*/ 436 w 1506"/>
                <a:gd name="T57" fmla="*/ 722 h 1507"/>
                <a:gd name="T58" fmla="*/ 570 w 1506"/>
                <a:gd name="T59" fmla="*/ 855 h 1507"/>
                <a:gd name="T60" fmla="*/ 544 w 1506"/>
                <a:gd name="T61" fmla="*/ 1067 h 1507"/>
                <a:gd name="T62" fmla="*/ 729 w 1506"/>
                <a:gd name="T63" fmla="*/ 979 h 1507"/>
                <a:gd name="T64" fmla="*/ 908 w 1506"/>
                <a:gd name="T65" fmla="*/ 1066 h 1507"/>
                <a:gd name="T66" fmla="*/ 970 w 1506"/>
                <a:gd name="T67" fmla="*/ 1020 h 1507"/>
                <a:gd name="T68" fmla="*/ 936 w 1506"/>
                <a:gd name="T69" fmla="*/ 828 h 1507"/>
                <a:gd name="T70" fmla="*/ 1086 w 1506"/>
                <a:gd name="T71" fmla="*/ 672 h 1507"/>
                <a:gd name="T72" fmla="*/ 876 w 1506"/>
                <a:gd name="T73" fmla="*/ 633 h 1507"/>
                <a:gd name="T74" fmla="*/ 790 w 1506"/>
                <a:gd name="T75" fmla="*/ 459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6" h="1507">
                  <a:moveTo>
                    <a:pt x="1404" y="408"/>
                  </a:moveTo>
                  <a:cubicBezTo>
                    <a:pt x="1403" y="412"/>
                    <a:pt x="1401" y="420"/>
                    <a:pt x="1399" y="427"/>
                  </a:cubicBezTo>
                  <a:cubicBezTo>
                    <a:pt x="1384" y="470"/>
                    <a:pt x="1369" y="513"/>
                    <a:pt x="1354" y="555"/>
                  </a:cubicBezTo>
                  <a:cubicBezTo>
                    <a:pt x="1345" y="582"/>
                    <a:pt x="1349" y="604"/>
                    <a:pt x="1371" y="623"/>
                  </a:cubicBezTo>
                  <a:cubicBezTo>
                    <a:pt x="1406" y="652"/>
                    <a:pt x="1440" y="682"/>
                    <a:pt x="1474" y="713"/>
                  </a:cubicBezTo>
                  <a:cubicBezTo>
                    <a:pt x="1506" y="742"/>
                    <a:pt x="1506" y="766"/>
                    <a:pt x="1474" y="794"/>
                  </a:cubicBezTo>
                  <a:cubicBezTo>
                    <a:pt x="1440" y="823"/>
                    <a:pt x="1407" y="851"/>
                    <a:pt x="1373" y="879"/>
                  </a:cubicBezTo>
                  <a:cubicBezTo>
                    <a:pt x="1345" y="903"/>
                    <a:pt x="1341" y="917"/>
                    <a:pt x="1353" y="953"/>
                  </a:cubicBezTo>
                  <a:cubicBezTo>
                    <a:pt x="1367" y="994"/>
                    <a:pt x="1381" y="1036"/>
                    <a:pt x="1395" y="1077"/>
                  </a:cubicBezTo>
                  <a:cubicBezTo>
                    <a:pt x="1410" y="1119"/>
                    <a:pt x="1395" y="1143"/>
                    <a:pt x="1351" y="1151"/>
                  </a:cubicBezTo>
                  <a:cubicBezTo>
                    <a:pt x="1305" y="1160"/>
                    <a:pt x="1260" y="1170"/>
                    <a:pt x="1214" y="1179"/>
                  </a:cubicBezTo>
                  <a:cubicBezTo>
                    <a:pt x="1191" y="1183"/>
                    <a:pt x="1179" y="1198"/>
                    <a:pt x="1174" y="1220"/>
                  </a:cubicBezTo>
                  <a:cubicBezTo>
                    <a:pt x="1165" y="1267"/>
                    <a:pt x="1155" y="1314"/>
                    <a:pt x="1146" y="1361"/>
                  </a:cubicBezTo>
                  <a:cubicBezTo>
                    <a:pt x="1139" y="1398"/>
                    <a:pt x="1114" y="1413"/>
                    <a:pt x="1077" y="1400"/>
                  </a:cubicBezTo>
                  <a:cubicBezTo>
                    <a:pt x="1032" y="1385"/>
                    <a:pt x="988" y="1370"/>
                    <a:pt x="943" y="1355"/>
                  </a:cubicBezTo>
                  <a:cubicBezTo>
                    <a:pt x="918" y="1346"/>
                    <a:pt x="898" y="1351"/>
                    <a:pt x="881" y="1371"/>
                  </a:cubicBezTo>
                  <a:cubicBezTo>
                    <a:pt x="850" y="1406"/>
                    <a:pt x="819" y="1441"/>
                    <a:pt x="789" y="1477"/>
                  </a:cubicBezTo>
                  <a:cubicBezTo>
                    <a:pt x="763" y="1506"/>
                    <a:pt x="737" y="1507"/>
                    <a:pt x="711" y="1478"/>
                  </a:cubicBezTo>
                  <a:cubicBezTo>
                    <a:pt x="680" y="1443"/>
                    <a:pt x="650" y="1408"/>
                    <a:pt x="619" y="1373"/>
                  </a:cubicBezTo>
                  <a:cubicBezTo>
                    <a:pt x="600" y="1350"/>
                    <a:pt x="583" y="1346"/>
                    <a:pt x="555" y="1355"/>
                  </a:cubicBezTo>
                  <a:cubicBezTo>
                    <a:pt x="511" y="1370"/>
                    <a:pt x="467" y="1385"/>
                    <a:pt x="423" y="1400"/>
                  </a:cubicBezTo>
                  <a:cubicBezTo>
                    <a:pt x="384" y="1413"/>
                    <a:pt x="361" y="1400"/>
                    <a:pt x="353" y="1360"/>
                  </a:cubicBezTo>
                  <a:cubicBezTo>
                    <a:pt x="344" y="1316"/>
                    <a:pt x="335" y="1271"/>
                    <a:pt x="326" y="1226"/>
                  </a:cubicBezTo>
                  <a:cubicBezTo>
                    <a:pt x="321" y="1199"/>
                    <a:pt x="308" y="1183"/>
                    <a:pt x="280" y="1178"/>
                  </a:cubicBezTo>
                  <a:cubicBezTo>
                    <a:pt x="235" y="1169"/>
                    <a:pt x="191" y="1160"/>
                    <a:pt x="146" y="1151"/>
                  </a:cubicBezTo>
                  <a:cubicBezTo>
                    <a:pt x="104" y="1143"/>
                    <a:pt x="89" y="1118"/>
                    <a:pt x="103" y="1078"/>
                  </a:cubicBezTo>
                  <a:cubicBezTo>
                    <a:pt x="118" y="1035"/>
                    <a:pt x="133" y="992"/>
                    <a:pt x="147" y="949"/>
                  </a:cubicBezTo>
                  <a:cubicBezTo>
                    <a:pt x="158" y="918"/>
                    <a:pt x="153" y="903"/>
                    <a:pt x="128" y="882"/>
                  </a:cubicBezTo>
                  <a:cubicBezTo>
                    <a:pt x="96" y="854"/>
                    <a:pt x="63" y="825"/>
                    <a:pt x="30" y="797"/>
                  </a:cubicBezTo>
                  <a:cubicBezTo>
                    <a:pt x="1" y="771"/>
                    <a:pt x="0" y="739"/>
                    <a:pt x="30" y="713"/>
                  </a:cubicBezTo>
                  <a:cubicBezTo>
                    <a:pt x="64" y="682"/>
                    <a:pt x="100" y="652"/>
                    <a:pt x="135" y="621"/>
                  </a:cubicBezTo>
                  <a:cubicBezTo>
                    <a:pt x="159" y="600"/>
                    <a:pt x="163" y="585"/>
                    <a:pt x="153" y="555"/>
                  </a:cubicBezTo>
                  <a:cubicBezTo>
                    <a:pt x="138" y="512"/>
                    <a:pt x="123" y="469"/>
                    <a:pt x="108" y="425"/>
                  </a:cubicBezTo>
                  <a:cubicBezTo>
                    <a:pt x="94" y="386"/>
                    <a:pt x="107" y="363"/>
                    <a:pt x="148" y="354"/>
                  </a:cubicBezTo>
                  <a:cubicBezTo>
                    <a:pt x="195" y="345"/>
                    <a:pt x="241" y="336"/>
                    <a:pt x="287" y="327"/>
                  </a:cubicBezTo>
                  <a:cubicBezTo>
                    <a:pt x="311" y="322"/>
                    <a:pt x="325" y="308"/>
                    <a:pt x="330" y="285"/>
                  </a:cubicBezTo>
                  <a:cubicBezTo>
                    <a:pt x="340" y="237"/>
                    <a:pt x="349" y="190"/>
                    <a:pt x="358" y="142"/>
                  </a:cubicBezTo>
                  <a:cubicBezTo>
                    <a:pt x="365" y="109"/>
                    <a:pt x="389" y="94"/>
                    <a:pt x="422" y="105"/>
                  </a:cubicBezTo>
                  <a:cubicBezTo>
                    <a:pt x="466" y="120"/>
                    <a:pt x="509" y="135"/>
                    <a:pt x="553" y="151"/>
                  </a:cubicBezTo>
                  <a:cubicBezTo>
                    <a:pt x="586" y="162"/>
                    <a:pt x="601" y="158"/>
                    <a:pt x="624" y="132"/>
                  </a:cubicBezTo>
                  <a:cubicBezTo>
                    <a:pt x="654" y="98"/>
                    <a:pt x="683" y="63"/>
                    <a:pt x="713" y="29"/>
                  </a:cubicBezTo>
                  <a:cubicBezTo>
                    <a:pt x="740" y="0"/>
                    <a:pt x="764" y="0"/>
                    <a:pt x="791" y="30"/>
                  </a:cubicBezTo>
                  <a:cubicBezTo>
                    <a:pt x="821" y="63"/>
                    <a:pt x="850" y="98"/>
                    <a:pt x="880" y="132"/>
                  </a:cubicBezTo>
                  <a:cubicBezTo>
                    <a:pt x="903" y="158"/>
                    <a:pt x="918" y="162"/>
                    <a:pt x="951" y="150"/>
                  </a:cubicBezTo>
                  <a:cubicBezTo>
                    <a:pt x="991" y="137"/>
                    <a:pt x="1031" y="122"/>
                    <a:pt x="1071" y="108"/>
                  </a:cubicBezTo>
                  <a:cubicBezTo>
                    <a:pt x="1117" y="92"/>
                    <a:pt x="1141" y="106"/>
                    <a:pt x="1150" y="153"/>
                  </a:cubicBezTo>
                  <a:cubicBezTo>
                    <a:pt x="1159" y="198"/>
                    <a:pt x="1169" y="243"/>
                    <a:pt x="1177" y="288"/>
                  </a:cubicBezTo>
                  <a:cubicBezTo>
                    <a:pt x="1182" y="311"/>
                    <a:pt x="1196" y="323"/>
                    <a:pt x="1217" y="327"/>
                  </a:cubicBezTo>
                  <a:cubicBezTo>
                    <a:pt x="1264" y="337"/>
                    <a:pt x="1311" y="346"/>
                    <a:pt x="1358" y="355"/>
                  </a:cubicBezTo>
                  <a:cubicBezTo>
                    <a:pt x="1388" y="362"/>
                    <a:pt x="1403" y="377"/>
                    <a:pt x="1404" y="408"/>
                  </a:cubicBezTo>
                  <a:close/>
                  <a:moveTo>
                    <a:pt x="751" y="429"/>
                  </a:moveTo>
                  <a:cubicBezTo>
                    <a:pt x="730" y="431"/>
                    <a:pt x="718" y="441"/>
                    <a:pt x="711" y="459"/>
                  </a:cubicBezTo>
                  <a:cubicBezTo>
                    <a:pt x="690" y="512"/>
                    <a:pt x="669" y="565"/>
                    <a:pt x="646" y="617"/>
                  </a:cubicBezTo>
                  <a:cubicBezTo>
                    <a:pt x="643" y="624"/>
                    <a:pt x="634" y="631"/>
                    <a:pt x="627" y="632"/>
                  </a:cubicBezTo>
                  <a:cubicBezTo>
                    <a:pt x="597" y="636"/>
                    <a:pt x="566" y="637"/>
                    <a:pt x="535" y="639"/>
                  </a:cubicBezTo>
                  <a:cubicBezTo>
                    <a:pt x="505" y="641"/>
                    <a:pt x="475" y="642"/>
                    <a:pt x="446" y="646"/>
                  </a:cubicBezTo>
                  <a:cubicBezTo>
                    <a:pt x="418" y="650"/>
                    <a:pt x="404" y="679"/>
                    <a:pt x="417" y="702"/>
                  </a:cubicBezTo>
                  <a:cubicBezTo>
                    <a:pt x="422" y="710"/>
                    <a:pt x="429" y="716"/>
                    <a:pt x="436" y="722"/>
                  </a:cubicBezTo>
                  <a:cubicBezTo>
                    <a:pt x="478" y="758"/>
                    <a:pt x="520" y="793"/>
                    <a:pt x="562" y="828"/>
                  </a:cubicBezTo>
                  <a:cubicBezTo>
                    <a:pt x="572" y="836"/>
                    <a:pt x="573" y="843"/>
                    <a:pt x="570" y="855"/>
                  </a:cubicBezTo>
                  <a:cubicBezTo>
                    <a:pt x="556" y="908"/>
                    <a:pt x="544" y="962"/>
                    <a:pt x="530" y="1015"/>
                  </a:cubicBezTo>
                  <a:cubicBezTo>
                    <a:pt x="524" y="1035"/>
                    <a:pt x="525" y="1053"/>
                    <a:pt x="544" y="1067"/>
                  </a:cubicBezTo>
                  <a:cubicBezTo>
                    <a:pt x="562" y="1079"/>
                    <a:pt x="579" y="1074"/>
                    <a:pt x="595" y="1063"/>
                  </a:cubicBezTo>
                  <a:cubicBezTo>
                    <a:pt x="640" y="1035"/>
                    <a:pt x="685" y="1008"/>
                    <a:pt x="729" y="979"/>
                  </a:cubicBezTo>
                  <a:cubicBezTo>
                    <a:pt x="743" y="970"/>
                    <a:pt x="754" y="969"/>
                    <a:pt x="769" y="979"/>
                  </a:cubicBezTo>
                  <a:cubicBezTo>
                    <a:pt x="815" y="1009"/>
                    <a:pt x="862" y="1037"/>
                    <a:pt x="908" y="1066"/>
                  </a:cubicBezTo>
                  <a:cubicBezTo>
                    <a:pt x="924" y="1076"/>
                    <a:pt x="940" y="1078"/>
                    <a:pt x="956" y="1066"/>
                  </a:cubicBezTo>
                  <a:cubicBezTo>
                    <a:pt x="972" y="1055"/>
                    <a:pt x="975" y="1039"/>
                    <a:pt x="970" y="1020"/>
                  </a:cubicBezTo>
                  <a:cubicBezTo>
                    <a:pt x="956" y="964"/>
                    <a:pt x="943" y="908"/>
                    <a:pt x="928" y="852"/>
                  </a:cubicBezTo>
                  <a:cubicBezTo>
                    <a:pt x="925" y="841"/>
                    <a:pt x="927" y="835"/>
                    <a:pt x="936" y="828"/>
                  </a:cubicBezTo>
                  <a:cubicBezTo>
                    <a:pt x="977" y="794"/>
                    <a:pt x="1017" y="760"/>
                    <a:pt x="1058" y="726"/>
                  </a:cubicBezTo>
                  <a:cubicBezTo>
                    <a:pt x="1075" y="711"/>
                    <a:pt x="1095" y="699"/>
                    <a:pt x="1086" y="672"/>
                  </a:cubicBezTo>
                  <a:cubicBezTo>
                    <a:pt x="1076" y="643"/>
                    <a:pt x="1051" y="645"/>
                    <a:pt x="1028" y="643"/>
                  </a:cubicBezTo>
                  <a:cubicBezTo>
                    <a:pt x="978" y="640"/>
                    <a:pt x="927" y="636"/>
                    <a:pt x="876" y="633"/>
                  </a:cubicBezTo>
                  <a:cubicBezTo>
                    <a:pt x="864" y="633"/>
                    <a:pt x="858" y="628"/>
                    <a:pt x="854" y="616"/>
                  </a:cubicBezTo>
                  <a:cubicBezTo>
                    <a:pt x="833" y="564"/>
                    <a:pt x="811" y="511"/>
                    <a:pt x="790" y="459"/>
                  </a:cubicBezTo>
                  <a:cubicBezTo>
                    <a:pt x="783" y="440"/>
                    <a:pt x="770" y="430"/>
                    <a:pt x="751" y="429"/>
                  </a:cubicBezTo>
                  <a:close/>
                </a:path>
              </a:pathLst>
            </a:custGeom>
            <a:grpFill/>
            <a:ln>
              <a:noFill/>
            </a:ln>
          </p:spPr>
          <p:txBody>
            <a:bodyPr vert="horz" wrap="none" lIns="91440" tIns="45720" rIns="91440" bIns="45720" numCol="1" anchor="t" anchorCtr="0" compatLnSpc="1">
              <a:prstTxWarp prst="textNoShape">
                <a:avLst/>
              </a:prstTxWarp>
            </a:bodyPr>
            <a:lstStyle/>
            <a:p>
              <a:endParaRPr lang="en-US"/>
            </a:p>
          </p:txBody>
        </p:sp>
        <p:sp>
          <p:nvSpPr>
            <p:cNvPr id="426" name="Oval 425">
              <a:extLst>
                <a:ext uri="{FF2B5EF4-FFF2-40B4-BE49-F238E27FC236}">
                  <a16:creationId xmlns:a16="http://schemas.microsoft.com/office/drawing/2014/main" id="{19BD78ED-5281-E800-2A0B-A68E1D6DFBD0}"/>
                </a:ext>
              </a:extLst>
            </p:cNvPr>
            <p:cNvSpPr/>
            <p:nvPr/>
          </p:nvSpPr>
          <p:spPr>
            <a:xfrm>
              <a:off x="2065844" y="1497583"/>
              <a:ext cx="477877" cy="323850"/>
            </a:xfrm>
            <a:prstGeom prst="ellipse">
              <a:avLst/>
            </a:prstGeom>
            <a:grpFill/>
          </p:spPr>
          <p:txBody>
            <a:bodyPr wrap="none" lIns="0" tIns="0" rIns="0" bIns="0" anchor="ctr">
              <a:noAutofit/>
            </a:bodyPr>
            <a:lstStyle/>
            <a:p>
              <a:pPr algn="ctr"/>
              <a:r>
                <a:rPr lang="en-US" sz="500" b="1"/>
                <a:t>5.9</a:t>
              </a:r>
              <a:endParaRPr lang="en-IN" sz="500" b="1"/>
            </a:p>
          </p:txBody>
        </p:sp>
      </p:grpSp>
      <p:sp>
        <p:nvSpPr>
          <p:cNvPr id="439" name="TextBox 438">
            <a:extLst>
              <a:ext uri="{FF2B5EF4-FFF2-40B4-BE49-F238E27FC236}">
                <a16:creationId xmlns:a16="http://schemas.microsoft.com/office/drawing/2014/main" id="{11A4CB57-1611-99B9-737C-6C4CDDA5A10C}"/>
              </a:ext>
            </a:extLst>
          </p:cNvPr>
          <p:cNvSpPr txBox="1"/>
          <p:nvPr/>
        </p:nvSpPr>
        <p:spPr>
          <a:xfrm>
            <a:off x="10986810" y="2095741"/>
            <a:ext cx="1050750" cy="215444"/>
          </a:xfrm>
          <a:prstGeom prst="rect">
            <a:avLst/>
          </a:prstGeom>
          <a:noFill/>
        </p:spPr>
        <p:txBody>
          <a:bodyPr wrap="square" lIns="0" tIns="0" rIns="0" bIns="0" rtlCol="0" anchor="b" anchorCtr="0">
            <a:spAutoFit/>
          </a:bodyPr>
          <a:lstStyle/>
          <a:p>
            <a:pPr algn="ctr"/>
            <a:r>
              <a:rPr lang="en-IN" sz="700" b="1" dirty="0"/>
              <a:t>Provider </a:t>
            </a:r>
          </a:p>
          <a:p>
            <a:pPr algn="ctr"/>
            <a:r>
              <a:rPr lang="en-IN" sz="700" b="1" dirty="0"/>
              <a:t>performance</a:t>
            </a:r>
          </a:p>
        </p:txBody>
      </p:sp>
      <p:sp>
        <p:nvSpPr>
          <p:cNvPr id="440" name="Rectangle 439">
            <a:extLst>
              <a:ext uri="{FF2B5EF4-FFF2-40B4-BE49-F238E27FC236}">
                <a16:creationId xmlns:a16="http://schemas.microsoft.com/office/drawing/2014/main" id="{88D67F97-18A7-3841-B129-C083C2794A80}"/>
              </a:ext>
            </a:extLst>
          </p:cNvPr>
          <p:cNvSpPr/>
          <p:nvPr/>
        </p:nvSpPr>
        <p:spPr>
          <a:xfrm>
            <a:off x="7285036" y="2203463"/>
            <a:ext cx="1141292" cy="107722"/>
          </a:xfrm>
          <a:prstGeom prst="rect">
            <a:avLst/>
          </a:prstGeom>
        </p:spPr>
        <p:txBody>
          <a:bodyPr wrap="square" lIns="0" tIns="0" rIns="0" bIns="0" anchor="b" anchorCtr="0">
            <a:spAutoFit/>
          </a:bodyPr>
          <a:lstStyle/>
          <a:p>
            <a:pPr lvl="0" algn="ctr">
              <a:defRPr/>
            </a:pPr>
            <a:r>
              <a:rPr lang="en-US" sz="700" b="1" dirty="0">
                <a:solidFill>
                  <a:srgbClr val="3F3F3F"/>
                </a:solidFill>
              </a:rPr>
              <a:t>2022</a:t>
            </a:r>
          </a:p>
        </p:txBody>
      </p:sp>
      <p:sp>
        <p:nvSpPr>
          <p:cNvPr id="441" name="Rectangle 440">
            <a:extLst>
              <a:ext uri="{FF2B5EF4-FFF2-40B4-BE49-F238E27FC236}">
                <a16:creationId xmlns:a16="http://schemas.microsoft.com/office/drawing/2014/main" id="{D5193F6B-4B7E-B3B9-ED37-4A43F8A16579}"/>
              </a:ext>
            </a:extLst>
          </p:cNvPr>
          <p:cNvSpPr/>
          <p:nvPr/>
        </p:nvSpPr>
        <p:spPr>
          <a:xfrm>
            <a:off x="9135960" y="2095741"/>
            <a:ext cx="705625" cy="215444"/>
          </a:xfrm>
          <a:prstGeom prst="rect">
            <a:avLst/>
          </a:prstGeom>
        </p:spPr>
        <p:txBody>
          <a:bodyPr wrap="square" lIns="0" tIns="0" rIns="0" bIns="0" anchor="b" anchorCtr="0">
            <a:spAutoFit/>
          </a:bodyPr>
          <a:lstStyle/>
          <a:p>
            <a:pPr lvl="0" algn="r">
              <a:defRPr/>
            </a:pPr>
            <a:r>
              <a:rPr lang="en-US" sz="700" b="1" dirty="0">
                <a:solidFill>
                  <a:srgbClr val="3F3F3F"/>
                </a:solidFill>
              </a:rPr>
              <a:t>Subdimensions</a:t>
            </a:r>
          </a:p>
        </p:txBody>
      </p:sp>
      <p:sp>
        <p:nvSpPr>
          <p:cNvPr id="443" name="Rectangle 442">
            <a:extLst>
              <a:ext uri="{FF2B5EF4-FFF2-40B4-BE49-F238E27FC236}">
                <a16:creationId xmlns:a16="http://schemas.microsoft.com/office/drawing/2014/main" id="{267902CC-C4DF-C03B-6F6A-EB2EF4226B98}"/>
              </a:ext>
            </a:extLst>
          </p:cNvPr>
          <p:cNvSpPr/>
          <p:nvPr/>
        </p:nvSpPr>
        <p:spPr>
          <a:xfrm>
            <a:off x="10211333" y="1988020"/>
            <a:ext cx="1037100" cy="323165"/>
          </a:xfrm>
          <a:prstGeom prst="rect">
            <a:avLst/>
          </a:prstGeom>
        </p:spPr>
        <p:txBody>
          <a:bodyPr wrap="square" lIns="0" tIns="0" rIns="0" bIns="0" anchor="b" anchorCtr="0">
            <a:spAutoFit/>
          </a:bodyPr>
          <a:lstStyle/>
          <a:p>
            <a:pPr lvl="0">
              <a:defRPr/>
            </a:pPr>
            <a:r>
              <a:rPr lang="en-US" sz="700" b="1" dirty="0">
                <a:solidFill>
                  <a:srgbClr val="3F3F3F"/>
                </a:solidFill>
              </a:rPr>
              <a:t>Relevance of the driver for clients (2022)</a:t>
            </a:r>
          </a:p>
        </p:txBody>
      </p:sp>
      <p:sp>
        <p:nvSpPr>
          <p:cNvPr id="4" name="Rectangle 3">
            <a:extLst>
              <a:ext uri="{FF2B5EF4-FFF2-40B4-BE49-F238E27FC236}">
                <a16:creationId xmlns:a16="http://schemas.microsoft.com/office/drawing/2014/main" id="{7F9397BF-FB1C-733B-DEFE-8879884F2A79}"/>
              </a:ext>
            </a:extLst>
          </p:cNvPr>
          <p:cNvSpPr/>
          <p:nvPr/>
        </p:nvSpPr>
        <p:spPr>
          <a:xfrm>
            <a:off x="6154247" y="4283936"/>
            <a:ext cx="4647133" cy="246221"/>
          </a:xfrm>
          <a:prstGeom prst="rect">
            <a:avLst/>
          </a:prstGeom>
        </p:spPr>
        <p:txBody>
          <a:bodyPr wrap="square" lIns="0" tIns="0" rIns="0" bIns="0">
            <a:spAutoFit/>
          </a:bodyPr>
          <a:lstStyle/>
          <a:p>
            <a:r>
              <a:rPr lang="en-US" sz="800" b="1" dirty="0"/>
              <a:t>Providers’ process orchestration software market share by revenue</a:t>
            </a:r>
          </a:p>
          <a:p>
            <a:r>
              <a:rPr lang="en-US" sz="800" dirty="0"/>
              <a:t>(providers are listed in alphabetical order within each category)</a:t>
            </a:r>
          </a:p>
        </p:txBody>
      </p:sp>
      <p:sp>
        <p:nvSpPr>
          <p:cNvPr id="217" name="TextBox 216">
            <a:extLst>
              <a:ext uri="{FF2B5EF4-FFF2-40B4-BE49-F238E27FC236}">
                <a16:creationId xmlns:a16="http://schemas.microsoft.com/office/drawing/2014/main" id="{DFA0F209-C07A-3324-07F5-9D8099D4284B}"/>
              </a:ext>
            </a:extLst>
          </p:cNvPr>
          <p:cNvSpPr txBox="1"/>
          <p:nvPr/>
        </p:nvSpPr>
        <p:spPr>
          <a:xfrm>
            <a:off x="2581067" y="3691543"/>
            <a:ext cx="261610" cy="261610"/>
          </a:xfrm>
          <a:prstGeom prst="rect">
            <a:avLst/>
          </a:prstGeom>
          <a:noFill/>
        </p:spPr>
        <p:txBody>
          <a:bodyPr wrap="none" rtlCol="0">
            <a:spAutoFit/>
          </a:bodyPr>
          <a:lstStyle/>
          <a:p>
            <a:r>
              <a:rPr lang="en-US" sz="1100"/>
              <a:t>//</a:t>
            </a:r>
          </a:p>
        </p:txBody>
      </p:sp>
      <p:cxnSp>
        <p:nvCxnSpPr>
          <p:cNvPr id="218" name="Elbow Connector 12">
            <a:extLst>
              <a:ext uri="{FF2B5EF4-FFF2-40B4-BE49-F238E27FC236}">
                <a16:creationId xmlns:a16="http://schemas.microsoft.com/office/drawing/2014/main" id="{1D6E4F9B-5DB9-2212-3415-515334FFC135}"/>
              </a:ext>
            </a:extLst>
          </p:cNvPr>
          <p:cNvCxnSpPr>
            <a:cxnSpLocks/>
          </p:cNvCxnSpPr>
          <p:nvPr/>
        </p:nvCxnSpPr>
        <p:spPr bwMode="auto">
          <a:xfrm rot="5400000" flipH="1" flipV="1">
            <a:off x="1086241" y="2631782"/>
            <a:ext cx="148571" cy="785237"/>
          </a:xfrm>
          <a:prstGeom prst="bentConnector3">
            <a:avLst>
              <a:gd name="adj1" fmla="val 253866"/>
            </a:avLst>
          </a:prstGeom>
          <a:noFill/>
          <a:ln w="6350" cap="flat" cmpd="sng" algn="ctr">
            <a:solidFill>
              <a:schemeClr val="bg1">
                <a:lumMod val="65000"/>
              </a:schemeClr>
            </a:solidFill>
            <a:prstDash val="dash"/>
            <a:round/>
            <a:headEnd type="none" w="med" len="med"/>
            <a:tailEnd type="none" w="med" len="med"/>
          </a:ln>
          <a:effectLst/>
        </p:spPr>
      </p:cxnSp>
      <p:sp>
        <p:nvSpPr>
          <p:cNvPr id="219" name="Rectangle: Rounded Corners 24">
            <a:extLst>
              <a:ext uri="{FF2B5EF4-FFF2-40B4-BE49-F238E27FC236}">
                <a16:creationId xmlns:a16="http://schemas.microsoft.com/office/drawing/2014/main" id="{7B545491-8C1A-2197-36A9-44112873ECB7}"/>
              </a:ext>
            </a:extLst>
          </p:cNvPr>
          <p:cNvSpPr/>
          <p:nvPr/>
        </p:nvSpPr>
        <p:spPr bwMode="auto">
          <a:xfrm>
            <a:off x="989521" y="2639896"/>
            <a:ext cx="391779" cy="150736"/>
          </a:xfrm>
          <a:prstGeom prst="roundRect">
            <a:avLst/>
          </a:prstGeom>
          <a:solidFill>
            <a:schemeClr val="accent6"/>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304800" indent="-304800" algn="ctr">
              <a:buClr>
                <a:schemeClr val="accent1"/>
              </a:buClr>
              <a:buSzPct val="60000"/>
            </a:pPr>
            <a:r>
              <a:rPr lang="en-US" sz="700">
                <a:solidFill>
                  <a:schemeClr val="bg1"/>
                </a:solidFill>
              </a:rPr>
              <a:t>20-25%</a:t>
            </a:r>
          </a:p>
        </p:txBody>
      </p:sp>
      <p:cxnSp>
        <p:nvCxnSpPr>
          <p:cNvPr id="220" name="Elbow Connector 13">
            <a:extLst>
              <a:ext uri="{FF2B5EF4-FFF2-40B4-BE49-F238E27FC236}">
                <a16:creationId xmlns:a16="http://schemas.microsoft.com/office/drawing/2014/main" id="{B9FFCC9F-14F4-3254-9627-672CABE55417}"/>
              </a:ext>
            </a:extLst>
          </p:cNvPr>
          <p:cNvCxnSpPr>
            <a:cxnSpLocks/>
          </p:cNvCxnSpPr>
          <p:nvPr/>
        </p:nvCxnSpPr>
        <p:spPr bwMode="auto">
          <a:xfrm rot="5400000" flipH="1" flipV="1">
            <a:off x="1873641" y="2485732"/>
            <a:ext cx="148571" cy="785237"/>
          </a:xfrm>
          <a:prstGeom prst="bentConnector3">
            <a:avLst>
              <a:gd name="adj1" fmla="val 253866"/>
            </a:avLst>
          </a:prstGeom>
          <a:noFill/>
          <a:ln w="6350" cap="flat" cmpd="sng" algn="ctr">
            <a:solidFill>
              <a:schemeClr val="bg1">
                <a:lumMod val="65000"/>
              </a:schemeClr>
            </a:solidFill>
            <a:prstDash val="dash"/>
            <a:round/>
            <a:headEnd type="none" w="med" len="med"/>
            <a:tailEnd type="none" w="med" len="med"/>
          </a:ln>
          <a:effectLst/>
        </p:spPr>
      </p:cxnSp>
      <p:sp>
        <p:nvSpPr>
          <p:cNvPr id="221" name="Rectangle: Rounded Corners 33">
            <a:extLst>
              <a:ext uri="{FF2B5EF4-FFF2-40B4-BE49-F238E27FC236}">
                <a16:creationId xmlns:a16="http://schemas.microsoft.com/office/drawing/2014/main" id="{5676116F-4CB7-C451-EFE7-4712E21F4D53}"/>
              </a:ext>
            </a:extLst>
          </p:cNvPr>
          <p:cNvSpPr/>
          <p:nvPr/>
        </p:nvSpPr>
        <p:spPr bwMode="auto">
          <a:xfrm>
            <a:off x="1771481" y="2493497"/>
            <a:ext cx="393433" cy="150736"/>
          </a:xfrm>
          <a:prstGeom prst="roundRect">
            <a:avLst/>
          </a:prstGeom>
          <a:solidFill>
            <a:schemeClr val="accent5"/>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304800" indent="-304800" algn="ctr">
              <a:buClr>
                <a:schemeClr val="accent1"/>
              </a:buClr>
              <a:buSzPct val="60000"/>
            </a:pPr>
            <a:r>
              <a:rPr lang="en-US" sz="700">
                <a:solidFill>
                  <a:schemeClr val="bg1"/>
                </a:solidFill>
              </a:rPr>
              <a:t>17-22%</a:t>
            </a:r>
          </a:p>
        </p:txBody>
      </p:sp>
      <p:cxnSp>
        <p:nvCxnSpPr>
          <p:cNvPr id="222" name="Elbow Connector 15">
            <a:extLst>
              <a:ext uri="{FF2B5EF4-FFF2-40B4-BE49-F238E27FC236}">
                <a16:creationId xmlns:a16="http://schemas.microsoft.com/office/drawing/2014/main" id="{0A23D260-62FF-BA31-7C6C-D5CA4FDD950C}"/>
              </a:ext>
            </a:extLst>
          </p:cNvPr>
          <p:cNvCxnSpPr>
            <a:cxnSpLocks/>
          </p:cNvCxnSpPr>
          <p:nvPr/>
        </p:nvCxnSpPr>
        <p:spPr bwMode="auto">
          <a:xfrm rot="5400000" flipH="1" flipV="1">
            <a:off x="2654691" y="2320632"/>
            <a:ext cx="148571" cy="785237"/>
          </a:xfrm>
          <a:prstGeom prst="bentConnector3">
            <a:avLst>
              <a:gd name="adj1" fmla="val 356443"/>
            </a:avLst>
          </a:prstGeom>
          <a:noFill/>
          <a:ln w="6350" cap="flat" cmpd="sng" algn="ctr">
            <a:solidFill>
              <a:schemeClr val="bg1">
                <a:lumMod val="65000"/>
              </a:schemeClr>
            </a:solidFill>
            <a:prstDash val="dash"/>
            <a:round/>
            <a:headEnd type="none" w="med" len="med"/>
            <a:tailEnd type="none" w="med" len="med"/>
          </a:ln>
          <a:effectLst/>
        </p:spPr>
      </p:cxnSp>
      <p:sp>
        <p:nvSpPr>
          <p:cNvPr id="223" name="Rectangle: Rounded Corners 38">
            <a:extLst>
              <a:ext uri="{FF2B5EF4-FFF2-40B4-BE49-F238E27FC236}">
                <a16:creationId xmlns:a16="http://schemas.microsoft.com/office/drawing/2014/main" id="{4351AF02-49C9-CE79-6015-D89A3F425B7A}"/>
              </a:ext>
            </a:extLst>
          </p:cNvPr>
          <p:cNvSpPr/>
          <p:nvPr/>
        </p:nvSpPr>
        <p:spPr bwMode="auto">
          <a:xfrm>
            <a:off x="2522298" y="2198394"/>
            <a:ext cx="393433" cy="150736"/>
          </a:xfrm>
          <a:prstGeom prst="roundRect">
            <a:avLst/>
          </a:prstGeom>
          <a:solidFill>
            <a:schemeClr val="accent5"/>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304800" indent="-304800" algn="ctr">
              <a:buClr>
                <a:schemeClr val="accent1"/>
              </a:buClr>
              <a:buSzPct val="60000"/>
            </a:pPr>
            <a:r>
              <a:rPr lang="en-US" sz="700">
                <a:solidFill>
                  <a:schemeClr val="bg1"/>
                </a:solidFill>
              </a:rPr>
              <a:t>15-20%</a:t>
            </a:r>
          </a:p>
        </p:txBody>
      </p:sp>
      <p:graphicFrame>
        <p:nvGraphicFramePr>
          <p:cNvPr id="1193" name="Table 1192">
            <a:extLst>
              <a:ext uri="{FF2B5EF4-FFF2-40B4-BE49-F238E27FC236}">
                <a16:creationId xmlns:a16="http://schemas.microsoft.com/office/drawing/2014/main" id="{136F3ADF-8133-5CAF-C033-B5B96E5531AE}"/>
              </a:ext>
            </a:extLst>
          </p:cNvPr>
          <p:cNvGraphicFramePr>
            <a:graphicFrameLocks noGrp="1"/>
          </p:cNvGraphicFramePr>
          <p:nvPr>
            <p:extLst>
              <p:ext uri="{D42A27DB-BD31-4B8C-83A1-F6EECF244321}">
                <p14:modId xmlns:p14="http://schemas.microsoft.com/office/powerpoint/2010/main" val="1938267372"/>
              </p:ext>
            </p:extLst>
          </p:nvPr>
        </p:nvGraphicFramePr>
        <p:xfrm>
          <a:off x="6253933" y="4620838"/>
          <a:ext cx="5504817" cy="1702212"/>
        </p:xfrm>
        <a:graphic>
          <a:graphicData uri="http://schemas.openxmlformats.org/drawingml/2006/table">
            <a:tbl>
              <a:tblPr firstRow="1" bandRow="1">
                <a:tableStyleId>{5940675A-B579-460E-94D1-54222C63F5DA}</a:tableStyleId>
              </a:tblPr>
              <a:tblGrid>
                <a:gridCol w="566530">
                  <a:extLst>
                    <a:ext uri="{9D8B030D-6E8A-4147-A177-3AD203B41FA5}">
                      <a16:colId xmlns:a16="http://schemas.microsoft.com/office/drawing/2014/main" val="1874011856"/>
                    </a:ext>
                  </a:extLst>
                </a:gridCol>
                <a:gridCol w="4938287">
                  <a:extLst>
                    <a:ext uri="{9D8B030D-6E8A-4147-A177-3AD203B41FA5}">
                      <a16:colId xmlns:a16="http://schemas.microsoft.com/office/drawing/2014/main" val="2647801909"/>
                    </a:ext>
                  </a:extLst>
                </a:gridCol>
              </a:tblGrid>
              <a:tr h="425553">
                <a:tc>
                  <a:txBody>
                    <a:bodyPr/>
                    <a:lstStyle/>
                    <a:p>
                      <a:pPr algn="ctr"/>
                      <a:r>
                        <a:rPr lang="en-IN" sz="900" b="1" dirty="0">
                          <a:solidFill>
                            <a:schemeClr val="bg1"/>
                          </a:solidFill>
                        </a:rPr>
                        <a:t>&gt;10%</a:t>
                      </a:r>
                      <a:endParaRPr lang="en-IN" sz="1200" b="1" dirty="0">
                        <a:solidFill>
                          <a:schemeClr val="bg1"/>
                        </a:solidFill>
                      </a:endParaRPr>
                    </a:p>
                  </a:txBody>
                  <a:tcPr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noFill/>
                      <a:prstDash val="dash"/>
                      <a:round/>
                      <a:headEnd type="none" w="med" len="med"/>
                      <a:tailEnd type="none" w="med" len="med"/>
                    </a:lnT>
                    <a:lnB w="6350" cap="flat" cmpd="sng" algn="ctr">
                      <a:solidFill>
                        <a:schemeClr val="bg1"/>
                      </a:solidFill>
                      <a:prstDash val="dash"/>
                      <a:round/>
                      <a:headEnd type="none" w="med" len="med"/>
                      <a:tailEnd type="none" w="med" len="med"/>
                    </a:lnB>
                    <a:solidFill>
                      <a:srgbClr val="004369"/>
                    </a:solidFill>
                  </a:tcPr>
                </a:tc>
                <a:tc>
                  <a:txBody>
                    <a:bodyPr/>
                    <a:lstStyle/>
                    <a:p>
                      <a:endParaRPr lang="en-IN" b="1"/>
                    </a:p>
                  </a:txBody>
                  <a:tcPr>
                    <a:lnL w="6350" cap="flat" cmpd="sng" algn="ctr">
                      <a:noFill/>
                      <a:prstDash val="dash"/>
                      <a:round/>
                      <a:headEnd type="none" w="med" len="med"/>
                      <a:tailEnd type="none" w="med" len="med"/>
                    </a:lnL>
                    <a:lnR w="6350" cap="flat" cmpd="sng" algn="ctr">
                      <a:solidFill>
                        <a:schemeClr val="accent4"/>
                      </a:solidFill>
                      <a:prstDash val="dash"/>
                      <a:round/>
                      <a:headEnd type="none" w="med" len="med"/>
                      <a:tailEnd type="none" w="med" len="med"/>
                    </a:lnR>
                    <a:lnT w="6350" cap="flat" cmpd="sng" algn="ctr">
                      <a:solidFill>
                        <a:schemeClr val="accent4"/>
                      </a:solidFill>
                      <a:prstDash val="dash"/>
                      <a:round/>
                      <a:headEnd type="none" w="med" len="med"/>
                      <a:tailEnd type="none" w="med" len="med"/>
                    </a:lnT>
                    <a:lnB w="6350" cap="flat" cmpd="sng" algn="ctr">
                      <a:solidFill>
                        <a:schemeClr val="accent4"/>
                      </a:solidFill>
                      <a:prstDash val="dash"/>
                      <a:round/>
                      <a:headEnd type="none" w="med" len="med"/>
                      <a:tailEnd type="none" w="med" len="med"/>
                    </a:lnB>
                    <a:solidFill>
                      <a:schemeClr val="bg1"/>
                    </a:solidFill>
                  </a:tcPr>
                </a:tc>
                <a:extLst>
                  <a:ext uri="{0D108BD9-81ED-4DB2-BD59-A6C34878D82A}">
                    <a16:rowId xmlns:a16="http://schemas.microsoft.com/office/drawing/2014/main" val="1176170178"/>
                  </a:ext>
                </a:extLst>
              </a:tr>
              <a:tr h="425553">
                <a:tc>
                  <a:txBody>
                    <a:bodyPr/>
                    <a:lstStyle/>
                    <a:p>
                      <a:pPr algn="ctr"/>
                      <a:r>
                        <a:rPr kumimoji="0" lang="en-IN" sz="900" b="1" i="0" u="none" strike="noStrike" kern="1200" cap="none" spc="0" normalizeH="0" baseline="0" noProof="0">
                          <a:ln>
                            <a:noFill/>
                          </a:ln>
                          <a:solidFill>
                            <a:schemeClr val="bg1"/>
                          </a:solidFill>
                          <a:effectLst/>
                          <a:uLnTx/>
                          <a:uFillTx/>
                          <a:latin typeface="+mn-lt"/>
                          <a:ea typeface="+mn-ea"/>
                          <a:cs typeface="+mn-cs"/>
                        </a:rPr>
                        <a:t>5-10%</a:t>
                      </a:r>
                      <a:endParaRPr lang="en-IN" sz="1200" b="1">
                        <a:solidFill>
                          <a:schemeClr val="bg1"/>
                        </a:solidFill>
                      </a:endParaRPr>
                    </a:p>
                  </a:txBody>
                  <a:tcPr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solidFill>
                      <a:prstDash val="dash"/>
                      <a:round/>
                      <a:headEnd type="none" w="med" len="med"/>
                      <a:tailEnd type="none" w="med" len="med"/>
                    </a:lnT>
                    <a:lnB w="6350" cap="flat" cmpd="sng" algn="ctr">
                      <a:solidFill>
                        <a:schemeClr val="bg1"/>
                      </a:solidFill>
                      <a:prstDash val="dash"/>
                      <a:round/>
                      <a:headEnd type="none" w="med" len="med"/>
                      <a:tailEnd type="none" w="med" len="med"/>
                    </a:lnB>
                    <a:solidFill>
                      <a:srgbClr val="004369"/>
                    </a:solidFill>
                  </a:tcPr>
                </a:tc>
                <a:tc>
                  <a:txBody>
                    <a:bodyPr/>
                    <a:lstStyle/>
                    <a:p>
                      <a:endParaRPr lang="en-IN" b="1"/>
                    </a:p>
                  </a:txBody>
                  <a:tcPr>
                    <a:lnL w="6350" cap="flat" cmpd="sng" algn="ctr">
                      <a:noFill/>
                      <a:prstDash val="dash"/>
                      <a:round/>
                      <a:headEnd type="none" w="med" len="med"/>
                      <a:tailEnd type="none" w="med" len="med"/>
                    </a:lnL>
                    <a:lnR w="6350" cap="flat" cmpd="sng" algn="ctr">
                      <a:solidFill>
                        <a:schemeClr val="accent4"/>
                      </a:solidFill>
                      <a:prstDash val="dash"/>
                      <a:round/>
                      <a:headEnd type="none" w="med" len="med"/>
                      <a:tailEnd type="none" w="med" len="med"/>
                    </a:lnR>
                    <a:lnT w="6350" cap="flat" cmpd="sng" algn="ctr">
                      <a:solidFill>
                        <a:schemeClr val="accent4"/>
                      </a:solidFill>
                      <a:prstDash val="dash"/>
                      <a:round/>
                      <a:headEnd type="none" w="med" len="med"/>
                      <a:tailEnd type="none" w="med" len="med"/>
                    </a:lnT>
                    <a:lnB w="6350" cap="flat" cmpd="sng" algn="ctr">
                      <a:solidFill>
                        <a:schemeClr val="accent4"/>
                      </a:solidFill>
                      <a:prstDash val="dash"/>
                      <a:round/>
                      <a:headEnd type="none" w="med" len="med"/>
                      <a:tailEnd type="none" w="med" len="med"/>
                    </a:lnB>
                    <a:solidFill>
                      <a:schemeClr val="bg1"/>
                    </a:solidFill>
                  </a:tcPr>
                </a:tc>
                <a:extLst>
                  <a:ext uri="{0D108BD9-81ED-4DB2-BD59-A6C34878D82A}">
                    <a16:rowId xmlns:a16="http://schemas.microsoft.com/office/drawing/2014/main" val="2727744965"/>
                  </a:ext>
                </a:extLst>
              </a:tr>
              <a:tr h="425553">
                <a:tc>
                  <a:txBody>
                    <a:bodyPr/>
                    <a:lstStyle/>
                    <a:p>
                      <a:pPr algn="ctr"/>
                      <a:r>
                        <a:rPr kumimoji="0" lang="en-IN" sz="900" b="1" i="0" u="none" strike="noStrike" kern="1200" cap="none" spc="0" normalizeH="0" baseline="0" noProof="0">
                          <a:ln>
                            <a:noFill/>
                          </a:ln>
                          <a:solidFill>
                            <a:schemeClr val="bg1"/>
                          </a:solidFill>
                          <a:effectLst/>
                          <a:uLnTx/>
                          <a:uFillTx/>
                          <a:latin typeface="+mn-lt"/>
                          <a:ea typeface="+mn-ea"/>
                          <a:cs typeface="+mn-cs"/>
                        </a:rPr>
                        <a:t>1-4%</a:t>
                      </a:r>
                      <a:endParaRPr lang="en-IN" sz="1200" b="1">
                        <a:solidFill>
                          <a:schemeClr val="bg1"/>
                        </a:solidFill>
                      </a:endParaRPr>
                    </a:p>
                  </a:txBody>
                  <a:tcPr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solidFill>
                      <a:prstDash val="dash"/>
                      <a:round/>
                      <a:headEnd type="none" w="med" len="med"/>
                      <a:tailEnd type="none" w="med" len="med"/>
                    </a:lnT>
                    <a:lnB w="6350" cap="flat" cmpd="sng" algn="ctr">
                      <a:solidFill>
                        <a:schemeClr val="bg1"/>
                      </a:solidFill>
                      <a:prstDash val="dash"/>
                      <a:round/>
                      <a:headEnd type="none" w="med" len="med"/>
                      <a:tailEnd type="none" w="med" len="med"/>
                    </a:lnB>
                    <a:solidFill>
                      <a:srgbClr val="004369"/>
                    </a:solidFill>
                  </a:tcPr>
                </a:tc>
                <a:tc>
                  <a:txBody>
                    <a:bodyPr/>
                    <a:lstStyle/>
                    <a:p>
                      <a:endParaRPr lang="en-IN" b="1"/>
                    </a:p>
                  </a:txBody>
                  <a:tcPr>
                    <a:lnL w="6350" cap="flat" cmpd="sng" algn="ctr">
                      <a:noFill/>
                      <a:prstDash val="dash"/>
                      <a:round/>
                      <a:headEnd type="none" w="med" len="med"/>
                      <a:tailEnd type="none" w="med" len="med"/>
                    </a:lnL>
                    <a:lnR w="6350" cap="flat" cmpd="sng" algn="ctr">
                      <a:solidFill>
                        <a:schemeClr val="accent4"/>
                      </a:solidFill>
                      <a:prstDash val="dash"/>
                      <a:round/>
                      <a:headEnd type="none" w="med" len="med"/>
                      <a:tailEnd type="none" w="med" len="med"/>
                    </a:lnR>
                    <a:lnT w="6350" cap="flat" cmpd="sng" algn="ctr">
                      <a:solidFill>
                        <a:schemeClr val="accent4"/>
                      </a:solidFill>
                      <a:prstDash val="dash"/>
                      <a:round/>
                      <a:headEnd type="none" w="med" len="med"/>
                      <a:tailEnd type="none" w="med" len="med"/>
                    </a:lnT>
                    <a:lnB w="6350" cap="flat" cmpd="sng" algn="ctr">
                      <a:solidFill>
                        <a:schemeClr val="accent4"/>
                      </a:solidFill>
                      <a:prstDash val="dash"/>
                      <a:round/>
                      <a:headEnd type="none" w="med" len="med"/>
                      <a:tailEnd type="none" w="med" len="med"/>
                    </a:lnB>
                    <a:solidFill>
                      <a:schemeClr val="bg1"/>
                    </a:solidFill>
                  </a:tcPr>
                </a:tc>
                <a:extLst>
                  <a:ext uri="{0D108BD9-81ED-4DB2-BD59-A6C34878D82A}">
                    <a16:rowId xmlns:a16="http://schemas.microsoft.com/office/drawing/2014/main" val="592782605"/>
                  </a:ext>
                </a:extLst>
              </a:tr>
              <a:tr h="425553">
                <a:tc>
                  <a:txBody>
                    <a:bodyPr/>
                    <a:lstStyle/>
                    <a:p>
                      <a:pPr algn="ctr"/>
                      <a:r>
                        <a:rPr lang="en-IN" sz="900" b="1">
                          <a:solidFill>
                            <a:schemeClr val="bg1"/>
                          </a:solidFill>
                        </a:rPr>
                        <a:t>&lt;1%</a:t>
                      </a:r>
                    </a:p>
                  </a:txBody>
                  <a:tcPr anchor="ctr">
                    <a:lnL w="6350" cap="flat" cmpd="sng" algn="ctr">
                      <a:noFill/>
                      <a:prstDash val="dash"/>
                      <a:round/>
                      <a:headEnd type="none" w="med" len="med"/>
                      <a:tailEnd type="none" w="med" len="med"/>
                    </a:lnL>
                    <a:lnR w="6350" cap="flat" cmpd="sng" algn="ctr">
                      <a:noFill/>
                      <a:prstDash val="dash"/>
                      <a:round/>
                      <a:headEnd type="none" w="med" len="med"/>
                      <a:tailEnd type="none" w="med" len="med"/>
                    </a:lnR>
                    <a:lnT w="6350" cap="flat" cmpd="sng" algn="ctr">
                      <a:solidFill>
                        <a:schemeClr val="bg1"/>
                      </a:solidFill>
                      <a:prstDash val="dash"/>
                      <a:round/>
                      <a:headEnd type="none" w="med" len="med"/>
                      <a:tailEnd type="none" w="med" len="med"/>
                    </a:lnT>
                    <a:lnB w="6350" cap="flat" cmpd="sng" algn="ctr">
                      <a:noFill/>
                      <a:prstDash val="dash"/>
                      <a:round/>
                      <a:headEnd type="none" w="med" len="med"/>
                      <a:tailEnd type="none" w="med" len="med"/>
                    </a:lnB>
                    <a:solidFill>
                      <a:srgbClr val="004369"/>
                    </a:solidFill>
                  </a:tcPr>
                </a:tc>
                <a:tc>
                  <a:txBody>
                    <a:bodyPr/>
                    <a:lstStyle/>
                    <a:p>
                      <a:endParaRPr lang="en-IN" b="1" dirty="0"/>
                    </a:p>
                  </a:txBody>
                  <a:tcPr>
                    <a:lnL w="6350" cap="flat" cmpd="sng" algn="ctr">
                      <a:noFill/>
                      <a:prstDash val="dash"/>
                      <a:round/>
                      <a:headEnd type="none" w="med" len="med"/>
                      <a:tailEnd type="none" w="med" len="med"/>
                    </a:lnL>
                    <a:lnR w="6350" cap="flat" cmpd="sng" algn="ctr">
                      <a:solidFill>
                        <a:schemeClr val="accent4"/>
                      </a:solidFill>
                      <a:prstDash val="dash"/>
                      <a:round/>
                      <a:headEnd type="none" w="med" len="med"/>
                      <a:tailEnd type="none" w="med" len="med"/>
                    </a:lnR>
                    <a:lnT w="6350" cap="flat" cmpd="sng" algn="ctr">
                      <a:solidFill>
                        <a:schemeClr val="accent4"/>
                      </a:solidFill>
                      <a:prstDash val="dash"/>
                      <a:round/>
                      <a:headEnd type="none" w="med" len="med"/>
                      <a:tailEnd type="none" w="med" len="med"/>
                    </a:lnT>
                    <a:lnB w="6350" cap="flat" cmpd="sng" algn="ctr">
                      <a:solidFill>
                        <a:schemeClr val="accent4"/>
                      </a:solidFill>
                      <a:prstDash val="dash"/>
                      <a:round/>
                      <a:headEnd type="none" w="med" len="med"/>
                      <a:tailEnd type="none" w="med" len="med"/>
                    </a:lnB>
                    <a:solidFill>
                      <a:schemeClr val="bg1"/>
                    </a:solidFill>
                  </a:tcPr>
                </a:tc>
                <a:extLst>
                  <a:ext uri="{0D108BD9-81ED-4DB2-BD59-A6C34878D82A}">
                    <a16:rowId xmlns:a16="http://schemas.microsoft.com/office/drawing/2014/main" val="1955683451"/>
                  </a:ext>
                </a:extLst>
              </a:tr>
            </a:tbl>
          </a:graphicData>
        </a:graphic>
      </p:graphicFrame>
      <p:grpSp>
        <p:nvGrpSpPr>
          <p:cNvPr id="1338" name="Group 1337">
            <a:extLst>
              <a:ext uri="{FF2B5EF4-FFF2-40B4-BE49-F238E27FC236}">
                <a16:creationId xmlns:a16="http://schemas.microsoft.com/office/drawing/2014/main" id="{FEE9A5DC-E24E-D44C-B66F-B7C94ECBB080}"/>
              </a:ext>
            </a:extLst>
          </p:cNvPr>
          <p:cNvGrpSpPr/>
          <p:nvPr/>
        </p:nvGrpSpPr>
        <p:grpSpPr>
          <a:xfrm>
            <a:off x="6955685" y="4727292"/>
            <a:ext cx="4597878" cy="1536846"/>
            <a:chOff x="6803256" y="4860655"/>
            <a:chExt cx="3799899" cy="1270121"/>
          </a:xfrm>
        </p:grpSpPr>
        <p:pic>
          <p:nvPicPr>
            <p:cNvPr id="1194" name="Picture 1193">
              <a:extLst>
                <a:ext uri="{FF2B5EF4-FFF2-40B4-BE49-F238E27FC236}">
                  <a16:creationId xmlns:a16="http://schemas.microsoft.com/office/drawing/2014/main" id="{0D16D00F-86E5-1F71-368A-016222E33090}"/>
                </a:ext>
              </a:extLst>
            </p:cNvPr>
            <p:cNvPicPr>
              <a:picLocks noChangeAspect="1"/>
            </p:cNvPicPr>
            <p:nvPr/>
          </p:nvPicPr>
          <p:blipFill>
            <a:blip r:embed="rId6"/>
            <a:srcRect/>
            <a:stretch/>
          </p:blipFill>
          <p:spPr>
            <a:xfrm>
              <a:off x="7479187" y="4860655"/>
              <a:ext cx="566598" cy="163515"/>
            </a:xfrm>
            <a:prstGeom prst="rect">
              <a:avLst/>
            </a:prstGeom>
          </p:spPr>
        </p:pic>
        <p:pic>
          <p:nvPicPr>
            <p:cNvPr id="1195" name="Picture 1194">
              <a:extLst>
                <a:ext uri="{FF2B5EF4-FFF2-40B4-BE49-F238E27FC236}">
                  <a16:creationId xmlns:a16="http://schemas.microsoft.com/office/drawing/2014/main" id="{45466329-7DA4-27C5-D1C1-6BE1227926C7}"/>
                </a:ext>
              </a:extLst>
            </p:cNvPr>
            <p:cNvPicPr>
              <a:picLocks noChangeAspect="1"/>
            </p:cNvPicPr>
            <p:nvPr/>
          </p:nvPicPr>
          <p:blipFill>
            <a:blip r:embed="rId7"/>
            <a:srcRect/>
            <a:stretch/>
          </p:blipFill>
          <p:spPr>
            <a:xfrm>
              <a:off x="8271173" y="4875623"/>
              <a:ext cx="633501" cy="138218"/>
            </a:xfrm>
            <a:prstGeom prst="rect">
              <a:avLst/>
            </a:prstGeom>
          </p:spPr>
        </p:pic>
        <p:pic>
          <p:nvPicPr>
            <p:cNvPr id="1196" name="Picture 1195">
              <a:extLst>
                <a:ext uri="{FF2B5EF4-FFF2-40B4-BE49-F238E27FC236}">
                  <a16:creationId xmlns:a16="http://schemas.microsoft.com/office/drawing/2014/main" id="{E1819F92-FE72-E4C4-5898-64290657B362}"/>
                </a:ext>
              </a:extLst>
            </p:cNvPr>
            <p:cNvPicPr>
              <a:picLocks noChangeAspect="1"/>
            </p:cNvPicPr>
            <p:nvPr/>
          </p:nvPicPr>
          <p:blipFill>
            <a:blip r:embed="rId8"/>
            <a:srcRect/>
            <a:stretch/>
          </p:blipFill>
          <p:spPr>
            <a:xfrm>
              <a:off x="6827654" y="5179777"/>
              <a:ext cx="498764" cy="274320"/>
            </a:xfrm>
            <a:prstGeom prst="rect">
              <a:avLst/>
            </a:prstGeom>
          </p:spPr>
        </p:pic>
        <p:pic>
          <p:nvPicPr>
            <p:cNvPr id="1197" name="Picture 1196">
              <a:extLst>
                <a:ext uri="{FF2B5EF4-FFF2-40B4-BE49-F238E27FC236}">
                  <a16:creationId xmlns:a16="http://schemas.microsoft.com/office/drawing/2014/main" id="{9D292FA9-2D80-322A-1BF8-02710016189F}"/>
                </a:ext>
              </a:extLst>
            </p:cNvPr>
            <p:cNvPicPr>
              <a:picLocks noChangeAspect="1"/>
            </p:cNvPicPr>
            <p:nvPr/>
          </p:nvPicPr>
          <p:blipFill>
            <a:blip r:embed="rId9"/>
            <a:srcRect/>
            <a:stretch/>
          </p:blipFill>
          <p:spPr>
            <a:xfrm>
              <a:off x="7327849" y="5957274"/>
              <a:ext cx="440761" cy="130060"/>
            </a:xfrm>
            <a:prstGeom prst="rect">
              <a:avLst/>
            </a:prstGeom>
          </p:spPr>
        </p:pic>
        <p:pic>
          <p:nvPicPr>
            <p:cNvPr id="1198" name="Picture 1197" descr="Logo, company name&#10;&#10;Description automatically generated">
              <a:extLst>
                <a:ext uri="{FF2B5EF4-FFF2-40B4-BE49-F238E27FC236}">
                  <a16:creationId xmlns:a16="http://schemas.microsoft.com/office/drawing/2014/main" id="{3BEECEB0-1977-FE71-EE51-004F391038EE}"/>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t="24543" b="24749"/>
            <a:stretch/>
          </p:blipFill>
          <p:spPr>
            <a:xfrm>
              <a:off x="7602729" y="5220065"/>
              <a:ext cx="679252" cy="193744"/>
            </a:xfrm>
            <a:prstGeom prst="rect">
              <a:avLst/>
            </a:prstGeom>
          </p:spPr>
        </p:pic>
        <p:pic>
          <p:nvPicPr>
            <p:cNvPr id="1199" name="Picture 1198">
              <a:extLst>
                <a:ext uri="{FF2B5EF4-FFF2-40B4-BE49-F238E27FC236}">
                  <a16:creationId xmlns:a16="http://schemas.microsoft.com/office/drawing/2014/main" id="{DAF2C4C8-1205-4CDD-7B06-289091C5980E}"/>
                </a:ext>
              </a:extLst>
            </p:cNvPr>
            <p:cNvPicPr>
              <a:picLocks noChangeAspect="1"/>
            </p:cNvPicPr>
            <p:nvPr/>
          </p:nvPicPr>
          <p:blipFill>
            <a:blip r:embed="rId11"/>
            <a:srcRect/>
            <a:stretch/>
          </p:blipFill>
          <p:spPr>
            <a:xfrm>
              <a:off x="8688249" y="5580582"/>
              <a:ext cx="447133" cy="152679"/>
            </a:xfrm>
            <a:prstGeom prst="rect">
              <a:avLst/>
            </a:prstGeom>
          </p:spPr>
        </p:pic>
        <p:pic>
          <p:nvPicPr>
            <p:cNvPr id="1200" name="Picture 1199">
              <a:extLst>
                <a:ext uri="{FF2B5EF4-FFF2-40B4-BE49-F238E27FC236}">
                  <a16:creationId xmlns:a16="http://schemas.microsoft.com/office/drawing/2014/main" id="{152DC846-5B26-098E-4F02-0E53FF96A41B}"/>
                </a:ext>
              </a:extLst>
            </p:cNvPr>
            <p:cNvPicPr>
              <a:picLocks noChangeAspect="1"/>
            </p:cNvPicPr>
            <p:nvPr/>
          </p:nvPicPr>
          <p:blipFill>
            <a:blip r:embed="rId12"/>
            <a:srcRect/>
            <a:stretch/>
          </p:blipFill>
          <p:spPr>
            <a:xfrm>
              <a:off x="7857259" y="5929608"/>
              <a:ext cx="569341" cy="201168"/>
            </a:xfrm>
            <a:prstGeom prst="rect">
              <a:avLst/>
            </a:prstGeom>
          </p:spPr>
        </p:pic>
        <p:pic>
          <p:nvPicPr>
            <p:cNvPr id="1201" name="Picture 1200">
              <a:extLst>
                <a:ext uri="{FF2B5EF4-FFF2-40B4-BE49-F238E27FC236}">
                  <a16:creationId xmlns:a16="http://schemas.microsoft.com/office/drawing/2014/main" id="{3D806C4E-7F42-F630-AE17-76C9E17951B6}"/>
                </a:ext>
              </a:extLst>
            </p:cNvPr>
            <p:cNvPicPr>
              <a:picLocks noChangeAspect="1"/>
            </p:cNvPicPr>
            <p:nvPr/>
          </p:nvPicPr>
          <p:blipFill>
            <a:blip r:embed="rId13"/>
            <a:srcRect/>
            <a:stretch/>
          </p:blipFill>
          <p:spPr>
            <a:xfrm>
              <a:off x="8921792" y="5956935"/>
              <a:ext cx="713235" cy="137160"/>
            </a:xfrm>
            <a:prstGeom prst="rect">
              <a:avLst/>
            </a:prstGeom>
          </p:spPr>
        </p:pic>
        <p:pic>
          <p:nvPicPr>
            <p:cNvPr id="1202" name="Picture 1201">
              <a:extLst>
                <a:ext uri="{FF2B5EF4-FFF2-40B4-BE49-F238E27FC236}">
                  <a16:creationId xmlns:a16="http://schemas.microsoft.com/office/drawing/2014/main" id="{17CA54DD-3DCE-782A-64FA-B5843A4B7C33}"/>
                </a:ext>
              </a:extLst>
            </p:cNvPr>
            <p:cNvPicPr>
              <a:picLocks noChangeAspect="1"/>
            </p:cNvPicPr>
            <p:nvPr/>
          </p:nvPicPr>
          <p:blipFill>
            <a:blip r:embed="rId14"/>
            <a:srcRect/>
            <a:stretch/>
          </p:blipFill>
          <p:spPr>
            <a:xfrm>
              <a:off x="9251924" y="5587691"/>
              <a:ext cx="703986" cy="137650"/>
            </a:xfrm>
            <a:prstGeom prst="rect">
              <a:avLst/>
            </a:prstGeom>
          </p:spPr>
        </p:pic>
        <p:pic>
          <p:nvPicPr>
            <p:cNvPr id="1203" name="Picture 8">
              <a:extLst>
                <a:ext uri="{FF2B5EF4-FFF2-40B4-BE49-F238E27FC236}">
                  <a16:creationId xmlns:a16="http://schemas.microsoft.com/office/drawing/2014/main" id="{0593582F-02BB-DF15-6DE8-0EC1EE6B5568}"/>
                </a:ext>
              </a:extLst>
            </p:cNvPr>
            <p:cNvPicPr>
              <a:picLocks noChangeAspect="1" noChangeArrowheads="1"/>
            </p:cNvPicPr>
            <p:nvPr/>
          </p:nvPicPr>
          <p:blipFill>
            <a:blip r:embed="rId15"/>
            <a:srcRect/>
            <a:stretch/>
          </p:blipFill>
          <p:spPr bwMode="auto">
            <a:xfrm>
              <a:off x="6803349" y="4868352"/>
              <a:ext cx="370300" cy="148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4" name="Picture 3">
              <a:extLst>
                <a:ext uri="{FF2B5EF4-FFF2-40B4-BE49-F238E27FC236}">
                  <a16:creationId xmlns:a16="http://schemas.microsoft.com/office/drawing/2014/main" id="{61A31B2D-E79A-1736-7C5C-10ABEAA8D98E}"/>
                </a:ext>
              </a:extLst>
            </p:cNvPr>
            <p:cNvPicPr>
              <a:picLocks noChangeAspect="1" noChangeArrowheads="1"/>
            </p:cNvPicPr>
            <p:nvPr/>
          </p:nvPicPr>
          <p:blipFill>
            <a:blip r:embed="rId16"/>
            <a:srcRect/>
            <a:stretch/>
          </p:blipFill>
          <p:spPr bwMode="auto">
            <a:xfrm>
              <a:off x="8017458" y="5567065"/>
              <a:ext cx="570466" cy="17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5" name="Picture 1204">
              <a:extLst>
                <a:ext uri="{FF2B5EF4-FFF2-40B4-BE49-F238E27FC236}">
                  <a16:creationId xmlns:a16="http://schemas.microsoft.com/office/drawing/2014/main" id="{112F542F-2436-5F94-E622-3EC1BB59A8D8}"/>
                </a:ext>
              </a:extLst>
            </p:cNvPr>
            <p:cNvPicPr>
              <a:picLocks noChangeAspect="1"/>
            </p:cNvPicPr>
            <p:nvPr/>
          </p:nvPicPr>
          <p:blipFill>
            <a:blip r:embed="rId17"/>
            <a:srcRect/>
            <a:stretch/>
          </p:blipFill>
          <p:spPr>
            <a:xfrm>
              <a:off x="6805226" y="5969141"/>
              <a:ext cx="479534" cy="118193"/>
            </a:xfrm>
            <a:prstGeom prst="rect">
              <a:avLst/>
            </a:prstGeom>
          </p:spPr>
        </p:pic>
        <p:pic>
          <p:nvPicPr>
            <p:cNvPr id="1206" name="Picture 1205">
              <a:extLst>
                <a:ext uri="{FF2B5EF4-FFF2-40B4-BE49-F238E27FC236}">
                  <a16:creationId xmlns:a16="http://schemas.microsoft.com/office/drawing/2014/main" id="{283325FC-FC4F-CD01-9AC0-7A5953E29A1F}"/>
                </a:ext>
              </a:extLst>
            </p:cNvPr>
            <p:cNvPicPr>
              <a:picLocks noChangeAspect="1"/>
            </p:cNvPicPr>
            <p:nvPr/>
          </p:nvPicPr>
          <p:blipFill>
            <a:blip r:embed="rId18"/>
            <a:srcRect/>
            <a:stretch/>
          </p:blipFill>
          <p:spPr>
            <a:xfrm>
              <a:off x="6803256" y="5597420"/>
              <a:ext cx="540104" cy="118193"/>
            </a:xfrm>
            <a:prstGeom prst="rect">
              <a:avLst/>
            </a:prstGeom>
          </p:spPr>
        </p:pic>
        <p:pic>
          <p:nvPicPr>
            <p:cNvPr id="1207" name="Picture 2" descr="Logo">
              <a:extLst>
                <a:ext uri="{FF2B5EF4-FFF2-40B4-BE49-F238E27FC236}">
                  <a16:creationId xmlns:a16="http://schemas.microsoft.com/office/drawing/2014/main" id="{5F6C3499-7440-807B-5458-08943AF7A10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442649" y="5571909"/>
              <a:ext cx="476876" cy="169215"/>
            </a:xfrm>
            <a:prstGeom prst="rect">
              <a:avLst/>
            </a:prstGeom>
            <a:noFill/>
            <a:extLst>
              <a:ext uri="{909E8E84-426E-40DD-AFC4-6F175D3DCCD1}">
                <a14:hiddenFill xmlns:a14="http://schemas.microsoft.com/office/drawing/2010/main">
                  <a:solidFill>
                    <a:srgbClr val="FFFFFF"/>
                  </a:solidFill>
                </a14:hiddenFill>
              </a:ext>
            </a:extLst>
          </p:spPr>
        </p:pic>
        <p:pic>
          <p:nvPicPr>
            <p:cNvPr id="1208" name="Picture 1207">
              <a:extLst>
                <a:ext uri="{FF2B5EF4-FFF2-40B4-BE49-F238E27FC236}">
                  <a16:creationId xmlns:a16="http://schemas.microsoft.com/office/drawing/2014/main" id="{EA56F31F-62BD-EEC1-CC54-DA8E2AF30252}"/>
                </a:ext>
              </a:extLst>
            </p:cNvPr>
            <p:cNvPicPr>
              <a:picLocks noChangeAspect="1"/>
            </p:cNvPicPr>
            <p:nvPr/>
          </p:nvPicPr>
          <p:blipFill>
            <a:blip r:embed="rId20"/>
            <a:srcRect/>
            <a:stretch/>
          </p:blipFill>
          <p:spPr>
            <a:xfrm>
              <a:off x="10053662" y="5594068"/>
              <a:ext cx="447133" cy="124897"/>
            </a:xfrm>
            <a:prstGeom prst="rect">
              <a:avLst/>
            </a:prstGeom>
          </p:spPr>
        </p:pic>
        <p:pic>
          <p:nvPicPr>
            <p:cNvPr id="1209" name="Picture 24" descr="GBTEC BIC Platform Reviews, Ratings, &amp; Alternatives - Gartner 2021">
              <a:extLst>
                <a:ext uri="{FF2B5EF4-FFF2-40B4-BE49-F238E27FC236}">
                  <a16:creationId xmlns:a16="http://schemas.microsoft.com/office/drawing/2014/main" id="{130B54A4-8D55-E129-E03A-814BA96AFD9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437469" y="5946006"/>
              <a:ext cx="398036" cy="154791"/>
            </a:xfrm>
            <a:prstGeom prst="rect">
              <a:avLst/>
            </a:prstGeom>
            <a:noFill/>
            <a:extLst>
              <a:ext uri="{909E8E84-426E-40DD-AFC4-6F175D3DCCD1}">
                <a14:hiddenFill xmlns:a14="http://schemas.microsoft.com/office/drawing/2010/main">
                  <a:solidFill>
                    <a:srgbClr val="FFFFFF"/>
                  </a:solidFill>
                </a14:hiddenFill>
              </a:ext>
            </a:extLst>
          </p:spPr>
        </p:pic>
        <p:pic>
          <p:nvPicPr>
            <p:cNvPr id="1210" name="Picture 1209">
              <a:extLst>
                <a:ext uri="{FF2B5EF4-FFF2-40B4-BE49-F238E27FC236}">
                  <a16:creationId xmlns:a16="http://schemas.microsoft.com/office/drawing/2014/main" id="{CCF39531-5B19-8D1E-9B1B-0EFEF8ADC0FC}"/>
                </a:ext>
              </a:extLst>
            </p:cNvPr>
            <p:cNvPicPr>
              <a:picLocks noChangeAspect="1"/>
            </p:cNvPicPr>
            <p:nvPr/>
          </p:nvPicPr>
          <p:blipFill>
            <a:blip r:embed="rId22"/>
            <a:srcRect/>
            <a:stretch/>
          </p:blipFill>
          <p:spPr>
            <a:xfrm>
              <a:off x="9714315" y="5946302"/>
              <a:ext cx="490710" cy="94367"/>
            </a:xfrm>
            <a:prstGeom prst="rect">
              <a:avLst/>
            </a:prstGeom>
          </p:spPr>
        </p:pic>
        <p:pic>
          <p:nvPicPr>
            <p:cNvPr id="1211" name="Picture 24">
              <a:extLst>
                <a:ext uri="{FF2B5EF4-FFF2-40B4-BE49-F238E27FC236}">
                  <a16:creationId xmlns:a16="http://schemas.microsoft.com/office/drawing/2014/main" id="{7CC403C3-75B9-052B-57CB-FFE91B3C914D}"/>
                </a:ext>
              </a:extLst>
            </p:cNvPr>
            <p:cNvPicPr>
              <a:picLocks noChangeAspect="1" noChangeArrowheads="1"/>
            </p:cNvPicPr>
            <p:nvPr/>
          </p:nvPicPr>
          <p:blipFill>
            <a:blip r:embed="rId23"/>
            <a:srcRect/>
            <a:stretch/>
          </p:blipFill>
          <p:spPr bwMode="auto">
            <a:xfrm>
              <a:off x="10297543" y="5918405"/>
              <a:ext cx="305612" cy="15479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7" name="Group 1216">
            <a:extLst>
              <a:ext uri="{FF2B5EF4-FFF2-40B4-BE49-F238E27FC236}">
                <a16:creationId xmlns:a16="http://schemas.microsoft.com/office/drawing/2014/main" id="{C10FAA9A-33B0-BE50-B717-1862C890DE2B}"/>
              </a:ext>
            </a:extLst>
          </p:cNvPr>
          <p:cNvGrpSpPr>
            <a:grpSpLocks noChangeAspect="1"/>
          </p:cNvGrpSpPr>
          <p:nvPr/>
        </p:nvGrpSpPr>
        <p:grpSpPr>
          <a:xfrm>
            <a:off x="11423490" y="2855360"/>
            <a:ext cx="153109" cy="153109"/>
            <a:chOff x="2013768" y="1371600"/>
            <a:chExt cx="589040" cy="586152"/>
          </a:xfrm>
          <a:solidFill>
            <a:schemeClr val="bg1">
              <a:lumMod val="85000"/>
            </a:schemeClr>
          </a:solidFill>
        </p:grpSpPr>
        <p:sp>
          <p:nvSpPr>
            <p:cNvPr id="1218" name="Freeform 6">
              <a:extLst>
                <a:ext uri="{FF2B5EF4-FFF2-40B4-BE49-F238E27FC236}">
                  <a16:creationId xmlns:a16="http://schemas.microsoft.com/office/drawing/2014/main" id="{7ECD35B7-56B5-592F-221F-1AA7C3837D09}"/>
                </a:ext>
              </a:extLst>
            </p:cNvPr>
            <p:cNvSpPr>
              <a:spLocks noEditPoints="1"/>
            </p:cNvSpPr>
            <p:nvPr/>
          </p:nvSpPr>
          <p:spPr bwMode="auto">
            <a:xfrm>
              <a:off x="2013768" y="1371600"/>
              <a:ext cx="589040" cy="586152"/>
            </a:xfrm>
            <a:custGeom>
              <a:avLst/>
              <a:gdLst>
                <a:gd name="T0" fmla="*/ 1399 w 1506"/>
                <a:gd name="T1" fmla="*/ 427 h 1507"/>
                <a:gd name="T2" fmla="*/ 1371 w 1506"/>
                <a:gd name="T3" fmla="*/ 623 h 1507"/>
                <a:gd name="T4" fmla="*/ 1474 w 1506"/>
                <a:gd name="T5" fmla="*/ 794 h 1507"/>
                <a:gd name="T6" fmla="*/ 1353 w 1506"/>
                <a:gd name="T7" fmla="*/ 953 h 1507"/>
                <a:gd name="T8" fmla="*/ 1351 w 1506"/>
                <a:gd name="T9" fmla="*/ 1151 h 1507"/>
                <a:gd name="T10" fmla="*/ 1174 w 1506"/>
                <a:gd name="T11" fmla="*/ 1220 h 1507"/>
                <a:gd name="T12" fmla="*/ 1077 w 1506"/>
                <a:gd name="T13" fmla="*/ 1400 h 1507"/>
                <a:gd name="T14" fmla="*/ 881 w 1506"/>
                <a:gd name="T15" fmla="*/ 1371 h 1507"/>
                <a:gd name="T16" fmla="*/ 711 w 1506"/>
                <a:gd name="T17" fmla="*/ 1478 h 1507"/>
                <a:gd name="T18" fmla="*/ 555 w 1506"/>
                <a:gd name="T19" fmla="*/ 1355 h 1507"/>
                <a:gd name="T20" fmla="*/ 353 w 1506"/>
                <a:gd name="T21" fmla="*/ 1360 h 1507"/>
                <a:gd name="T22" fmla="*/ 280 w 1506"/>
                <a:gd name="T23" fmla="*/ 1178 h 1507"/>
                <a:gd name="T24" fmla="*/ 103 w 1506"/>
                <a:gd name="T25" fmla="*/ 1078 h 1507"/>
                <a:gd name="T26" fmla="*/ 128 w 1506"/>
                <a:gd name="T27" fmla="*/ 882 h 1507"/>
                <a:gd name="T28" fmla="*/ 30 w 1506"/>
                <a:gd name="T29" fmla="*/ 713 h 1507"/>
                <a:gd name="T30" fmla="*/ 153 w 1506"/>
                <a:gd name="T31" fmla="*/ 555 h 1507"/>
                <a:gd name="T32" fmla="*/ 148 w 1506"/>
                <a:gd name="T33" fmla="*/ 354 h 1507"/>
                <a:gd name="T34" fmla="*/ 330 w 1506"/>
                <a:gd name="T35" fmla="*/ 285 h 1507"/>
                <a:gd name="T36" fmla="*/ 422 w 1506"/>
                <a:gd name="T37" fmla="*/ 105 h 1507"/>
                <a:gd name="T38" fmla="*/ 624 w 1506"/>
                <a:gd name="T39" fmla="*/ 132 h 1507"/>
                <a:gd name="T40" fmla="*/ 791 w 1506"/>
                <a:gd name="T41" fmla="*/ 30 h 1507"/>
                <a:gd name="T42" fmla="*/ 951 w 1506"/>
                <a:gd name="T43" fmla="*/ 150 h 1507"/>
                <a:gd name="T44" fmla="*/ 1150 w 1506"/>
                <a:gd name="T45" fmla="*/ 153 h 1507"/>
                <a:gd name="T46" fmla="*/ 1217 w 1506"/>
                <a:gd name="T47" fmla="*/ 327 h 1507"/>
                <a:gd name="T48" fmla="*/ 1404 w 1506"/>
                <a:gd name="T49" fmla="*/ 408 h 1507"/>
                <a:gd name="T50" fmla="*/ 711 w 1506"/>
                <a:gd name="T51" fmla="*/ 459 h 1507"/>
                <a:gd name="T52" fmla="*/ 627 w 1506"/>
                <a:gd name="T53" fmla="*/ 632 h 1507"/>
                <a:gd name="T54" fmla="*/ 446 w 1506"/>
                <a:gd name="T55" fmla="*/ 646 h 1507"/>
                <a:gd name="T56" fmla="*/ 436 w 1506"/>
                <a:gd name="T57" fmla="*/ 722 h 1507"/>
                <a:gd name="T58" fmla="*/ 570 w 1506"/>
                <a:gd name="T59" fmla="*/ 855 h 1507"/>
                <a:gd name="T60" fmla="*/ 544 w 1506"/>
                <a:gd name="T61" fmla="*/ 1067 h 1507"/>
                <a:gd name="T62" fmla="*/ 729 w 1506"/>
                <a:gd name="T63" fmla="*/ 979 h 1507"/>
                <a:gd name="T64" fmla="*/ 908 w 1506"/>
                <a:gd name="T65" fmla="*/ 1066 h 1507"/>
                <a:gd name="T66" fmla="*/ 970 w 1506"/>
                <a:gd name="T67" fmla="*/ 1020 h 1507"/>
                <a:gd name="T68" fmla="*/ 936 w 1506"/>
                <a:gd name="T69" fmla="*/ 828 h 1507"/>
                <a:gd name="T70" fmla="*/ 1086 w 1506"/>
                <a:gd name="T71" fmla="*/ 672 h 1507"/>
                <a:gd name="T72" fmla="*/ 876 w 1506"/>
                <a:gd name="T73" fmla="*/ 633 h 1507"/>
                <a:gd name="T74" fmla="*/ 790 w 1506"/>
                <a:gd name="T75" fmla="*/ 459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6" h="1507">
                  <a:moveTo>
                    <a:pt x="1404" y="408"/>
                  </a:moveTo>
                  <a:cubicBezTo>
                    <a:pt x="1403" y="412"/>
                    <a:pt x="1401" y="420"/>
                    <a:pt x="1399" y="427"/>
                  </a:cubicBezTo>
                  <a:cubicBezTo>
                    <a:pt x="1384" y="470"/>
                    <a:pt x="1369" y="513"/>
                    <a:pt x="1354" y="555"/>
                  </a:cubicBezTo>
                  <a:cubicBezTo>
                    <a:pt x="1345" y="582"/>
                    <a:pt x="1349" y="604"/>
                    <a:pt x="1371" y="623"/>
                  </a:cubicBezTo>
                  <a:cubicBezTo>
                    <a:pt x="1406" y="652"/>
                    <a:pt x="1440" y="682"/>
                    <a:pt x="1474" y="713"/>
                  </a:cubicBezTo>
                  <a:cubicBezTo>
                    <a:pt x="1506" y="742"/>
                    <a:pt x="1506" y="766"/>
                    <a:pt x="1474" y="794"/>
                  </a:cubicBezTo>
                  <a:cubicBezTo>
                    <a:pt x="1440" y="823"/>
                    <a:pt x="1407" y="851"/>
                    <a:pt x="1373" y="879"/>
                  </a:cubicBezTo>
                  <a:cubicBezTo>
                    <a:pt x="1345" y="903"/>
                    <a:pt x="1341" y="917"/>
                    <a:pt x="1353" y="953"/>
                  </a:cubicBezTo>
                  <a:cubicBezTo>
                    <a:pt x="1367" y="994"/>
                    <a:pt x="1381" y="1036"/>
                    <a:pt x="1395" y="1077"/>
                  </a:cubicBezTo>
                  <a:cubicBezTo>
                    <a:pt x="1410" y="1119"/>
                    <a:pt x="1395" y="1143"/>
                    <a:pt x="1351" y="1151"/>
                  </a:cubicBezTo>
                  <a:cubicBezTo>
                    <a:pt x="1305" y="1160"/>
                    <a:pt x="1260" y="1170"/>
                    <a:pt x="1214" y="1179"/>
                  </a:cubicBezTo>
                  <a:cubicBezTo>
                    <a:pt x="1191" y="1183"/>
                    <a:pt x="1179" y="1198"/>
                    <a:pt x="1174" y="1220"/>
                  </a:cubicBezTo>
                  <a:cubicBezTo>
                    <a:pt x="1165" y="1267"/>
                    <a:pt x="1155" y="1314"/>
                    <a:pt x="1146" y="1361"/>
                  </a:cubicBezTo>
                  <a:cubicBezTo>
                    <a:pt x="1139" y="1398"/>
                    <a:pt x="1114" y="1413"/>
                    <a:pt x="1077" y="1400"/>
                  </a:cubicBezTo>
                  <a:cubicBezTo>
                    <a:pt x="1032" y="1385"/>
                    <a:pt x="988" y="1370"/>
                    <a:pt x="943" y="1355"/>
                  </a:cubicBezTo>
                  <a:cubicBezTo>
                    <a:pt x="918" y="1346"/>
                    <a:pt x="898" y="1351"/>
                    <a:pt x="881" y="1371"/>
                  </a:cubicBezTo>
                  <a:cubicBezTo>
                    <a:pt x="850" y="1406"/>
                    <a:pt x="819" y="1441"/>
                    <a:pt x="789" y="1477"/>
                  </a:cubicBezTo>
                  <a:cubicBezTo>
                    <a:pt x="763" y="1506"/>
                    <a:pt x="737" y="1507"/>
                    <a:pt x="711" y="1478"/>
                  </a:cubicBezTo>
                  <a:cubicBezTo>
                    <a:pt x="680" y="1443"/>
                    <a:pt x="650" y="1408"/>
                    <a:pt x="619" y="1373"/>
                  </a:cubicBezTo>
                  <a:cubicBezTo>
                    <a:pt x="600" y="1350"/>
                    <a:pt x="583" y="1346"/>
                    <a:pt x="555" y="1355"/>
                  </a:cubicBezTo>
                  <a:cubicBezTo>
                    <a:pt x="511" y="1370"/>
                    <a:pt x="467" y="1385"/>
                    <a:pt x="423" y="1400"/>
                  </a:cubicBezTo>
                  <a:cubicBezTo>
                    <a:pt x="384" y="1413"/>
                    <a:pt x="361" y="1400"/>
                    <a:pt x="353" y="1360"/>
                  </a:cubicBezTo>
                  <a:cubicBezTo>
                    <a:pt x="344" y="1316"/>
                    <a:pt x="335" y="1271"/>
                    <a:pt x="326" y="1226"/>
                  </a:cubicBezTo>
                  <a:cubicBezTo>
                    <a:pt x="321" y="1199"/>
                    <a:pt x="308" y="1183"/>
                    <a:pt x="280" y="1178"/>
                  </a:cubicBezTo>
                  <a:cubicBezTo>
                    <a:pt x="235" y="1169"/>
                    <a:pt x="191" y="1160"/>
                    <a:pt x="146" y="1151"/>
                  </a:cubicBezTo>
                  <a:cubicBezTo>
                    <a:pt x="104" y="1143"/>
                    <a:pt x="89" y="1118"/>
                    <a:pt x="103" y="1078"/>
                  </a:cubicBezTo>
                  <a:cubicBezTo>
                    <a:pt x="118" y="1035"/>
                    <a:pt x="133" y="992"/>
                    <a:pt x="147" y="949"/>
                  </a:cubicBezTo>
                  <a:cubicBezTo>
                    <a:pt x="158" y="918"/>
                    <a:pt x="153" y="903"/>
                    <a:pt x="128" y="882"/>
                  </a:cubicBezTo>
                  <a:cubicBezTo>
                    <a:pt x="96" y="854"/>
                    <a:pt x="63" y="825"/>
                    <a:pt x="30" y="797"/>
                  </a:cubicBezTo>
                  <a:cubicBezTo>
                    <a:pt x="1" y="771"/>
                    <a:pt x="0" y="739"/>
                    <a:pt x="30" y="713"/>
                  </a:cubicBezTo>
                  <a:cubicBezTo>
                    <a:pt x="64" y="682"/>
                    <a:pt x="100" y="652"/>
                    <a:pt x="135" y="621"/>
                  </a:cubicBezTo>
                  <a:cubicBezTo>
                    <a:pt x="159" y="600"/>
                    <a:pt x="163" y="585"/>
                    <a:pt x="153" y="555"/>
                  </a:cubicBezTo>
                  <a:cubicBezTo>
                    <a:pt x="138" y="512"/>
                    <a:pt x="123" y="469"/>
                    <a:pt x="108" y="425"/>
                  </a:cubicBezTo>
                  <a:cubicBezTo>
                    <a:pt x="94" y="386"/>
                    <a:pt x="107" y="363"/>
                    <a:pt x="148" y="354"/>
                  </a:cubicBezTo>
                  <a:cubicBezTo>
                    <a:pt x="195" y="345"/>
                    <a:pt x="241" y="336"/>
                    <a:pt x="287" y="327"/>
                  </a:cubicBezTo>
                  <a:cubicBezTo>
                    <a:pt x="311" y="322"/>
                    <a:pt x="325" y="308"/>
                    <a:pt x="330" y="285"/>
                  </a:cubicBezTo>
                  <a:cubicBezTo>
                    <a:pt x="340" y="237"/>
                    <a:pt x="349" y="190"/>
                    <a:pt x="358" y="142"/>
                  </a:cubicBezTo>
                  <a:cubicBezTo>
                    <a:pt x="365" y="109"/>
                    <a:pt x="389" y="94"/>
                    <a:pt x="422" y="105"/>
                  </a:cubicBezTo>
                  <a:cubicBezTo>
                    <a:pt x="466" y="120"/>
                    <a:pt x="509" y="135"/>
                    <a:pt x="553" y="151"/>
                  </a:cubicBezTo>
                  <a:cubicBezTo>
                    <a:pt x="586" y="162"/>
                    <a:pt x="601" y="158"/>
                    <a:pt x="624" y="132"/>
                  </a:cubicBezTo>
                  <a:cubicBezTo>
                    <a:pt x="654" y="98"/>
                    <a:pt x="683" y="63"/>
                    <a:pt x="713" y="29"/>
                  </a:cubicBezTo>
                  <a:cubicBezTo>
                    <a:pt x="740" y="0"/>
                    <a:pt x="764" y="0"/>
                    <a:pt x="791" y="30"/>
                  </a:cubicBezTo>
                  <a:cubicBezTo>
                    <a:pt x="821" y="63"/>
                    <a:pt x="850" y="98"/>
                    <a:pt x="880" y="132"/>
                  </a:cubicBezTo>
                  <a:cubicBezTo>
                    <a:pt x="903" y="158"/>
                    <a:pt x="918" y="162"/>
                    <a:pt x="951" y="150"/>
                  </a:cubicBezTo>
                  <a:cubicBezTo>
                    <a:pt x="991" y="137"/>
                    <a:pt x="1031" y="122"/>
                    <a:pt x="1071" y="108"/>
                  </a:cubicBezTo>
                  <a:cubicBezTo>
                    <a:pt x="1117" y="92"/>
                    <a:pt x="1141" y="106"/>
                    <a:pt x="1150" y="153"/>
                  </a:cubicBezTo>
                  <a:cubicBezTo>
                    <a:pt x="1159" y="198"/>
                    <a:pt x="1169" y="243"/>
                    <a:pt x="1177" y="288"/>
                  </a:cubicBezTo>
                  <a:cubicBezTo>
                    <a:pt x="1182" y="311"/>
                    <a:pt x="1196" y="323"/>
                    <a:pt x="1217" y="327"/>
                  </a:cubicBezTo>
                  <a:cubicBezTo>
                    <a:pt x="1264" y="337"/>
                    <a:pt x="1311" y="346"/>
                    <a:pt x="1358" y="355"/>
                  </a:cubicBezTo>
                  <a:cubicBezTo>
                    <a:pt x="1388" y="362"/>
                    <a:pt x="1403" y="377"/>
                    <a:pt x="1404" y="408"/>
                  </a:cubicBezTo>
                  <a:close/>
                  <a:moveTo>
                    <a:pt x="751" y="429"/>
                  </a:moveTo>
                  <a:cubicBezTo>
                    <a:pt x="730" y="431"/>
                    <a:pt x="718" y="441"/>
                    <a:pt x="711" y="459"/>
                  </a:cubicBezTo>
                  <a:cubicBezTo>
                    <a:pt x="690" y="512"/>
                    <a:pt x="669" y="565"/>
                    <a:pt x="646" y="617"/>
                  </a:cubicBezTo>
                  <a:cubicBezTo>
                    <a:pt x="643" y="624"/>
                    <a:pt x="634" y="631"/>
                    <a:pt x="627" y="632"/>
                  </a:cubicBezTo>
                  <a:cubicBezTo>
                    <a:pt x="597" y="636"/>
                    <a:pt x="566" y="637"/>
                    <a:pt x="535" y="639"/>
                  </a:cubicBezTo>
                  <a:cubicBezTo>
                    <a:pt x="505" y="641"/>
                    <a:pt x="475" y="642"/>
                    <a:pt x="446" y="646"/>
                  </a:cubicBezTo>
                  <a:cubicBezTo>
                    <a:pt x="418" y="650"/>
                    <a:pt x="404" y="679"/>
                    <a:pt x="417" y="702"/>
                  </a:cubicBezTo>
                  <a:cubicBezTo>
                    <a:pt x="422" y="710"/>
                    <a:pt x="429" y="716"/>
                    <a:pt x="436" y="722"/>
                  </a:cubicBezTo>
                  <a:cubicBezTo>
                    <a:pt x="478" y="758"/>
                    <a:pt x="520" y="793"/>
                    <a:pt x="562" y="828"/>
                  </a:cubicBezTo>
                  <a:cubicBezTo>
                    <a:pt x="572" y="836"/>
                    <a:pt x="573" y="843"/>
                    <a:pt x="570" y="855"/>
                  </a:cubicBezTo>
                  <a:cubicBezTo>
                    <a:pt x="556" y="908"/>
                    <a:pt x="544" y="962"/>
                    <a:pt x="530" y="1015"/>
                  </a:cubicBezTo>
                  <a:cubicBezTo>
                    <a:pt x="524" y="1035"/>
                    <a:pt x="525" y="1053"/>
                    <a:pt x="544" y="1067"/>
                  </a:cubicBezTo>
                  <a:cubicBezTo>
                    <a:pt x="562" y="1079"/>
                    <a:pt x="579" y="1074"/>
                    <a:pt x="595" y="1063"/>
                  </a:cubicBezTo>
                  <a:cubicBezTo>
                    <a:pt x="640" y="1035"/>
                    <a:pt x="685" y="1008"/>
                    <a:pt x="729" y="979"/>
                  </a:cubicBezTo>
                  <a:cubicBezTo>
                    <a:pt x="743" y="970"/>
                    <a:pt x="754" y="969"/>
                    <a:pt x="769" y="979"/>
                  </a:cubicBezTo>
                  <a:cubicBezTo>
                    <a:pt x="815" y="1009"/>
                    <a:pt x="862" y="1037"/>
                    <a:pt x="908" y="1066"/>
                  </a:cubicBezTo>
                  <a:cubicBezTo>
                    <a:pt x="924" y="1076"/>
                    <a:pt x="940" y="1078"/>
                    <a:pt x="956" y="1066"/>
                  </a:cubicBezTo>
                  <a:cubicBezTo>
                    <a:pt x="972" y="1055"/>
                    <a:pt x="975" y="1039"/>
                    <a:pt x="970" y="1020"/>
                  </a:cubicBezTo>
                  <a:cubicBezTo>
                    <a:pt x="956" y="964"/>
                    <a:pt x="943" y="908"/>
                    <a:pt x="928" y="852"/>
                  </a:cubicBezTo>
                  <a:cubicBezTo>
                    <a:pt x="925" y="841"/>
                    <a:pt x="927" y="835"/>
                    <a:pt x="936" y="828"/>
                  </a:cubicBezTo>
                  <a:cubicBezTo>
                    <a:pt x="977" y="794"/>
                    <a:pt x="1017" y="760"/>
                    <a:pt x="1058" y="726"/>
                  </a:cubicBezTo>
                  <a:cubicBezTo>
                    <a:pt x="1075" y="711"/>
                    <a:pt x="1095" y="699"/>
                    <a:pt x="1086" y="672"/>
                  </a:cubicBezTo>
                  <a:cubicBezTo>
                    <a:pt x="1076" y="643"/>
                    <a:pt x="1051" y="645"/>
                    <a:pt x="1028" y="643"/>
                  </a:cubicBezTo>
                  <a:cubicBezTo>
                    <a:pt x="978" y="640"/>
                    <a:pt x="927" y="636"/>
                    <a:pt x="876" y="633"/>
                  </a:cubicBezTo>
                  <a:cubicBezTo>
                    <a:pt x="864" y="633"/>
                    <a:pt x="858" y="628"/>
                    <a:pt x="854" y="616"/>
                  </a:cubicBezTo>
                  <a:cubicBezTo>
                    <a:pt x="833" y="564"/>
                    <a:pt x="811" y="511"/>
                    <a:pt x="790" y="459"/>
                  </a:cubicBezTo>
                  <a:cubicBezTo>
                    <a:pt x="783" y="440"/>
                    <a:pt x="770" y="430"/>
                    <a:pt x="751" y="429"/>
                  </a:cubicBezTo>
                  <a:close/>
                </a:path>
              </a:pathLst>
            </a:custGeom>
            <a:grpFill/>
            <a:ln>
              <a:noFill/>
            </a:ln>
          </p:spPr>
          <p:txBody>
            <a:bodyPr vert="horz" wrap="none" lIns="91440" tIns="45720" rIns="91440" bIns="45720" numCol="1" anchor="t" anchorCtr="0" compatLnSpc="1">
              <a:prstTxWarp prst="textNoShape">
                <a:avLst/>
              </a:prstTxWarp>
            </a:bodyPr>
            <a:lstStyle/>
            <a:p>
              <a:endParaRPr lang="en-US"/>
            </a:p>
          </p:txBody>
        </p:sp>
        <p:sp>
          <p:nvSpPr>
            <p:cNvPr id="1219" name="Oval 1218">
              <a:extLst>
                <a:ext uri="{FF2B5EF4-FFF2-40B4-BE49-F238E27FC236}">
                  <a16:creationId xmlns:a16="http://schemas.microsoft.com/office/drawing/2014/main" id="{4B482643-3C83-ABD0-FDC2-5ECA5A48A3EA}"/>
                </a:ext>
              </a:extLst>
            </p:cNvPr>
            <p:cNvSpPr/>
            <p:nvPr/>
          </p:nvSpPr>
          <p:spPr>
            <a:xfrm>
              <a:off x="2065844" y="1497583"/>
              <a:ext cx="477877" cy="323850"/>
            </a:xfrm>
            <a:prstGeom prst="ellipse">
              <a:avLst/>
            </a:prstGeom>
            <a:grpFill/>
          </p:spPr>
          <p:txBody>
            <a:bodyPr wrap="none" lIns="0" tIns="0" rIns="0" bIns="0" anchor="ctr">
              <a:noAutofit/>
            </a:bodyPr>
            <a:lstStyle/>
            <a:p>
              <a:pPr algn="ctr"/>
              <a:r>
                <a:rPr lang="en-US" sz="500" b="1"/>
                <a:t>5.7</a:t>
              </a:r>
              <a:endParaRPr lang="en-IN" sz="500" b="1"/>
            </a:p>
          </p:txBody>
        </p:sp>
      </p:grpSp>
      <p:grpSp>
        <p:nvGrpSpPr>
          <p:cNvPr id="1220" name="Group 1219">
            <a:extLst>
              <a:ext uri="{FF2B5EF4-FFF2-40B4-BE49-F238E27FC236}">
                <a16:creationId xmlns:a16="http://schemas.microsoft.com/office/drawing/2014/main" id="{27023482-5D2B-7235-2830-282287807B2E}"/>
              </a:ext>
            </a:extLst>
          </p:cNvPr>
          <p:cNvGrpSpPr>
            <a:grpSpLocks noChangeAspect="1"/>
          </p:cNvGrpSpPr>
          <p:nvPr/>
        </p:nvGrpSpPr>
        <p:grpSpPr>
          <a:xfrm>
            <a:off x="11423490" y="3649348"/>
            <a:ext cx="153109" cy="153109"/>
            <a:chOff x="2013768" y="1371600"/>
            <a:chExt cx="589040" cy="586152"/>
          </a:xfrm>
          <a:solidFill>
            <a:schemeClr val="bg1">
              <a:lumMod val="85000"/>
            </a:schemeClr>
          </a:solidFill>
        </p:grpSpPr>
        <p:sp>
          <p:nvSpPr>
            <p:cNvPr id="1221" name="Freeform 6">
              <a:extLst>
                <a:ext uri="{FF2B5EF4-FFF2-40B4-BE49-F238E27FC236}">
                  <a16:creationId xmlns:a16="http://schemas.microsoft.com/office/drawing/2014/main" id="{2F20573B-6554-CFC6-9CF4-DA0CBEBC69F4}"/>
                </a:ext>
              </a:extLst>
            </p:cNvPr>
            <p:cNvSpPr>
              <a:spLocks noEditPoints="1"/>
            </p:cNvSpPr>
            <p:nvPr/>
          </p:nvSpPr>
          <p:spPr bwMode="auto">
            <a:xfrm>
              <a:off x="2013768" y="1371600"/>
              <a:ext cx="589040" cy="586152"/>
            </a:xfrm>
            <a:custGeom>
              <a:avLst/>
              <a:gdLst>
                <a:gd name="T0" fmla="*/ 1399 w 1506"/>
                <a:gd name="T1" fmla="*/ 427 h 1507"/>
                <a:gd name="T2" fmla="*/ 1371 w 1506"/>
                <a:gd name="T3" fmla="*/ 623 h 1507"/>
                <a:gd name="T4" fmla="*/ 1474 w 1506"/>
                <a:gd name="T5" fmla="*/ 794 h 1507"/>
                <a:gd name="T6" fmla="*/ 1353 w 1506"/>
                <a:gd name="T7" fmla="*/ 953 h 1507"/>
                <a:gd name="T8" fmla="*/ 1351 w 1506"/>
                <a:gd name="T9" fmla="*/ 1151 h 1507"/>
                <a:gd name="T10" fmla="*/ 1174 w 1506"/>
                <a:gd name="T11" fmla="*/ 1220 h 1507"/>
                <a:gd name="T12" fmla="*/ 1077 w 1506"/>
                <a:gd name="T13" fmla="*/ 1400 h 1507"/>
                <a:gd name="T14" fmla="*/ 881 w 1506"/>
                <a:gd name="T15" fmla="*/ 1371 h 1507"/>
                <a:gd name="T16" fmla="*/ 711 w 1506"/>
                <a:gd name="T17" fmla="*/ 1478 h 1507"/>
                <a:gd name="T18" fmla="*/ 555 w 1506"/>
                <a:gd name="T19" fmla="*/ 1355 h 1507"/>
                <a:gd name="T20" fmla="*/ 353 w 1506"/>
                <a:gd name="T21" fmla="*/ 1360 h 1507"/>
                <a:gd name="T22" fmla="*/ 280 w 1506"/>
                <a:gd name="T23" fmla="*/ 1178 h 1507"/>
                <a:gd name="T24" fmla="*/ 103 w 1506"/>
                <a:gd name="T25" fmla="*/ 1078 h 1507"/>
                <a:gd name="T26" fmla="*/ 128 w 1506"/>
                <a:gd name="T27" fmla="*/ 882 h 1507"/>
                <a:gd name="T28" fmla="*/ 30 w 1506"/>
                <a:gd name="T29" fmla="*/ 713 h 1507"/>
                <a:gd name="T30" fmla="*/ 153 w 1506"/>
                <a:gd name="T31" fmla="*/ 555 h 1507"/>
                <a:gd name="T32" fmla="*/ 148 w 1506"/>
                <a:gd name="T33" fmla="*/ 354 h 1507"/>
                <a:gd name="T34" fmla="*/ 330 w 1506"/>
                <a:gd name="T35" fmla="*/ 285 h 1507"/>
                <a:gd name="T36" fmla="*/ 422 w 1506"/>
                <a:gd name="T37" fmla="*/ 105 h 1507"/>
                <a:gd name="T38" fmla="*/ 624 w 1506"/>
                <a:gd name="T39" fmla="*/ 132 h 1507"/>
                <a:gd name="T40" fmla="*/ 791 w 1506"/>
                <a:gd name="T41" fmla="*/ 30 h 1507"/>
                <a:gd name="T42" fmla="*/ 951 w 1506"/>
                <a:gd name="T43" fmla="*/ 150 h 1507"/>
                <a:gd name="T44" fmla="*/ 1150 w 1506"/>
                <a:gd name="T45" fmla="*/ 153 h 1507"/>
                <a:gd name="T46" fmla="*/ 1217 w 1506"/>
                <a:gd name="T47" fmla="*/ 327 h 1507"/>
                <a:gd name="T48" fmla="*/ 1404 w 1506"/>
                <a:gd name="T49" fmla="*/ 408 h 1507"/>
                <a:gd name="T50" fmla="*/ 711 w 1506"/>
                <a:gd name="T51" fmla="*/ 459 h 1507"/>
                <a:gd name="T52" fmla="*/ 627 w 1506"/>
                <a:gd name="T53" fmla="*/ 632 h 1507"/>
                <a:gd name="T54" fmla="*/ 446 w 1506"/>
                <a:gd name="T55" fmla="*/ 646 h 1507"/>
                <a:gd name="T56" fmla="*/ 436 w 1506"/>
                <a:gd name="T57" fmla="*/ 722 h 1507"/>
                <a:gd name="T58" fmla="*/ 570 w 1506"/>
                <a:gd name="T59" fmla="*/ 855 h 1507"/>
                <a:gd name="T60" fmla="*/ 544 w 1506"/>
                <a:gd name="T61" fmla="*/ 1067 h 1507"/>
                <a:gd name="T62" fmla="*/ 729 w 1506"/>
                <a:gd name="T63" fmla="*/ 979 h 1507"/>
                <a:gd name="T64" fmla="*/ 908 w 1506"/>
                <a:gd name="T65" fmla="*/ 1066 h 1507"/>
                <a:gd name="T66" fmla="*/ 970 w 1506"/>
                <a:gd name="T67" fmla="*/ 1020 h 1507"/>
                <a:gd name="T68" fmla="*/ 936 w 1506"/>
                <a:gd name="T69" fmla="*/ 828 h 1507"/>
                <a:gd name="T70" fmla="*/ 1086 w 1506"/>
                <a:gd name="T71" fmla="*/ 672 h 1507"/>
                <a:gd name="T72" fmla="*/ 876 w 1506"/>
                <a:gd name="T73" fmla="*/ 633 h 1507"/>
                <a:gd name="T74" fmla="*/ 790 w 1506"/>
                <a:gd name="T75" fmla="*/ 459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6" h="1507">
                  <a:moveTo>
                    <a:pt x="1404" y="408"/>
                  </a:moveTo>
                  <a:cubicBezTo>
                    <a:pt x="1403" y="412"/>
                    <a:pt x="1401" y="420"/>
                    <a:pt x="1399" y="427"/>
                  </a:cubicBezTo>
                  <a:cubicBezTo>
                    <a:pt x="1384" y="470"/>
                    <a:pt x="1369" y="513"/>
                    <a:pt x="1354" y="555"/>
                  </a:cubicBezTo>
                  <a:cubicBezTo>
                    <a:pt x="1345" y="582"/>
                    <a:pt x="1349" y="604"/>
                    <a:pt x="1371" y="623"/>
                  </a:cubicBezTo>
                  <a:cubicBezTo>
                    <a:pt x="1406" y="652"/>
                    <a:pt x="1440" y="682"/>
                    <a:pt x="1474" y="713"/>
                  </a:cubicBezTo>
                  <a:cubicBezTo>
                    <a:pt x="1506" y="742"/>
                    <a:pt x="1506" y="766"/>
                    <a:pt x="1474" y="794"/>
                  </a:cubicBezTo>
                  <a:cubicBezTo>
                    <a:pt x="1440" y="823"/>
                    <a:pt x="1407" y="851"/>
                    <a:pt x="1373" y="879"/>
                  </a:cubicBezTo>
                  <a:cubicBezTo>
                    <a:pt x="1345" y="903"/>
                    <a:pt x="1341" y="917"/>
                    <a:pt x="1353" y="953"/>
                  </a:cubicBezTo>
                  <a:cubicBezTo>
                    <a:pt x="1367" y="994"/>
                    <a:pt x="1381" y="1036"/>
                    <a:pt x="1395" y="1077"/>
                  </a:cubicBezTo>
                  <a:cubicBezTo>
                    <a:pt x="1410" y="1119"/>
                    <a:pt x="1395" y="1143"/>
                    <a:pt x="1351" y="1151"/>
                  </a:cubicBezTo>
                  <a:cubicBezTo>
                    <a:pt x="1305" y="1160"/>
                    <a:pt x="1260" y="1170"/>
                    <a:pt x="1214" y="1179"/>
                  </a:cubicBezTo>
                  <a:cubicBezTo>
                    <a:pt x="1191" y="1183"/>
                    <a:pt x="1179" y="1198"/>
                    <a:pt x="1174" y="1220"/>
                  </a:cubicBezTo>
                  <a:cubicBezTo>
                    <a:pt x="1165" y="1267"/>
                    <a:pt x="1155" y="1314"/>
                    <a:pt x="1146" y="1361"/>
                  </a:cubicBezTo>
                  <a:cubicBezTo>
                    <a:pt x="1139" y="1398"/>
                    <a:pt x="1114" y="1413"/>
                    <a:pt x="1077" y="1400"/>
                  </a:cubicBezTo>
                  <a:cubicBezTo>
                    <a:pt x="1032" y="1385"/>
                    <a:pt x="988" y="1370"/>
                    <a:pt x="943" y="1355"/>
                  </a:cubicBezTo>
                  <a:cubicBezTo>
                    <a:pt x="918" y="1346"/>
                    <a:pt x="898" y="1351"/>
                    <a:pt x="881" y="1371"/>
                  </a:cubicBezTo>
                  <a:cubicBezTo>
                    <a:pt x="850" y="1406"/>
                    <a:pt x="819" y="1441"/>
                    <a:pt x="789" y="1477"/>
                  </a:cubicBezTo>
                  <a:cubicBezTo>
                    <a:pt x="763" y="1506"/>
                    <a:pt x="737" y="1507"/>
                    <a:pt x="711" y="1478"/>
                  </a:cubicBezTo>
                  <a:cubicBezTo>
                    <a:pt x="680" y="1443"/>
                    <a:pt x="650" y="1408"/>
                    <a:pt x="619" y="1373"/>
                  </a:cubicBezTo>
                  <a:cubicBezTo>
                    <a:pt x="600" y="1350"/>
                    <a:pt x="583" y="1346"/>
                    <a:pt x="555" y="1355"/>
                  </a:cubicBezTo>
                  <a:cubicBezTo>
                    <a:pt x="511" y="1370"/>
                    <a:pt x="467" y="1385"/>
                    <a:pt x="423" y="1400"/>
                  </a:cubicBezTo>
                  <a:cubicBezTo>
                    <a:pt x="384" y="1413"/>
                    <a:pt x="361" y="1400"/>
                    <a:pt x="353" y="1360"/>
                  </a:cubicBezTo>
                  <a:cubicBezTo>
                    <a:pt x="344" y="1316"/>
                    <a:pt x="335" y="1271"/>
                    <a:pt x="326" y="1226"/>
                  </a:cubicBezTo>
                  <a:cubicBezTo>
                    <a:pt x="321" y="1199"/>
                    <a:pt x="308" y="1183"/>
                    <a:pt x="280" y="1178"/>
                  </a:cubicBezTo>
                  <a:cubicBezTo>
                    <a:pt x="235" y="1169"/>
                    <a:pt x="191" y="1160"/>
                    <a:pt x="146" y="1151"/>
                  </a:cubicBezTo>
                  <a:cubicBezTo>
                    <a:pt x="104" y="1143"/>
                    <a:pt x="89" y="1118"/>
                    <a:pt x="103" y="1078"/>
                  </a:cubicBezTo>
                  <a:cubicBezTo>
                    <a:pt x="118" y="1035"/>
                    <a:pt x="133" y="992"/>
                    <a:pt x="147" y="949"/>
                  </a:cubicBezTo>
                  <a:cubicBezTo>
                    <a:pt x="158" y="918"/>
                    <a:pt x="153" y="903"/>
                    <a:pt x="128" y="882"/>
                  </a:cubicBezTo>
                  <a:cubicBezTo>
                    <a:pt x="96" y="854"/>
                    <a:pt x="63" y="825"/>
                    <a:pt x="30" y="797"/>
                  </a:cubicBezTo>
                  <a:cubicBezTo>
                    <a:pt x="1" y="771"/>
                    <a:pt x="0" y="739"/>
                    <a:pt x="30" y="713"/>
                  </a:cubicBezTo>
                  <a:cubicBezTo>
                    <a:pt x="64" y="682"/>
                    <a:pt x="100" y="652"/>
                    <a:pt x="135" y="621"/>
                  </a:cubicBezTo>
                  <a:cubicBezTo>
                    <a:pt x="159" y="600"/>
                    <a:pt x="163" y="585"/>
                    <a:pt x="153" y="555"/>
                  </a:cubicBezTo>
                  <a:cubicBezTo>
                    <a:pt x="138" y="512"/>
                    <a:pt x="123" y="469"/>
                    <a:pt x="108" y="425"/>
                  </a:cubicBezTo>
                  <a:cubicBezTo>
                    <a:pt x="94" y="386"/>
                    <a:pt x="107" y="363"/>
                    <a:pt x="148" y="354"/>
                  </a:cubicBezTo>
                  <a:cubicBezTo>
                    <a:pt x="195" y="345"/>
                    <a:pt x="241" y="336"/>
                    <a:pt x="287" y="327"/>
                  </a:cubicBezTo>
                  <a:cubicBezTo>
                    <a:pt x="311" y="322"/>
                    <a:pt x="325" y="308"/>
                    <a:pt x="330" y="285"/>
                  </a:cubicBezTo>
                  <a:cubicBezTo>
                    <a:pt x="340" y="237"/>
                    <a:pt x="349" y="190"/>
                    <a:pt x="358" y="142"/>
                  </a:cubicBezTo>
                  <a:cubicBezTo>
                    <a:pt x="365" y="109"/>
                    <a:pt x="389" y="94"/>
                    <a:pt x="422" y="105"/>
                  </a:cubicBezTo>
                  <a:cubicBezTo>
                    <a:pt x="466" y="120"/>
                    <a:pt x="509" y="135"/>
                    <a:pt x="553" y="151"/>
                  </a:cubicBezTo>
                  <a:cubicBezTo>
                    <a:pt x="586" y="162"/>
                    <a:pt x="601" y="158"/>
                    <a:pt x="624" y="132"/>
                  </a:cubicBezTo>
                  <a:cubicBezTo>
                    <a:pt x="654" y="98"/>
                    <a:pt x="683" y="63"/>
                    <a:pt x="713" y="29"/>
                  </a:cubicBezTo>
                  <a:cubicBezTo>
                    <a:pt x="740" y="0"/>
                    <a:pt x="764" y="0"/>
                    <a:pt x="791" y="30"/>
                  </a:cubicBezTo>
                  <a:cubicBezTo>
                    <a:pt x="821" y="63"/>
                    <a:pt x="850" y="98"/>
                    <a:pt x="880" y="132"/>
                  </a:cubicBezTo>
                  <a:cubicBezTo>
                    <a:pt x="903" y="158"/>
                    <a:pt x="918" y="162"/>
                    <a:pt x="951" y="150"/>
                  </a:cubicBezTo>
                  <a:cubicBezTo>
                    <a:pt x="991" y="137"/>
                    <a:pt x="1031" y="122"/>
                    <a:pt x="1071" y="108"/>
                  </a:cubicBezTo>
                  <a:cubicBezTo>
                    <a:pt x="1117" y="92"/>
                    <a:pt x="1141" y="106"/>
                    <a:pt x="1150" y="153"/>
                  </a:cubicBezTo>
                  <a:cubicBezTo>
                    <a:pt x="1159" y="198"/>
                    <a:pt x="1169" y="243"/>
                    <a:pt x="1177" y="288"/>
                  </a:cubicBezTo>
                  <a:cubicBezTo>
                    <a:pt x="1182" y="311"/>
                    <a:pt x="1196" y="323"/>
                    <a:pt x="1217" y="327"/>
                  </a:cubicBezTo>
                  <a:cubicBezTo>
                    <a:pt x="1264" y="337"/>
                    <a:pt x="1311" y="346"/>
                    <a:pt x="1358" y="355"/>
                  </a:cubicBezTo>
                  <a:cubicBezTo>
                    <a:pt x="1388" y="362"/>
                    <a:pt x="1403" y="377"/>
                    <a:pt x="1404" y="408"/>
                  </a:cubicBezTo>
                  <a:close/>
                  <a:moveTo>
                    <a:pt x="751" y="429"/>
                  </a:moveTo>
                  <a:cubicBezTo>
                    <a:pt x="730" y="431"/>
                    <a:pt x="718" y="441"/>
                    <a:pt x="711" y="459"/>
                  </a:cubicBezTo>
                  <a:cubicBezTo>
                    <a:pt x="690" y="512"/>
                    <a:pt x="669" y="565"/>
                    <a:pt x="646" y="617"/>
                  </a:cubicBezTo>
                  <a:cubicBezTo>
                    <a:pt x="643" y="624"/>
                    <a:pt x="634" y="631"/>
                    <a:pt x="627" y="632"/>
                  </a:cubicBezTo>
                  <a:cubicBezTo>
                    <a:pt x="597" y="636"/>
                    <a:pt x="566" y="637"/>
                    <a:pt x="535" y="639"/>
                  </a:cubicBezTo>
                  <a:cubicBezTo>
                    <a:pt x="505" y="641"/>
                    <a:pt x="475" y="642"/>
                    <a:pt x="446" y="646"/>
                  </a:cubicBezTo>
                  <a:cubicBezTo>
                    <a:pt x="418" y="650"/>
                    <a:pt x="404" y="679"/>
                    <a:pt x="417" y="702"/>
                  </a:cubicBezTo>
                  <a:cubicBezTo>
                    <a:pt x="422" y="710"/>
                    <a:pt x="429" y="716"/>
                    <a:pt x="436" y="722"/>
                  </a:cubicBezTo>
                  <a:cubicBezTo>
                    <a:pt x="478" y="758"/>
                    <a:pt x="520" y="793"/>
                    <a:pt x="562" y="828"/>
                  </a:cubicBezTo>
                  <a:cubicBezTo>
                    <a:pt x="572" y="836"/>
                    <a:pt x="573" y="843"/>
                    <a:pt x="570" y="855"/>
                  </a:cubicBezTo>
                  <a:cubicBezTo>
                    <a:pt x="556" y="908"/>
                    <a:pt x="544" y="962"/>
                    <a:pt x="530" y="1015"/>
                  </a:cubicBezTo>
                  <a:cubicBezTo>
                    <a:pt x="524" y="1035"/>
                    <a:pt x="525" y="1053"/>
                    <a:pt x="544" y="1067"/>
                  </a:cubicBezTo>
                  <a:cubicBezTo>
                    <a:pt x="562" y="1079"/>
                    <a:pt x="579" y="1074"/>
                    <a:pt x="595" y="1063"/>
                  </a:cubicBezTo>
                  <a:cubicBezTo>
                    <a:pt x="640" y="1035"/>
                    <a:pt x="685" y="1008"/>
                    <a:pt x="729" y="979"/>
                  </a:cubicBezTo>
                  <a:cubicBezTo>
                    <a:pt x="743" y="970"/>
                    <a:pt x="754" y="969"/>
                    <a:pt x="769" y="979"/>
                  </a:cubicBezTo>
                  <a:cubicBezTo>
                    <a:pt x="815" y="1009"/>
                    <a:pt x="862" y="1037"/>
                    <a:pt x="908" y="1066"/>
                  </a:cubicBezTo>
                  <a:cubicBezTo>
                    <a:pt x="924" y="1076"/>
                    <a:pt x="940" y="1078"/>
                    <a:pt x="956" y="1066"/>
                  </a:cubicBezTo>
                  <a:cubicBezTo>
                    <a:pt x="972" y="1055"/>
                    <a:pt x="975" y="1039"/>
                    <a:pt x="970" y="1020"/>
                  </a:cubicBezTo>
                  <a:cubicBezTo>
                    <a:pt x="956" y="964"/>
                    <a:pt x="943" y="908"/>
                    <a:pt x="928" y="852"/>
                  </a:cubicBezTo>
                  <a:cubicBezTo>
                    <a:pt x="925" y="841"/>
                    <a:pt x="927" y="835"/>
                    <a:pt x="936" y="828"/>
                  </a:cubicBezTo>
                  <a:cubicBezTo>
                    <a:pt x="977" y="794"/>
                    <a:pt x="1017" y="760"/>
                    <a:pt x="1058" y="726"/>
                  </a:cubicBezTo>
                  <a:cubicBezTo>
                    <a:pt x="1075" y="711"/>
                    <a:pt x="1095" y="699"/>
                    <a:pt x="1086" y="672"/>
                  </a:cubicBezTo>
                  <a:cubicBezTo>
                    <a:pt x="1076" y="643"/>
                    <a:pt x="1051" y="645"/>
                    <a:pt x="1028" y="643"/>
                  </a:cubicBezTo>
                  <a:cubicBezTo>
                    <a:pt x="978" y="640"/>
                    <a:pt x="927" y="636"/>
                    <a:pt x="876" y="633"/>
                  </a:cubicBezTo>
                  <a:cubicBezTo>
                    <a:pt x="864" y="633"/>
                    <a:pt x="858" y="628"/>
                    <a:pt x="854" y="616"/>
                  </a:cubicBezTo>
                  <a:cubicBezTo>
                    <a:pt x="833" y="564"/>
                    <a:pt x="811" y="511"/>
                    <a:pt x="790" y="459"/>
                  </a:cubicBezTo>
                  <a:cubicBezTo>
                    <a:pt x="783" y="440"/>
                    <a:pt x="770" y="430"/>
                    <a:pt x="751" y="429"/>
                  </a:cubicBezTo>
                  <a:close/>
                </a:path>
              </a:pathLst>
            </a:custGeom>
            <a:grpFill/>
            <a:ln>
              <a:noFill/>
            </a:ln>
          </p:spPr>
          <p:txBody>
            <a:bodyPr vert="horz" wrap="none" lIns="91440" tIns="45720" rIns="91440" bIns="45720" numCol="1" anchor="t" anchorCtr="0" compatLnSpc="1">
              <a:prstTxWarp prst="textNoShape">
                <a:avLst/>
              </a:prstTxWarp>
            </a:bodyPr>
            <a:lstStyle/>
            <a:p>
              <a:endParaRPr lang="en-US"/>
            </a:p>
          </p:txBody>
        </p:sp>
        <p:sp>
          <p:nvSpPr>
            <p:cNvPr id="1222" name="Oval 1221">
              <a:extLst>
                <a:ext uri="{FF2B5EF4-FFF2-40B4-BE49-F238E27FC236}">
                  <a16:creationId xmlns:a16="http://schemas.microsoft.com/office/drawing/2014/main" id="{60F7CA81-F938-BA2D-1951-E680FC9B4783}"/>
                </a:ext>
              </a:extLst>
            </p:cNvPr>
            <p:cNvSpPr/>
            <p:nvPr/>
          </p:nvSpPr>
          <p:spPr>
            <a:xfrm>
              <a:off x="2065844" y="1497583"/>
              <a:ext cx="477877" cy="323850"/>
            </a:xfrm>
            <a:prstGeom prst="ellipse">
              <a:avLst/>
            </a:prstGeom>
            <a:grpFill/>
          </p:spPr>
          <p:txBody>
            <a:bodyPr wrap="none" lIns="0" tIns="0" rIns="0" bIns="0" anchor="ctr">
              <a:noAutofit/>
            </a:bodyPr>
            <a:lstStyle/>
            <a:p>
              <a:pPr algn="ctr"/>
              <a:r>
                <a:rPr lang="en-US" sz="500" b="1"/>
                <a:t>5.4</a:t>
              </a:r>
              <a:endParaRPr lang="en-IN" sz="500" b="1"/>
            </a:p>
          </p:txBody>
        </p:sp>
      </p:grpSp>
      <p:graphicFrame>
        <p:nvGraphicFramePr>
          <p:cNvPr id="352" name="Chart 351">
            <a:extLst>
              <a:ext uri="{FF2B5EF4-FFF2-40B4-BE49-F238E27FC236}">
                <a16:creationId xmlns:a16="http://schemas.microsoft.com/office/drawing/2014/main" id="{82BDBA13-6C73-E060-A784-5FE2C3B1BFAE}"/>
              </a:ext>
            </a:extLst>
          </p:cNvPr>
          <p:cNvGraphicFramePr/>
          <p:nvPr>
            <p:extLst>
              <p:ext uri="{D42A27DB-BD31-4B8C-83A1-F6EECF244321}">
                <p14:modId xmlns:p14="http://schemas.microsoft.com/office/powerpoint/2010/main" val="3759634280"/>
              </p:ext>
            </p:extLst>
          </p:nvPr>
        </p:nvGraphicFramePr>
        <p:xfrm>
          <a:off x="339303" y="1898072"/>
          <a:ext cx="3200136" cy="2110510"/>
        </p:xfrm>
        <a:graphic>
          <a:graphicData uri="http://schemas.openxmlformats.org/drawingml/2006/chart">
            <c:chart xmlns:c="http://schemas.openxmlformats.org/drawingml/2006/chart" xmlns:r="http://schemas.openxmlformats.org/officeDocument/2006/relationships" r:id="rId24"/>
          </a:graphicData>
        </a:graphic>
      </p:graphicFrame>
      <p:grpSp>
        <p:nvGrpSpPr>
          <p:cNvPr id="2" name="Group 1">
            <a:extLst>
              <a:ext uri="{FF2B5EF4-FFF2-40B4-BE49-F238E27FC236}">
                <a16:creationId xmlns:a16="http://schemas.microsoft.com/office/drawing/2014/main" id="{9687B50D-4816-FCFA-CED7-71AF3FD1CDD5}"/>
              </a:ext>
            </a:extLst>
          </p:cNvPr>
          <p:cNvGrpSpPr/>
          <p:nvPr/>
        </p:nvGrpSpPr>
        <p:grpSpPr>
          <a:xfrm>
            <a:off x="2744535" y="4361014"/>
            <a:ext cx="989344" cy="747537"/>
            <a:chOff x="5071732" y="3099918"/>
            <a:chExt cx="2566104" cy="1938921"/>
          </a:xfrm>
        </p:grpSpPr>
        <p:grpSp>
          <p:nvGrpSpPr>
            <p:cNvPr id="5" name="Group 4">
              <a:extLst>
                <a:ext uri="{FF2B5EF4-FFF2-40B4-BE49-F238E27FC236}">
                  <a16:creationId xmlns:a16="http://schemas.microsoft.com/office/drawing/2014/main" id="{F6F3B830-4CD7-8BF9-230C-11832D85CA29}"/>
                </a:ext>
              </a:extLst>
            </p:cNvPr>
            <p:cNvGrpSpPr/>
            <p:nvPr/>
          </p:nvGrpSpPr>
          <p:grpSpPr>
            <a:xfrm>
              <a:off x="5071732" y="3099918"/>
              <a:ext cx="1862165" cy="1508053"/>
              <a:chOff x="12309998" y="223636"/>
              <a:chExt cx="5740739" cy="4649072"/>
            </a:xfrm>
          </p:grpSpPr>
          <p:sp>
            <p:nvSpPr>
              <p:cNvPr id="17" name="Graphic 38">
                <a:extLst>
                  <a:ext uri="{FF2B5EF4-FFF2-40B4-BE49-F238E27FC236}">
                    <a16:creationId xmlns:a16="http://schemas.microsoft.com/office/drawing/2014/main" id="{EF3E2F8E-6053-C6AF-DB83-0107186D6F0A}"/>
                  </a:ext>
                </a:extLst>
              </p:cNvPr>
              <p:cNvSpPr/>
              <p:nvPr/>
            </p:nvSpPr>
            <p:spPr>
              <a:xfrm>
                <a:off x="14246936" y="3810940"/>
                <a:ext cx="1759554" cy="888718"/>
              </a:xfrm>
              <a:custGeom>
                <a:avLst/>
                <a:gdLst>
                  <a:gd name="connsiteX0" fmla="*/ 0 w 1759554"/>
                  <a:gd name="connsiteY0" fmla="*/ 0 h 888718"/>
                  <a:gd name="connsiteX1" fmla="*/ 1759554 w 1759554"/>
                  <a:gd name="connsiteY1" fmla="*/ 0 h 888718"/>
                  <a:gd name="connsiteX2" fmla="*/ 1759554 w 1759554"/>
                  <a:gd name="connsiteY2" fmla="*/ 888719 h 888718"/>
                  <a:gd name="connsiteX3" fmla="*/ 0 w 1759554"/>
                  <a:gd name="connsiteY3" fmla="*/ 888719 h 888718"/>
                </a:gdLst>
                <a:ahLst/>
                <a:cxnLst>
                  <a:cxn ang="0">
                    <a:pos x="connsiteX0" y="connsiteY0"/>
                  </a:cxn>
                  <a:cxn ang="0">
                    <a:pos x="connsiteX1" y="connsiteY1"/>
                  </a:cxn>
                  <a:cxn ang="0">
                    <a:pos x="connsiteX2" y="connsiteY2"/>
                  </a:cxn>
                  <a:cxn ang="0">
                    <a:pos x="connsiteX3" y="connsiteY3"/>
                  </a:cxn>
                </a:cxnLst>
                <a:rect l="l" t="t" r="r" b="b"/>
                <a:pathLst>
                  <a:path w="1759554" h="888718">
                    <a:moveTo>
                      <a:pt x="0" y="0"/>
                    </a:moveTo>
                    <a:lnTo>
                      <a:pt x="1759554" y="0"/>
                    </a:lnTo>
                    <a:lnTo>
                      <a:pt x="1759554" y="888719"/>
                    </a:lnTo>
                    <a:lnTo>
                      <a:pt x="0" y="888719"/>
                    </a:lnTo>
                    <a:close/>
                  </a:path>
                </a:pathLst>
              </a:custGeom>
              <a:solidFill>
                <a:schemeClr val="bg1">
                  <a:lumMod val="50000"/>
                </a:schemeClr>
              </a:solidFill>
              <a:ln w="2907" cap="flat">
                <a:noFill/>
                <a:prstDash val="solid"/>
                <a:miter/>
              </a:ln>
            </p:spPr>
            <p:txBody>
              <a:bodyPr rtlCol="0" anchor="ctr"/>
              <a:lstStyle/>
              <a:p>
                <a:endParaRPr lang="en-US" sz="800"/>
              </a:p>
            </p:txBody>
          </p:sp>
          <p:sp>
            <p:nvSpPr>
              <p:cNvPr id="18" name="Graphic 38">
                <a:extLst>
                  <a:ext uri="{FF2B5EF4-FFF2-40B4-BE49-F238E27FC236}">
                    <a16:creationId xmlns:a16="http://schemas.microsoft.com/office/drawing/2014/main" id="{4D2D7F67-12F3-856A-5A05-1C2BCA63D12C}"/>
                  </a:ext>
                </a:extLst>
              </p:cNvPr>
              <p:cNvSpPr/>
              <p:nvPr/>
            </p:nvSpPr>
            <p:spPr>
              <a:xfrm>
                <a:off x="14243824" y="3807944"/>
                <a:ext cx="1765692" cy="894739"/>
              </a:xfrm>
              <a:custGeom>
                <a:avLst/>
                <a:gdLst>
                  <a:gd name="connsiteX0" fmla="*/ 1764711 w 1765692"/>
                  <a:gd name="connsiteY0" fmla="*/ 894201 h 894739"/>
                  <a:gd name="connsiteX1" fmla="*/ -981 w 1765692"/>
                  <a:gd name="connsiteY1" fmla="*/ 894201 h 894739"/>
                  <a:gd name="connsiteX2" fmla="*/ -981 w 1765692"/>
                  <a:gd name="connsiteY2" fmla="*/ -539 h 894739"/>
                  <a:gd name="connsiteX3" fmla="*/ 1764711 w 1765692"/>
                  <a:gd name="connsiteY3" fmla="*/ -539 h 894739"/>
                  <a:gd name="connsiteX4" fmla="*/ 5156 w 1765692"/>
                  <a:gd name="connsiteY4" fmla="*/ 888151 h 894739"/>
                  <a:gd name="connsiteX5" fmla="*/ 1758718 w 1765692"/>
                  <a:gd name="connsiteY5" fmla="*/ 888151 h 894739"/>
                  <a:gd name="connsiteX6" fmla="*/ 1758718 w 1765692"/>
                  <a:gd name="connsiteY6" fmla="*/ 5482 h 894739"/>
                  <a:gd name="connsiteX7" fmla="*/ 5156 w 1765692"/>
                  <a:gd name="connsiteY7" fmla="*/ 5482 h 89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5692" h="894739">
                    <a:moveTo>
                      <a:pt x="1764711" y="894201"/>
                    </a:moveTo>
                    <a:lnTo>
                      <a:pt x="-981" y="894201"/>
                    </a:lnTo>
                    <a:lnTo>
                      <a:pt x="-981" y="-539"/>
                    </a:lnTo>
                    <a:lnTo>
                      <a:pt x="1764711" y="-539"/>
                    </a:lnTo>
                    <a:close/>
                    <a:moveTo>
                      <a:pt x="5156" y="888151"/>
                    </a:moveTo>
                    <a:lnTo>
                      <a:pt x="1758718" y="888151"/>
                    </a:lnTo>
                    <a:lnTo>
                      <a:pt x="1758718" y="5482"/>
                    </a:lnTo>
                    <a:lnTo>
                      <a:pt x="5156" y="5482"/>
                    </a:lnTo>
                    <a:close/>
                  </a:path>
                </a:pathLst>
              </a:custGeom>
              <a:solidFill>
                <a:srgbClr val="D2DEFF"/>
              </a:solidFill>
              <a:ln w="2907" cap="flat">
                <a:noFill/>
                <a:prstDash val="solid"/>
                <a:miter/>
              </a:ln>
            </p:spPr>
            <p:txBody>
              <a:bodyPr rtlCol="0" anchor="ctr"/>
              <a:lstStyle/>
              <a:p>
                <a:endParaRPr lang="en-US" sz="800"/>
              </a:p>
            </p:txBody>
          </p:sp>
          <p:sp>
            <p:nvSpPr>
              <p:cNvPr id="19" name="Graphic 38">
                <a:extLst>
                  <a:ext uri="{FF2B5EF4-FFF2-40B4-BE49-F238E27FC236}">
                    <a16:creationId xmlns:a16="http://schemas.microsoft.com/office/drawing/2014/main" id="{880803F8-0055-9E4A-BAFC-4C410224AC60}"/>
                  </a:ext>
                </a:extLst>
              </p:cNvPr>
              <p:cNvSpPr/>
              <p:nvPr/>
            </p:nvSpPr>
            <p:spPr>
              <a:xfrm>
                <a:off x="13528616" y="4591583"/>
                <a:ext cx="3131848" cy="278071"/>
              </a:xfrm>
              <a:custGeom>
                <a:avLst/>
                <a:gdLst>
                  <a:gd name="connsiteX0" fmla="*/ 77638 w 3131848"/>
                  <a:gd name="connsiteY0" fmla="*/ 0 h 278071"/>
                  <a:gd name="connsiteX1" fmla="*/ 3054182 w 3131848"/>
                  <a:gd name="connsiteY1" fmla="*/ 0 h 278071"/>
                  <a:gd name="connsiteX2" fmla="*/ 3131849 w 3131848"/>
                  <a:gd name="connsiteY2" fmla="*/ 77654 h 278071"/>
                  <a:gd name="connsiteX3" fmla="*/ 3131849 w 3131848"/>
                  <a:gd name="connsiteY3" fmla="*/ 278072 h 278071"/>
                  <a:gd name="connsiteX4" fmla="*/ 3131849 w 3131848"/>
                  <a:gd name="connsiteY4" fmla="*/ 278072 h 278071"/>
                  <a:gd name="connsiteX5" fmla="*/ 0 w 3131848"/>
                  <a:gd name="connsiteY5" fmla="*/ 278072 h 278071"/>
                  <a:gd name="connsiteX6" fmla="*/ 0 w 3131848"/>
                  <a:gd name="connsiteY6" fmla="*/ 278072 h 278071"/>
                  <a:gd name="connsiteX7" fmla="*/ 0 w 3131848"/>
                  <a:gd name="connsiteY7" fmla="*/ 77654 h 278071"/>
                  <a:gd name="connsiteX8" fmla="*/ 77638 w 3131848"/>
                  <a:gd name="connsiteY8" fmla="*/ 0 h 278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31848" h="278071">
                    <a:moveTo>
                      <a:pt x="77638" y="0"/>
                    </a:moveTo>
                    <a:lnTo>
                      <a:pt x="3054182" y="0"/>
                    </a:lnTo>
                    <a:cubicBezTo>
                      <a:pt x="3097088" y="0"/>
                      <a:pt x="3131849" y="34755"/>
                      <a:pt x="3131849" y="77654"/>
                    </a:cubicBezTo>
                    <a:lnTo>
                      <a:pt x="3131849" y="278072"/>
                    </a:lnTo>
                    <a:lnTo>
                      <a:pt x="3131849" y="278072"/>
                    </a:lnTo>
                    <a:lnTo>
                      <a:pt x="0" y="278072"/>
                    </a:lnTo>
                    <a:lnTo>
                      <a:pt x="0" y="278072"/>
                    </a:lnTo>
                    <a:lnTo>
                      <a:pt x="0" y="77654"/>
                    </a:lnTo>
                    <a:cubicBezTo>
                      <a:pt x="0" y="34784"/>
                      <a:pt x="34755" y="29"/>
                      <a:pt x="77638" y="0"/>
                    </a:cubicBezTo>
                    <a:close/>
                  </a:path>
                </a:pathLst>
              </a:custGeom>
              <a:solidFill>
                <a:schemeClr val="bg1">
                  <a:lumMod val="50000"/>
                </a:schemeClr>
              </a:solidFill>
              <a:ln w="2907" cap="flat">
                <a:noFill/>
                <a:prstDash val="solid"/>
                <a:miter/>
              </a:ln>
            </p:spPr>
            <p:txBody>
              <a:bodyPr rtlCol="0" anchor="ctr"/>
              <a:lstStyle/>
              <a:p>
                <a:endParaRPr lang="en-US" sz="800"/>
              </a:p>
            </p:txBody>
          </p:sp>
          <p:sp>
            <p:nvSpPr>
              <p:cNvPr id="20" name="Graphic 38">
                <a:extLst>
                  <a:ext uri="{FF2B5EF4-FFF2-40B4-BE49-F238E27FC236}">
                    <a16:creationId xmlns:a16="http://schemas.microsoft.com/office/drawing/2014/main" id="{9A596EFE-7D6C-CB89-90B7-13C8C062530C}"/>
                  </a:ext>
                </a:extLst>
              </p:cNvPr>
              <p:cNvSpPr/>
              <p:nvPr/>
            </p:nvSpPr>
            <p:spPr>
              <a:xfrm>
                <a:off x="13525591" y="4588587"/>
                <a:ext cx="3137899" cy="284121"/>
              </a:xfrm>
              <a:custGeom>
                <a:avLst/>
                <a:gdLst>
                  <a:gd name="connsiteX0" fmla="*/ 3136918 w 3137899"/>
                  <a:gd name="connsiteY0" fmla="*/ 283582 h 284121"/>
                  <a:gd name="connsiteX1" fmla="*/ -981 w 3137899"/>
                  <a:gd name="connsiteY1" fmla="*/ 283582 h 284121"/>
                  <a:gd name="connsiteX2" fmla="*/ -981 w 3137899"/>
                  <a:gd name="connsiteY2" fmla="*/ 180800 h 284121"/>
                  <a:gd name="connsiteX3" fmla="*/ 180417 w 3137899"/>
                  <a:gd name="connsiteY3" fmla="*/ -539 h 284121"/>
                  <a:gd name="connsiteX4" fmla="*/ 2955491 w 3137899"/>
                  <a:gd name="connsiteY4" fmla="*/ -539 h 284121"/>
                  <a:gd name="connsiteX5" fmla="*/ 3136889 w 3137899"/>
                  <a:gd name="connsiteY5" fmla="*/ 180800 h 284121"/>
                  <a:gd name="connsiteX6" fmla="*/ 5069 w 3137899"/>
                  <a:gd name="connsiteY6" fmla="*/ 277534 h 284121"/>
                  <a:gd name="connsiteX7" fmla="*/ 3130868 w 3137899"/>
                  <a:gd name="connsiteY7" fmla="*/ 277534 h 284121"/>
                  <a:gd name="connsiteX8" fmla="*/ 3130868 w 3137899"/>
                  <a:gd name="connsiteY8" fmla="*/ 180800 h 284121"/>
                  <a:gd name="connsiteX9" fmla="*/ 2955520 w 3137899"/>
                  <a:gd name="connsiteY9" fmla="*/ 5511 h 284121"/>
                  <a:gd name="connsiteX10" fmla="*/ 180446 w 3137899"/>
                  <a:gd name="connsiteY10" fmla="*/ 5511 h 284121"/>
                  <a:gd name="connsiteX11" fmla="*/ 5098 w 3137899"/>
                  <a:gd name="connsiteY11" fmla="*/ 180800 h 28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37899" h="284121">
                    <a:moveTo>
                      <a:pt x="3136918" y="283582"/>
                    </a:moveTo>
                    <a:lnTo>
                      <a:pt x="-981" y="283582"/>
                    </a:lnTo>
                    <a:lnTo>
                      <a:pt x="-981" y="180800"/>
                    </a:lnTo>
                    <a:cubicBezTo>
                      <a:pt x="-865" y="80693"/>
                      <a:pt x="80293" y="-451"/>
                      <a:pt x="180417" y="-539"/>
                    </a:cubicBezTo>
                    <a:lnTo>
                      <a:pt x="2955491" y="-539"/>
                    </a:lnTo>
                    <a:cubicBezTo>
                      <a:pt x="3055615" y="-451"/>
                      <a:pt x="3136773" y="80693"/>
                      <a:pt x="3136889" y="180800"/>
                    </a:cubicBezTo>
                    <a:close/>
                    <a:moveTo>
                      <a:pt x="5069" y="277534"/>
                    </a:moveTo>
                    <a:lnTo>
                      <a:pt x="3130868" y="277534"/>
                    </a:lnTo>
                    <a:lnTo>
                      <a:pt x="3130868" y="180800"/>
                    </a:lnTo>
                    <a:cubicBezTo>
                      <a:pt x="3130751" y="84038"/>
                      <a:pt x="3052299" y="5598"/>
                      <a:pt x="2955520" y="5511"/>
                    </a:cubicBezTo>
                    <a:lnTo>
                      <a:pt x="180446" y="5511"/>
                    </a:lnTo>
                    <a:cubicBezTo>
                      <a:pt x="83667" y="5598"/>
                      <a:pt x="5215" y="84038"/>
                      <a:pt x="5098" y="180800"/>
                    </a:cubicBezTo>
                    <a:close/>
                  </a:path>
                </a:pathLst>
              </a:custGeom>
              <a:solidFill>
                <a:srgbClr val="D2DEFF"/>
              </a:solidFill>
              <a:ln w="2907" cap="flat">
                <a:noFill/>
                <a:prstDash val="solid"/>
                <a:miter/>
              </a:ln>
            </p:spPr>
            <p:txBody>
              <a:bodyPr rtlCol="0" anchor="ctr"/>
              <a:lstStyle/>
              <a:p>
                <a:endParaRPr lang="en-US" sz="800"/>
              </a:p>
            </p:txBody>
          </p:sp>
          <p:sp>
            <p:nvSpPr>
              <p:cNvPr id="21" name="Graphic 38">
                <a:extLst>
                  <a:ext uri="{FF2B5EF4-FFF2-40B4-BE49-F238E27FC236}">
                    <a16:creationId xmlns:a16="http://schemas.microsoft.com/office/drawing/2014/main" id="{97ED7F45-D9B4-503B-8831-86BE9766B0A5}"/>
                  </a:ext>
                </a:extLst>
              </p:cNvPr>
              <p:cNvSpPr/>
              <p:nvPr/>
            </p:nvSpPr>
            <p:spPr>
              <a:xfrm>
                <a:off x="12313343" y="226864"/>
                <a:ext cx="5734048" cy="3719956"/>
              </a:xfrm>
              <a:custGeom>
                <a:avLst/>
                <a:gdLst>
                  <a:gd name="connsiteX0" fmla="*/ 5676889 w 5734048"/>
                  <a:gd name="connsiteY0" fmla="*/ 0 h 3719956"/>
                  <a:gd name="connsiteX1" fmla="*/ 5734049 w 5734048"/>
                  <a:gd name="connsiteY1" fmla="*/ 0 h 3719956"/>
                  <a:gd name="connsiteX2" fmla="*/ 5734049 w 5734048"/>
                  <a:gd name="connsiteY2" fmla="*/ 3719956 h 3719956"/>
                  <a:gd name="connsiteX3" fmla="*/ 5676889 w 5734048"/>
                  <a:gd name="connsiteY3" fmla="*/ 3719956 h 3719956"/>
                  <a:gd name="connsiteX4" fmla="*/ 57160 w 5734048"/>
                  <a:gd name="connsiteY4" fmla="*/ 3719956 h 3719956"/>
                  <a:gd name="connsiteX5" fmla="*/ 0 w 5734048"/>
                  <a:gd name="connsiteY5" fmla="*/ 3719956 h 3719956"/>
                  <a:gd name="connsiteX6" fmla="*/ 0 w 5734048"/>
                  <a:gd name="connsiteY6" fmla="*/ 0 h 3719956"/>
                  <a:gd name="connsiteX7" fmla="*/ 57160 w 5734048"/>
                  <a:gd name="connsiteY7" fmla="*/ 0 h 371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34048" h="3719956">
                    <a:moveTo>
                      <a:pt x="5676889" y="0"/>
                    </a:moveTo>
                    <a:cubicBezTo>
                      <a:pt x="5708458" y="0"/>
                      <a:pt x="5734049" y="0"/>
                      <a:pt x="5734049" y="0"/>
                    </a:cubicBezTo>
                    <a:lnTo>
                      <a:pt x="5734049" y="3719956"/>
                    </a:lnTo>
                    <a:cubicBezTo>
                      <a:pt x="5734049" y="3719956"/>
                      <a:pt x="5708458" y="3719956"/>
                      <a:pt x="5676889" y="3719956"/>
                    </a:cubicBezTo>
                    <a:lnTo>
                      <a:pt x="57160" y="3719956"/>
                    </a:lnTo>
                    <a:cubicBezTo>
                      <a:pt x="25591" y="3719956"/>
                      <a:pt x="0" y="3719956"/>
                      <a:pt x="0" y="3719956"/>
                    </a:cubicBezTo>
                    <a:lnTo>
                      <a:pt x="0" y="0"/>
                    </a:lnTo>
                    <a:cubicBezTo>
                      <a:pt x="0" y="0"/>
                      <a:pt x="25591" y="0"/>
                      <a:pt x="57160" y="0"/>
                    </a:cubicBezTo>
                    <a:close/>
                  </a:path>
                </a:pathLst>
              </a:custGeom>
              <a:solidFill>
                <a:schemeClr val="tx1"/>
              </a:solidFill>
              <a:ln w="2907" cap="flat">
                <a:noFill/>
                <a:prstDash val="solid"/>
                <a:miter/>
              </a:ln>
            </p:spPr>
            <p:txBody>
              <a:bodyPr rtlCol="0" anchor="ctr"/>
              <a:lstStyle/>
              <a:p>
                <a:endParaRPr lang="en-US" sz="800"/>
              </a:p>
            </p:txBody>
          </p:sp>
          <p:sp>
            <p:nvSpPr>
              <p:cNvPr id="26" name="Graphic 38">
                <a:extLst>
                  <a:ext uri="{FF2B5EF4-FFF2-40B4-BE49-F238E27FC236}">
                    <a16:creationId xmlns:a16="http://schemas.microsoft.com/office/drawing/2014/main" id="{E908BB02-C086-BE34-15F9-993F76BF5A9D}"/>
                  </a:ext>
                </a:extLst>
              </p:cNvPr>
              <p:cNvSpPr/>
              <p:nvPr/>
            </p:nvSpPr>
            <p:spPr>
              <a:xfrm>
                <a:off x="12309998" y="223636"/>
                <a:ext cx="5740739" cy="3726528"/>
              </a:xfrm>
              <a:custGeom>
                <a:avLst/>
                <a:gdLst>
                  <a:gd name="connsiteX0" fmla="*/ 5605106 w 5740739"/>
                  <a:gd name="connsiteY0" fmla="*/ 3725990 h 3726528"/>
                  <a:gd name="connsiteX1" fmla="*/ 133671 w 5740739"/>
                  <a:gd name="connsiteY1" fmla="*/ 3725990 h 3726528"/>
                  <a:gd name="connsiteX2" fmla="*/ -981 w 5740739"/>
                  <a:gd name="connsiteY2" fmla="*/ 3591361 h 3726528"/>
                  <a:gd name="connsiteX3" fmla="*/ -981 w 5740739"/>
                  <a:gd name="connsiteY3" fmla="*/ 134120 h 3726528"/>
                  <a:gd name="connsiteX4" fmla="*/ 133671 w 5740739"/>
                  <a:gd name="connsiteY4" fmla="*/ -539 h 3726528"/>
                  <a:gd name="connsiteX5" fmla="*/ 5605106 w 5740739"/>
                  <a:gd name="connsiteY5" fmla="*/ -539 h 3726528"/>
                  <a:gd name="connsiteX6" fmla="*/ 5739758 w 5740739"/>
                  <a:gd name="connsiteY6" fmla="*/ 134120 h 3726528"/>
                  <a:gd name="connsiteX7" fmla="*/ 5739758 w 5740739"/>
                  <a:gd name="connsiteY7" fmla="*/ 3591361 h 3726528"/>
                  <a:gd name="connsiteX8" fmla="*/ 5605106 w 5740739"/>
                  <a:gd name="connsiteY8" fmla="*/ 3725990 h 3726528"/>
                  <a:gd name="connsiteX9" fmla="*/ 133671 w 5740739"/>
                  <a:gd name="connsiteY9" fmla="*/ 6151 h 3726528"/>
                  <a:gd name="connsiteX10" fmla="*/ 5680 w 5740739"/>
                  <a:gd name="connsiteY10" fmla="*/ 134120 h 3726528"/>
                  <a:gd name="connsiteX11" fmla="*/ 5680 w 5740739"/>
                  <a:gd name="connsiteY11" fmla="*/ 3591361 h 3726528"/>
                  <a:gd name="connsiteX12" fmla="*/ 133671 w 5740739"/>
                  <a:gd name="connsiteY12" fmla="*/ 3719330 h 3726528"/>
                  <a:gd name="connsiteX13" fmla="*/ 5605106 w 5740739"/>
                  <a:gd name="connsiteY13" fmla="*/ 3719330 h 3726528"/>
                  <a:gd name="connsiteX14" fmla="*/ 5733097 w 5740739"/>
                  <a:gd name="connsiteY14" fmla="*/ 3591361 h 3726528"/>
                  <a:gd name="connsiteX15" fmla="*/ 5733097 w 5740739"/>
                  <a:gd name="connsiteY15" fmla="*/ 134120 h 3726528"/>
                  <a:gd name="connsiteX16" fmla="*/ 5605106 w 5740739"/>
                  <a:gd name="connsiteY16" fmla="*/ 6151 h 372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40739" h="3726528">
                    <a:moveTo>
                      <a:pt x="5605106" y="3725990"/>
                    </a:moveTo>
                    <a:lnTo>
                      <a:pt x="133671" y="3725990"/>
                    </a:lnTo>
                    <a:cubicBezTo>
                      <a:pt x="59349" y="3725903"/>
                      <a:pt x="-894" y="3665670"/>
                      <a:pt x="-981" y="3591361"/>
                    </a:cubicBezTo>
                    <a:lnTo>
                      <a:pt x="-981" y="134120"/>
                    </a:lnTo>
                    <a:cubicBezTo>
                      <a:pt x="-894" y="59796"/>
                      <a:pt x="59320" y="-443"/>
                      <a:pt x="133671" y="-539"/>
                    </a:cubicBezTo>
                    <a:lnTo>
                      <a:pt x="5605106" y="-539"/>
                    </a:lnTo>
                    <a:cubicBezTo>
                      <a:pt x="5679457" y="-443"/>
                      <a:pt x="5739671" y="59796"/>
                      <a:pt x="5739758" y="134120"/>
                    </a:cubicBezTo>
                    <a:lnTo>
                      <a:pt x="5739758" y="3591361"/>
                    </a:lnTo>
                    <a:cubicBezTo>
                      <a:pt x="5739671" y="3665670"/>
                      <a:pt x="5679428" y="3725903"/>
                      <a:pt x="5605106" y="3725990"/>
                    </a:cubicBezTo>
                    <a:close/>
                    <a:moveTo>
                      <a:pt x="133671" y="6151"/>
                    </a:moveTo>
                    <a:cubicBezTo>
                      <a:pt x="62985" y="6151"/>
                      <a:pt x="5680" y="63443"/>
                      <a:pt x="5680" y="134120"/>
                    </a:cubicBezTo>
                    <a:lnTo>
                      <a:pt x="5680" y="3591361"/>
                    </a:lnTo>
                    <a:cubicBezTo>
                      <a:pt x="5680" y="3662035"/>
                      <a:pt x="62985" y="3719330"/>
                      <a:pt x="133671" y="3719330"/>
                    </a:cubicBezTo>
                    <a:lnTo>
                      <a:pt x="5605106" y="3719330"/>
                    </a:lnTo>
                    <a:cubicBezTo>
                      <a:pt x="5675792" y="3719330"/>
                      <a:pt x="5733097" y="3662035"/>
                      <a:pt x="5733097" y="3591361"/>
                    </a:cubicBezTo>
                    <a:lnTo>
                      <a:pt x="5733097" y="134120"/>
                    </a:lnTo>
                    <a:cubicBezTo>
                      <a:pt x="5733097" y="63443"/>
                      <a:pt x="5675792" y="6151"/>
                      <a:pt x="5605106" y="6151"/>
                    </a:cubicBezTo>
                    <a:close/>
                  </a:path>
                </a:pathLst>
              </a:custGeom>
              <a:solidFill>
                <a:srgbClr val="4053A7"/>
              </a:solidFill>
              <a:ln w="2907" cap="flat">
                <a:noFill/>
                <a:prstDash val="solid"/>
                <a:miter/>
              </a:ln>
            </p:spPr>
            <p:txBody>
              <a:bodyPr rtlCol="0" anchor="ctr"/>
              <a:lstStyle/>
              <a:p>
                <a:endParaRPr lang="en-US" sz="800"/>
              </a:p>
            </p:txBody>
          </p:sp>
          <p:sp>
            <p:nvSpPr>
              <p:cNvPr id="28" name="Graphic 38">
                <a:extLst>
                  <a:ext uri="{FF2B5EF4-FFF2-40B4-BE49-F238E27FC236}">
                    <a16:creationId xmlns:a16="http://schemas.microsoft.com/office/drawing/2014/main" id="{A64725A4-8F48-3833-6867-01435C679D67}"/>
                  </a:ext>
                </a:extLst>
              </p:cNvPr>
              <p:cNvSpPr/>
              <p:nvPr/>
            </p:nvSpPr>
            <p:spPr>
              <a:xfrm>
                <a:off x="12408027" y="490976"/>
                <a:ext cx="5570772" cy="3398810"/>
              </a:xfrm>
              <a:custGeom>
                <a:avLst/>
                <a:gdLst>
                  <a:gd name="connsiteX0" fmla="*/ 5508610 w 5570772"/>
                  <a:gd name="connsiteY0" fmla="*/ 0 h 3398810"/>
                  <a:gd name="connsiteX1" fmla="*/ 5570773 w 5570772"/>
                  <a:gd name="connsiteY1" fmla="*/ 0 h 3398810"/>
                  <a:gd name="connsiteX2" fmla="*/ 5570773 w 5570772"/>
                  <a:gd name="connsiteY2" fmla="*/ 3398811 h 3398810"/>
                  <a:gd name="connsiteX3" fmla="*/ 5508610 w 5570772"/>
                  <a:gd name="connsiteY3" fmla="*/ 3398811 h 3398810"/>
                  <a:gd name="connsiteX4" fmla="*/ 62163 w 5570772"/>
                  <a:gd name="connsiteY4" fmla="*/ 3398811 h 3398810"/>
                  <a:gd name="connsiteX5" fmla="*/ 0 w 5570772"/>
                  <a:gd name="connsiteY5" fmla="*/ 3398811 h 3398810"/>
                  <a:gd name="connsiteX6" fmla="*/ 0 w 5570772"/>
                  <a:gd name="connsiteY6" fmla="*/ 0 h 3398810"/>
                  <a:gd name="connsiteX7" fmla="*/ 62163 w 5570772"/>
                  <a:gd name="connsiteY7" fmla="*/ 0 h 339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70772" h="3398810">
                    <a:moveTo>
                      <a:pt x="5508610" y="0"/>
                    </a:moveTo>
                    <a:cubicBezTo>
                      <a:pt x="5542942" y="0"/>
                      <a:pt x="5570773" y="0"/>
                      <a:pt x="5570773" y="0"/>
                    </a:cubicBezTo>
                    <a:lnTo>
                      <a:pt x="5570773" y="3398811"/>
                    </a:lnTo>
                    <a:cubicBezTo>
                      <a:pt x="5570773" y="3398811"/>
                      <a:pt x="5542942" y="3398811"/>
                      <a:pt x="5508610" y="3398811"/>
                    </a:cubicBezTo>
                    <a:lnTo>
                      <a:pt x="62163" y="3398811"/>
                    </a:lnTo>
                    <a:cubicBezTo>
                      <a:pt x="27831" y="3398811"/>
                      <a:pt x="0" y="3398811"/>
                      <a:pt x="0" y="3398811"/>
                    </a:cubicBezTo>
                    <a:lnTo>
                      <a:pt x="0" y="0"/>
                    </a:lnTo>
                    <a:cubicBezTo>
                      <a:pt x="0" y="0"/>
                      <a:pt x="27831" y="0"/>
                      <a:pt x="62163" y="0"/>
                    </a:cubicBezTo>
                    <a:close/>
                  </a:path>
                </a:pathLst>
              </a:custGeom>
              <a:solidFill>
                <a:srgbClr val="FFFFFF"/>
              </a:solidFill>
              <a:ln w="2907" cap="flat">
                <a:noFill/>
                <a:prstDash val="solid"/>
                <a:miter/>
              </a:ln>
            </p:spPr>
            <p:txBody>
              <a:bodyPr rtlCol="0" anchor="ctr"/>
              <a:lstStyle/>
              <a:p>
                <a:endParaRPr lang="en-US" sz="800"/>
              </a:p>
            </p:txBody>
          </p:sp>
          <p:sp>
            <p:nvSpPr>
              <p:cNvPr id="29" name="Graphic 38">
                <a:extLst>
                  <a:ext uri="{FF2B5EF4-FFF2-40B4-BE49-F238E27FC236}">
                    <a16:creationId xmlns:a16="http://schemas.microsoft.com/office/drawing/2014/main" id="{8FCEAC61-A84B-0533-01E3-D77CFB212965}"/>
                  </a:ext>
                </a:extLst>
              </p:cNvPr>
              <p:cNvSpPr/>
              <p:nvPr/>
            </p:nvSpPr>
            <p:spPr>
              <a:xfrm>
                <a:off x="12405904" y="488969"/>
                <a:ext cx="5574990" cy="3402853"/>
              </a:xfrm>
              <a:custGeom>
                <a:avLst/>
                <a:gdLst>
                  <a:gd name="connsiteX0" fmla="*/ 5429235 w 5574990"/>
                  <a:gd name="connsiteY0" fmla="*/ 3402315 h 3402853"/>
                  <a:gd name="connsiteX1" fmla="*/ 143794 w 5574990"/>
                  <a:gd name="connsiteY1" fmla="*/ 3402315 h 3402853"/>
                  <a:gd name="connsiteX2" fmla="*/ -981 w 5574990"/>
                  <a:gd name="connsiteY2" fmla="*/ 3257535 h 3402853"/>
                  <a:gd name="connsiteX3" fmla="*/ -981 w 5574990"/>
                  <a:gd name="connsiteY3" fmla="*/ 144241 h 3402853"/>
                  <a:gd name="connsiteX4" fmla="*/ 143794 w 5574990"/>
                  <a:gd name="connsiteY4" fmla="*/ -539 h 3402853"/>
                  <a:gd name="connsiteX5" fmla="*/ 5429235 w 5574990"/>
                  <a:gd name="connsiteY5" fmla="*/ -539 h 3402853"/>
                  <a:gd name="connsiteX6" fmla="*/ 5574010 w 5574990"/>
                  <a:gd name="connsiteY6" fmla="*/ 144241 h 3402853"/>
                  <a:gd name="connsiteX7" fmla="*/ 5574010 w 5574990"/>
                  <a:gd name="connsiteY7" fmla="*/ 3257535 h 3402853"/>
                  <a:gd name="connsiteX8" fmla="*/ 5429235 w 5574990"/>
                  <a:gd name="connsiteY8" fmla="*/ 3402315 h 3402853"/>
                  <a:gd name="connsiteX9" fmla="*/ 143794 w 5574990"/>
                  <a:gd name="connsiteY9" fmla="*/ 3504 h 3402853"/>
                  <a:gd name="connsiteX10" fmla="*/ 3062 w 5574990"/>
                  <a:gd name="connsiteY10" fmla="*/ 144241 h 3402853"/>
                  <a:gd name="connsiteX11" fmla="*/ 3062 w 5574990"/>
                  <a:gd name="connsiteY11" fmla="*/ 3257535 h 3402853"/>
                  <a:gd name="connsiteX12" fmla="*/ 143794 w 5574990"/>
                  <a:gd name="connsiteY12" fmla="*/ 3398272 h 3402853"/>
                  <a:gd name="connsiteX13" fmla="*/ 5429235 w 5574990"/>
                  <a:gd name="connsiteY13" fmla="*/ 3398272 h 3402853"/>
                  <a:gd name="connsiteX14" fmla="*/ 5569966 w 5574990"/>
                  <a:gd name="connsiteY14" fmla="*/ 3257535 h 3402853"/>
                  <a:gd name="connsiteX15" fmla="*/ 5569966 w 5574990"/>
                  <a:gd name="connsiteY15" fmla="*/ 144241 h 3402853"/>
                  <a:gd name="connsiteX16" fmla="*/ 5429235 w 5574990"/>
                  <a:gd name="connsiteY16" fmla="*/ 3504 h 340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574990" h="3402853">
                    <a:moveTo>
                      <a:pt x="5429235" y="3402315"/>
                    </a:moveTo>
                    <a:lnTo>
                      <a:pt x="143794" y="3402315"/>
                    </a:lnTo>
                    <a:cubicBezTo>
                      <a:pt x="63858" y="3402228"/>
                      <a:pt x="-894" y="3337458"/>
                      <a:pt x="-981" y="3257535"/>
                    </a:cubicBezTo>
                    <a:lnTo>
                      <a:pt x="-981" y="144241"/>
                    </a:lnTo>
                    <a:cubicBezTo>
                      <a:pt x="-894" y="64327"/>
                      <a:pt x="63858" y="-443"/>
                      <a:pt x="143794" y="-539"/>
                    </a:cubicBezTo>
                    <a:lnTo>
                      <a:pt x="5429235" y="-539"/>
                    </a:lnTo>
                    <a:cubicBezTo>
                      <a:pt x="5509171" y="-443"/>
                      <a:pt x="5573923" y="64327"/>
                      <a:pt x="5574010" y="144241"/>
                    </a:cubicBezTo>
                    <a:lnTo>
                      <a:pt x="5574010" y="3257535"/>
                    </a:lnTo>
                    <a:cubicBezTo>
                      <a:pt x="5573923" y="3337458"/>
                      <a:pt x="5509171" y="3402228"/>
                      <a:pt x="5429235" y="3402315"/>
                    </a:cubicBezTo>
                    <a:close/>
                    <a:moveTo>
                      <a:pt x="143794" y="3504"/>
                    </a:moveTo>
                    <a:cubicBezTo>
                      <a:pt x="66098" y="3600"/>
                      <a:pt x="3149" y="66558"/>
                      <a:pt x="3062" y="144241"/>
                    </a:cubicBezTo>
                    <a:lnTo>
                      <a:pt x="3062" y="3257535"/>
                    </a:lnTo>
                    <a:cubicBezTo>
                      <a:pt x="3149" y="3335218"/>
                      <a:pt x="66098" y="3398185"/>
                      <a:pt x="143794" y="3398272"/>
                    </a:cubicBezTo>
                    <a:lnTo>
                      <a:pt x="5429235" y="3398272"/>
                    </a:lnTo>
                    <a:cubicBezTo>
                      <a:pt x="5506931" y="3398185"/>
                      <a:pt x="5569879" y="3335218"/>
                      <a:pt x="5569966" y="3257535"/>
                    </a:cubicBezTo>
                    <a:lnTo>
                      <a:pt x="5569966" y="144241"/>
                    </a:lnTo>
                    <a:cubicBezTo>
                      <a:pt x="5569879" y="66558"/>
                      <a:pt x="5506931" y="3600"/>
                      <a:pt x="5429235" y="3504"/>
                    </a:cubicBezTo>
                    <a:close/>
                  </a:path>
                </a:pathLst>
              </a:custGeom>
              <a:solidFill>
                <a:srgbClr val="FFFFFF"/>
              </a:solidFill>
              <a:ln w="2907" cap="flat">
                <a:noFill/>
                <a:prstDash val="solid"/>
                <a:miter/>
              </a:ln>
            </p:spPr>
            <p:txBody>
              <a:bodyPr rtlCol="0" anchor="ctr"/>
              <a:lstStyle/>
              <a:p>
                <a:endParaRPr lang="en-US" sz="800"/>
              </a:p>
            </p:txBody>
          </p:sp>
          <p:sp>
            <p:nvSpPr>
              <p:cNvPr id="30" name="Graphic 38">
                <a:extLst>
                  <a:ext uri="{FF2B5EF4-FFF2-40B4-BE49-F238E27FC236}">
                    <a16:creationId xmlns:a16="http://schemas.microsoft.com/office/drawing/2014/main" id="{1393CB46-FAF9-BEFB-759B-C46784F876D8}"/>
                  </a:ext>
                </a:extLst>
              </p:cNvPr>
              <p:cNvSpPr/>
              <p:nvPr/>
            </p:nvSpPr>
            <p:spPr>
              <a:xfrm>
                <a:off x="12811418" y="584713"/>
                <a:ext cx="1273364" cy="3044451"/>
              </a:xfrm>
              <a:custGeom>
                <a:avLst/>
                <a:gdLst>
                  <a:gd name="connsiteX0" fmla="*/ -502 w 1273364"/>
                  <a:gd name="connsiteY0" fmla="*/ 3043157 h 3044451"/>
                  <a:gd name="connsiteX1" fmla="*/ -677 w 1273364"/>
                  <a:gd name="connsiteY1" fmla="*/ 3021024 h 3044451"/>
                  <a:gd name="connsiteX2" fmla="*/ -677 w 1273364"/>
                  <a:gd name="connsiteY2" fmla="*/ 26742 h 3044451"/>
                  <a:gd name="connsiteX3" fmla="*/ -677 w 1273364"/>
                  <a:gd name="connsiteY3" fmla="*/ 15690 h 3044451"/>
                  <a:gd name="connsiteX4" fmla="*/ 15293 w 1273364"/>
                  <a:gd name="connsiteY4" fmla="*/ -539 h 3044451"/>
                  <a:gd name="connsiteX5" fmla="*/ 1256077 w 1273364"/>
                  <a:gd name="connsiteY5" fmla="*/ -539 h 3044451"/>
                  <a:gd name="connsiteX6" fmla="*/ 1272163 w 1273364"/>
                  <a:gd name="connsiteY6" fmla="*/ 15661 h 3044451"/>
                  <a:gd name="connsiteX7" fmla="*/ 1272163 w 1273364"/>
                  <a:gd name="connsiteY7" fmla="*/ 33112 h 3044451"/>
                  <a:gd name="connsiteX8" fmla="*/ 1272163 w 1273364"/>
                  <a:gd name="connsiteY8" fmla="*/ 3022595 h 3044451"/>
                  <a:gd name="connsiteX9" fmla="*/ 1271988 w 1273364"/>
                  <a:gd name="connsiteY9" fmla="*/ 3043128 h 3044451"/>
                  <a:gd name="connsiteX10" fmla="*/ 1003207 w 1273364"/>
                  <a:gd name="connsiteY10" fmla="*/ 3043913 h 3044451"/>
                  <a:gd name="connsiteX11" fmla="*/ 635001 w 1273364"/>
                  <a:gd name="connsiteY11" fmla="*/ 3043390 h 3044451"/>
                  <a:gd name="connsiteX12" fmla="*/ -502 w 1273364"/>
                  <a:gd name="connsiteY12" fmla="*/ 3043157 h 3044451"/>
                  <a:gd name="connsiteX13" fmla="*/ 635787 w 1273364"/>
                  <a:gd name="connsiteY13" fmla="*/ 451397 h 3044451"/>
                  <a:gd name="connsiteX14" fmla="*/ 1064411 w 1273364"/>
                  <a:gd name="connsiteY14" fmla="*/ 451397 h 3044451"/>
                  <a:gd name="connsiteX15" fmla="*/ 1102226 w 1273364"/>
                  <a:gd name="connsiteY15" fmla="*/ 415130 h 3044451"/>
                  <a:gd name="connsiteX16" fmla="*/ 1102051 w 1273364"/>
                  <a:gd name="connsiteY16" fmla="*/ 345590 h 3044451"/>
                  <a:gd name="connsiteX17" fmla="*/ 1071683 w 1273364"/>
                  <a:gd name="connsiteY17" fmla="*/ 314528 h 3044451"/>
                  <a:gd name="connsiteX18" fmla="*/ 1047946 w 1273364"/>
                  <a:gd name="connsiteY18" fmla="*/ 314324 h 3044451"/>
                  <a:gd name="connsiteX19" fmla="*/ 219031 w 1273364"/>
                  <a:gd name="connsiteY19" fmla="*/ 314324 h 3044451"/>
                  <a:gd name="connsiteX20" fmla="*/ 201578 w 1273364"/>
                  <a:gd name="connsiteY20" fmla="*/ 314324 h 3044451"/>
                  <a:gd name="connsiteX21" fmla="*/ 169580 w 1273364"/>
                  <a:gd name="connsiteY21" fmla="*/ 347073 h 3044451"/>
                  <a:gd name="connsiteX22" fmla="*/ 169405 w 1273364"/>
                  <a:gd name="connsiteY22" fmla="*/ 411872 h 3044451"/>
                  <a:gd name="connsiteX23" fmla="*/ 208646 w 1273364"/>
                  <a:gd name="connsiteY23" fmla="*/ 451397 h 3044451"/>
                  <a:gd name="connsiteX24" fmla="*/ 635176 w 1273364"/>
                  <a:gd name="connsiteY24" fmla="*/ 1123004 h 3044451"/>
                  <a:gd name="connsiteX25" fmla="*/ 209519 w 1273364"/>
                  <a:gd name="connsiteY25" fmla="*/ 1123004 h 3044451"/>
                  <a:gd name="connsiteX26" fmla="*/ 168794 w 1273364"/>
                  <a:gd name="connsiteY26" fmla="*/ 1164449 h 3044451"/>
                  <a:gd name="connsiteX27" fmla="*/ 168794 w 1273364"/>
                  <a:gd name="connsiteY27" fmla="*/ 1215055 h 3044451"/>
                  <a:gd name="connsiteX28" fmla="*/ 211613 w 1273364"/>
                  <a:gd name="connsiteY28" fmla="*/ 1257925 h 3044451"/>
                  <a:gd name="connsiteX29" fmla="*/ 996372 w 1273364"/>
                  <a:gd name="connsiteY29" fmla="*/ 1257925 h 3044451"/>
                  <a:gd name="connsiteX30" fmla="*/ 1066010 w 1273364"/>
                  <a:gd name="connsiteY30" fmla="*/ 1257925 h 3044451"/>
                  <a:gd name="connsiteX31" fmla="*/ 1102779 w 1273364"/>
                  <a:gd name="connsiteY31" fmla="*/ 1221773 h 3044451"/>
                  <a:gd name="connsiteX32" fmla="*/ 1102779 w 1273364"/>
                  <a:gd name="connsiteY32" fmla="*/ 1161657 h 3044451"/>
                  <a:gd name="connsiteX33" fmla="*/ 1064003 w 1273364"/>
                  <a:gd name="connsiteY33" fmla="*/ 1123004 h 3044451"/>
                  <a:gd name="connsiteX34" fmla="*/ 635176 w 1273364"/>
                  <a:gd name="connsiteY34" fmla="*/ 1123004 h 3044451"/>
                  <a:gd name="connsiteX35" fmla="*/ 635641 w 1273364"/>
                  <a:gd name="connsiteY35" fmla="*/ 989218 h 3044451"/>
                  <a:gd name="connsiteX36" fmla="*/ 1062956 w 1273364"/>
                  <a:gd name="connsiteY36" fmla="*/ 989218 h 3044451"/>
                  <a:gd name="connsiteX37" fmla="*/ 1102749 w 1273364"/>
                  <a:gd name="connsiteY37" fmla="*/ 949548 h 3044451"/>
                  <a:gd name="connsiteX38" fmla="*/ 1102749 w 1273364"/>
                  <a:gd name="connsiteY38" fmla="*/ 894288 h 3044451"/>
                  <a:gd name="connsiteX39" fmla="*/ 1062374 w 1273364"/>
                  <a:gd name="connsiteY39" fmla="*/ 853890 h 3044451"/>
                  <a:gd name="connsiteX40" fmla="*/ 331226 w 1273364"/>
                  <a:gd name="connsiteY40" fmla="*/ 853890 h 3044451"/>
                  <a:gd name="connsiteX41" fmla="*/ 204632 w 1273364"/>
                  <a:gd name="connsiteY41" fmla="*/ 853890 h 3044451"/>
                  <a:gd name="connsiteX42" fmla="*/ 168853 w 1273364"/>
                  <a:gd name="connsiteY42" fmla="*/ 889227 h 3044451"/>
                  <a:gd name="connsiteX43" fmla="*/ 168853 w 1273364"/>
                  <a:gd name="connsiteY43" fmla="*/ 947744 h 3044451"/>
                  <a:gd name="connsiteX44" fmla="*/ 209984 w 1273364"/>
                  <a:gd name="connsiteY44" fmla="*/ 989276 h 3044451"/>
                  <a:gd name="connsiteX45" fmla="*/ 635641 w 1273364"/>
                  <a:gd name="connsiteY45" fmla="*/ 1796211 h 3044451"/>
                  <a:gd name="connsiteX46" fmla="*/ 1066156 w 1273364"/>
                  <a:gd name="connsiteY46" fmla="*/ 1796211 h 3044451"/>
                  <a:gd name="connsiteX47" fmla="*/ 1103098 w 1273364"/>
                  <a:gd name="connsiteY47" fmla="*/ 1759914 h 3044451"/>
                  <a:gd name="connsiteX48" fmla="*/ 1103098 w 1273364"/>
                  <a:gd name="connsiteY48" fmla="*/ 1695057 h 3044451"/>
                  <a:gd name="connsiteX49" fmla="*/ 1068716 w 1273364"/>
                  <a:gd name="connsiteY49" fmla="*/ 1661145 h 3044451"/>
                  <a:gd name="connsiteX50" fmla="*/ 203177 w 1273364"/>
                  <a:gd name="connsiteY50" fmla="*/ 1661145 h 3044451"/>
                  <a:gd name="connsiteX51" fmla="*/ 168591 w 1273364"/>
                  <a:gd name="connsiteY51" fmla="*/ 1694999 h 3044451"/>
                  <a:gd name="connsiteX52" fmla="*/ 168591 w 1273364"/>
                  <a:gd name="connsiteY52" fmla="*/ 1755086 h 3044451"/>
                  <a:gd name="connsiteX53" fmla="*/ 210275 w 1273364"/>
                  <a:gd name="connsiteY53" fmla="*/ 1796240 h 3044451"/>
                  <a:gd name="connsiteX54" fmla="*/ 635874 w 1273364"/>
                  <a:gd name="connsiteY54" fmla="*/ 1527213 h 3044451"/>
                  <a:gd name="connsiteX55" fmla="*/ 1064730 w 1273364"/>
                  <a:gd name="connsiteY55" fmla="*/ 1527213 h 3044451"/>
                  <a:gd name="connsiteX56" fmla="*/ 1102982 w 1273364"/>
                  <a:gd name="connsiteY56" fmla="*/ 1489026 h 3044451"/>
                  <a:gd name="connsiteX57" fmla="*/ 1102982 w 1273364"/>
                  <a:gd name="connsiteY57" fmla="*/ 1432109 h 3044451"/>
                  <a:gd name="connsiteX58" fmla="*/ 1062054 w 1273364"/>
                  <a:gd name="connsiteY58" fmla="*/ 1391915 h 3044451"/>
                  <a:gd name="connsiteX59" fmla="*/ 251959 w 1273364"/>
                  <a:gd name="connsiteY59" fmla="*/ 1391915 h 3044451"/>
                  <a:gd name="connsiteX60" fmla="*/ 202886 w 1273364"/>
                  <a:gd name="connsiteY60" fmla="*/ 1391915 h 3044451"/>
                  <a:gd name="connsiteX61" fmla="*/ 168533 w 1273364"/>
                  <a:gd name="connsiteY61" fmla="*/ 1425885 h 3044451"/>
                  <a:gd name="connsiteX62" fmla="*/ 168533 w 1273364"/>
                  <a:gd name="connsiteY62" fmla="*/ 1478090 h 3044451"/>
                  <a:gd name="connsiteX63" fmla="*/ 216762 w 1273364"/>
                  <a:gd name="connsiteY63" fmla="*/ 1527126 h 3044451"/>
                  <a:gd name="connsiteX64" fmla="*/ 637183 w 1273364"/>
                  <a:gd name="connsiteY64" fmla="*/ 2065267 h 3044451"/>
                  <a:gd name="connsiteX65" fmla="*/ 1065981 w 1273364"/>
                  <a:gd name="connsiteY65" fmla="*/ 2065267 h 3044451"/>
                  <a:gd name="connsiteX66" fmla="*/ 1102779 w 1273364"/>
                  <a:gd name="connsiteY66" fmla="*/ 2029173 h 3044451"/>
                  <a:gd name="connsiteX67" fmla="*/ 1102779 w 1273364"/>
                  <a:gd name="connsiteY67" fmla="*/ 1969086 h 3044451"/>
                  <a:gd name="connsiteX68" fmla="*/ 1063858 w 1273364"/>
                  <a:gd name="connsiteY68" fmla="*/ 1930172 h 3044451"/>
                  <a:gd name="connsiteX69" fmla="*/ 940434 w 1273364"/>
                  <a:gd name="connsiteY69" fmla="*/ 1930172 h 3044451"/>
                  <a:gd name="connsiteX70" fmla="*/ 212689 w 1273364"/>
                  <a:gd name="connsiteY70" fmla="*/ 1930172 h 3044451"/>
                  <a:gd name="connsiteX71" fmla="*/ 168504 w 1273364"/>
                  <a:gd name="connsiteY71" fmla="*/ 1975136 h 3044451"/>
                  <a:gd name="connsiteX72" fmla="*/ 168504 w 1273364"/>
                  <a:gd name="connsiteY72" fmla="*/ 2024171 h 3044451"/>
                  <a:gd name="connsiteX73" fmla="*/ 210043 w 1273364"/>
                  <a:gd name="connsiteY73" fmla="*/ 2065412 h 3044451"/>
                  <a:gd name="connsiteX74" fmla="*/ 635699 w 1273364"/>
                  <a:gd name="connsiteY74" fmla="*/ 718679 h 3044451"/>
                  <a:gd name="connsiteX75" fmla="*/ 635699 w 1273364"/>
                  <a:gd name="connsiteY75" fmla="*/ 718679 h 3044451"/>
                  <a:gd name="connsiteX76" fmla="*/ 1067552 w 1273364"/>
                  <a:gd name="connsiteY76" fmla="*/ 718679 h 3044451"/>
                  <a:gd name="connsiteX77" fmla="*/ 1101819 w 1273364"/>
                  <a:gd name="connsiteY77" fmla="*/ 684709 h 3044451"/>
                  <a:gd name="connsiteX78" fmla="*/ 1101819 w 1273364"/>
                  <a:gd name="connsiteY78" fmla="*/ 624650 h 3044451"/>
                  <a:gd name="connsiteX79" fmla="*/ 1061967 w 1273364"/>
                  <a:gd name="connsiteY79" fmla="*/ 584747 h 3044451"/>
                  <a:gd name="connsiteX80" fmla="*/ 354963 w 1273364"/>
                  <a:gd name="connsiteY80" fmla="*/ 584747 h 3044451"/>
                  <a:gd name="connsiteX81" fmla="*/ 203119 w 1273364"/>
                  <a:gd name="connsiteY81" fmla="*/ 584747 h 3044451"/>
                  <a:gd name="connsiteX82" fmla="*/ 169522 w 1273364"/>
                  <a:gd name="connsiteY82" fmla="*/ 618339 h 3044451"/>
                  <a:gd name="connsiteX83" fmla="*/ 169522 w 1273364"/>
                  <a:gd name="connsiteY83" fmla="*/ 678427 h 3044451"/>
                  <a:gd name="connsiteX84" fmla="*/ 210246 w 1273364"/>
                  <a:gd name="connsiteY84" fmla="*/ 718737 h 304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273364" h="3044451">
                    <a:moveTo>
                      <a:pt x="-502" y="3043157"/>
                    </a:moveTo>
                    <a:cubicBezTo>
                      <a:pt x="-502" y="3035770"/>
                      <a:pt x="-677" y="3028412"/>
                      <a:pt x="-677" y="3021024"/>
                    </a:cubicBezTo>
                    <a:cubicBezTo>
                      <a:pt x="-677" y="2022920"/>
                      <a:pt x="-677" y="1024817"/>
                      <a:pt x="-677" y="26742"/>
                    </a:cubicBezTo>
                    <a:cubicBezTo>
                      <a:pt x="-415" y="23063"/>
                      <a:pt x="-415" y="19369"/>
                      <a:pt x="-677" y="15690"/>
                    </a:cubicBezTo>
                    <a:cubicBezTo>
                      <a:pt x="-2335" y="3213"/>
                      <a:pt x="2755" y="-539"/>
                      <a:pt x="15293" y="-539"/>
                    </a:cubicBezTo>
                    <a:cubicBezTo>
                      <a:pt x="428907" y="-248"/>
                      <a:pt x="842521" y="-248"/>
                      <a:pt x="1256077" y="-539"/>
                    </a:cubicBezTo>
                    <a:cubicBezTo>
                      <a:pt x="1268585" y="-539"/>
                      <a:pt x="1273530" y="3155"/>
                      <a:pt x="1272163" y="15661"/>
                    </a:cubicBezTo>
                    <a:cubicBezTo>
                      <a:pt x="1271814" y="21472"/>
                      <a:pt x="1271814" y="27301"/>
                      <a:pt x="1272163" y="33112"/>
                    </a:cubicBezTo>
                    <a:lnTo>
                      <a:pt x="1272163" y="3022595"/>
                    </a:lnTo>
                    <a:cubicBezTo>
                      <a:pt x="1272163" y="3029430"/>
                      <a:pt x="1272163" y="3036293"/>
                      <a:pt x="1271988" y="3043128"/>
                    </a:cubicBezTo>
                    <a:lnTo>
                      <a:pt x="1003207" y="3043913"/>
                    </a:lnTo>
                    <a:cubicBezTo>
                      <a:pt x="880482" y="3043739"/>
                      <a:pt x="757727" y="3043564"/>
                      <a:pt x="635001" y="3043390"/>
                    </a:cubicBezTo>
                    <a:cubicBezTo>
                      <a:pt x="423089" y="3043274"/>
                      <a:pt x="211264" y="3043186"/>
                      <a:pt x="-502" y="3043157"/>
                    </a:cubicBezTo>
                    <a:close/>
                    <a:moveTo>
                      <a:pt x="635787" y="451397"/>
                    </a:moveTo>
                    <a:lnTo>
                      <a:pt x="1064411" y="451397"/>
                    </a:lnTo>
                    <a:cubicBezTo>
                      <a:pt x="1091521" y="451397"/>
                      <a:pt x="1101964" y="441392"/>
                      <a:pt x="1102226" y="415130"/>
                    </a:cubicBezTo>
                    <a:cubicBezTo>
                      <a:pt x="1102226" y="391862"/>
                      <a:pt x="1102633" y="368595"/>
                      <a:pt x="1102051" y="345590"/>
                    </a:cubicBezTo>
                    <a:cubicBezTo>
                      <a:pt x="1101557" y="326278"/>
                      <a:pt x="1091056" y="315924"/>
                      <a:pt x="1071683" y="314528"/>
                    </a:cubicBezTo>
                    <a:cubicBezTo>
                      <a:pt x="1063800" y="313975"/>
                      <a:pt x="1055858" y="314324"/>
                      <a:pt x="1047946" y="314324"/>
                    </a:cubicBezTo>
                    <a:lnTo>
                      <a:pt x="219031" y="314324"/>
                    </a:lnTo>
                    <a:cubicBezTo>
                      <a:pt x="213213" y="314324"/>
                      <a:pt x="207395" y="314034"/>
                      <a:pt x="201578" y="314324"/>
                    </a:cubicBezTo>
                    <a:cubicBezTo>
                      <a:pt x="180663" y="315401"/>
                      <a:pt x="170016" y="325958"/>
                      <a:pt x="169580" y="347073"/>
                    </a:cubicBezTo>
                    <a:cubicBezTo>
                      <a:pt x="169143" y="368653"/>
                      <a:pt x="169376" y="390263"/>
                      <a:pt x="169405" y="411872"/>
                    </a:cubicBezTo>
                    <a:cubicBezTo>
                      <a:pt x="169405" y="441945"/>
                      <a:pt x="178772" y="451397"/>
                      <a:pt x="208646" y="451397"/>
                    </a:cubicBezTo>
                    <a:close/>
                    <a:moveTo>
                      <a:pt x="635176" y="1123004"/>
                    </a:moveTo>
                    <a:lnTo>
                      <a:pt x="209519" y="1123004"/>
                    </a:lnTo>
                    <a:cubicBezTo>
                      <a:pt x="176823" y="1123004"/>
                      <a:pt x="168794" y="1131235"/>
                      <a:pt x="168794" y="1164449"/>
                    </a:cubicBezTo>
                    <a:cubicBezTo>
                      <a:pt x="168794" y="1181318"/>
                      <a:pt x="168794" y="1198186"/>
                      <a:pt x="168794" y="1215055"/>
                    </a:cubicBezTo>
                    <a:cubicBezTo>
                      <a:pt x="168794" y="1249781"/>
                      <a:pt x="176823" y="1257925"/>
                      <a:pt x="211613" y="1257925"/>
                    </a:cubicBezTo>
                    <a:lnTo>
                      <a:pt x="996372" y="1257925"/>
                    </a:lnTo>
                    <a:cubicBezTo>
                      <a:pt x="1019643" y="1257925"/>
                      <a:pt x="1042914" y="1257925"/>
                      <a:pt x="1066010" y="1257925"/>
                    </a:cubicBezTo>
                    <a:cubicBezTo>
                      <a:pt x="1092190" y="1257925"/>
                      <a:pt x="1102633" y="1247571"/>
                      <a:pt x="1102779" y="1221773"/>
                    </a:cubicBezTo>
                    <a:cubicBezTo>
                      <a:pt x="1102779" y="1201735"/>
                      <a:pt x="1102779" y="1181696"/>
                      <a:pt x="1102779" y="1161657"/>
                    </a:cubicBezTo>
                    <a:cubicBezTo>
                      <a:pt x="1102779" y="1132049"/>
                      <a:pt x="1094052" y="1123004"/>
                      <a:pt x="1064003" y="1123004"/>
                    </a:cubicBezTo>
                    <a:cubicBezTo>
                      <a:pt x="920973" y="1123004"/>
                      <a:pt x="778031" y="1123004"/>
                      <a:pt x="635176" y="1123004"/>
                    </a:cubicBezTo>
                    <a:close/>
                    <a:moveTo>
                      <a:pt x="635641" y="989218"/>
                    </a:moveTo>
                    <a:cubicBezTo>
                      <a:pt x="778089" y="989218"/>
                      <a:pt x="920537" y="989218"/>
                      <a:pt x="1062956" y="989218"/>
                    </a:cubicBezTo>
                    <a:cubicBezTo>
                      <a:pt x="1093150" y="989218"/>
                      <a:pt x="1102546" y="979766"/>
                      <a:pt x="1102749" y="949548"/>
                    </a:cubicBezTo>
                    <a:cubicBezTo>
                      <a:pt x="1102749" y="931108"/>
                      <a:pt x="1102749" y="912640"/>
                      <a:pt x="1102749" y="894288"/>
                    </a:cubicBezTo>
                    <a:cubicBezTo>
                      <a:pt x="1102749" y="862499"/>
                      <a:pt x="1094023" y="853890"/>
                      <a:pt x="1062374" y="853890"/>
                    </a:cubicBezTo>
                    <a:lnTo>
                      <a:pt x="331226" y="853890"/>
                    </a:lnTo>
                    <a:cubicBezTo>
                      <a:pt x="289018" y="853890"/>
                      <a:pt x="246869" y="853890"/>
                      <a:pt x="204632" y="853890"/>
                    </a:cubicBezTo>
                    <a:cubicBezTo>
                      <a:pt x="179063" y="853890"/>
                      <a:pt x="169289" y="863633"/>
                      <a:pt x="168853" y="889227"/>
                    </a:cubicBezTo>
                    <a:cubicBezTo>
                      <a:pt x="168562" y="908714"/>
                      <a:pt x="168853" y="928229"/>
                      <a:pt x="168853" y="947744"/>
                    </a:cubicBezTo>
                    <a:cubicBezTo>
                      <a:pt x="168853" y="980027"/>
                      <a:pt x="178045" y="989276"/>
                      <a:pt x="209984" y="989276"/>
                    </a:cubicBezTo>
                    <a:close/>
                    <a:moveTo>
                      <a:pt x="635641" y="1796211"/>
                    </a:moveTo>
                    <a:cubicBezTo>
                      <a:pt x="779136" y="1796211"/>
                      <a:pt x="922661" y="1796211"/>
                      <a:pt x="1066156" y="1796211"/>
                    </a:cubicBezTo>
                    <a:cubicBezTo>
                      <a:pt x="1092074" y="1796211"/>
                      <a:pt x="1102895" y="1785450"/>
                      <a:pt x="1103098" y="1759914"/>
                    </a:cubicBezTo>
                    <a:cubicBezTo>
                      <a:pt x="1103098" y="1738276"/>
                      <a:pt x="1103361" y="1716666"/>
                      <a:pt x="1103098" y="1695057"/>
                    </a:cubicBezTo>
                    <a:cubicBezTo>
                      <a:pt x="1102749" y="1672313"/>
                      <a:pt x="1091463" y="1661145"/>
                      <a:pt x="1068716" y="1661145"/>
                    </a:cubicBezTo>
                    <a:cubicBezTo>
                      <a:pt x="780212" y="1661145"/>
                      <a:pt x="491710" y="1661145"/>
                      <a:pt x="203177" y="1661145"/>
                    </a:cubicBezTo>
                    <a:cubicBezTo>
                      <a:pt x="180343" y="1661145"/>
                      <a:pt x="169056" y="1672342"/>
                      <a:pt x="168591" y="1694999"/>
                    </a:cubicBezTo>
                    <a:cubicBezTo>
                      <a:pt x="168213" y="1715008"/>
                      <a:pt x="168591" y="1735047"/>
                      <a:pt x="168591" y="1755086"/>
                    </a:cubicBezTo>
                    <a:cubicBezTo>
                      <a:pt x="168591" y="1786846"/>
                      <a:pt x="178161" y="1796240"/>
                      <a:pt x="210275" y="1796240"/>
                    </a:cubicBezTo>
                    <a:close/>
                    <a:moveTo>
                      <a:pt x="635874" y="1527213"/>
                    </a:moveTo>
                    <a:lnTo>
                      <a:pt x="1064730" y="1527213"/>
                    </a:lnTo>
                    <a:cubicBezTo>
                      <a:pt x="1092540" y="1527213"/>
                      <a:pt x="1102924" y="1516714"/>
                      <a:pt x="1102982" y="1489026"/>
                    </a:cubicBezTo>
                    <a:cubicBezTo>
                      <a:pt x="1102982" y="1470063"/>
                      <a:pt x="1102982" y="1451100"/>
                      <a:pt x="1102982" y="1432109"/>
                    </a:cubicBezTo>
                    <a:cubicBezTo>
                      <a:pt x="1102982" y="1401367"/>
                      <a:pt x="1093296" y="1391915"/>
                      <a:pt x="1062054" y="1391915"/>
                    </a:cubicBezTo>
                    <a:lnTo>
                      <a:pt x="251959" y="1391915"/>
                    </a:lnTo>
                    <a:cubicBezTo>
                      <a:pt x="235582" y="1391915"/>
                      <a:pt x="219234" y="1391711"/>
                      <a:pt x="202886" y="1391915"/>
                    </a:cubicBezTo>
                    <a:cubicBezTo>
                      <a:pt x="179848" y="1392293"/>
                      <a:pt x="168940" y="1403083"/>
                      <a:pt x="168533" y="1425885"/>
                    </a:cubicBezTo>
                    <a:cubicBezTo>
                      <a:pt x="168242" y="1443335"/>
                      <a:pt x="168533" y="1460786"/>
                      <a:pt x="168533" y="1478090"/>
                    </a:cubicBezTo>
                    <a:cubicBezTo>
                      <a:pt x="168533" y="1520233"/>
                      <a:pt x="175252" y="1527097"/>
                      <a:pt x="216762" y="1527126"/>
                    </a:cubicBezTo>
                    <a:close/>
                    <a:moveTo>
                      <a:pt x="637183" y="2065267"/>
                    </a:moveTo>
                    <a:cubicBezTo>
                      <a:pt x="780125" y="2065267"/>
                      <a:pt x="923068" y="2065267"/>
                      <a:pt x="1065981" y="2065267"/>
                    </a:cubicBezTo>
                    <a:cubicBezTo>
                      <a:pt x="1091958" y="2065267"/>
                      <a:pt x="1102546" y="2054797"/>
                      <a:pt x="1102779" y="2029173"/>
                    </a:cubicBezTo>
                    <a:cubicBezTo>
                      <a:pt x="1102982" y="2009135"/>
                      <a:pt x="1102982" y="1989125"/>
                      <a:pt x="1102779" y="1969086"/>
                    </a:cubicBezTo>
                    <a:cubicBezTo>
                      <a:pt x="1102517" y="1939420"/>
                      <a:pt x="1093528" y="1930317"/>
                      <a:pt x="1063858" y="1930172"/>
                    </a:cubicBezTo>
                    <a:cubicBezTo>
                      <a:pt x="1022697" y="1929939"/>
                      <a:pt x="981566" y="1930172"/>
                      <a:pt x="940434" y="1930172"/>
                    </a:cubicBezTo>
                    <a:lnTo>
                      <a:pt x="212689" y="1930172"/>
                    </a:lnTo>
                    <a:cubicBezTo>
                      <a:pt x="176328" y="1930172"/>
                      <a:pt x="168445" y="1938228"/>
                      <a:pt x="168504" y="1975136"/>
                    </a:cubicBezTo>
                    <a:cubicBezTo>
                      <a:pt x="168504" y="1991481"/>
                      <a:pt x="168504" y="2007826"/>
                      <a:pt x="168504" y="2024171"/>
                    </a:cubicBezTo>
                    <a:cubicBezTo>
                      <a:pt x="168504" y="2056163"/>
                      <a:pt x="177899" y="2065383"/>
                      <a:pt x="210043" y="2065412"/>
                    </a:cubicBezTo>
                    <a:close/>
                    <a:moveTo>
                      <a:pt x="635699" y="718679"/>
                    </a:moveTo>
                    <a:lnTo>
                      <a:pt x="635699" y="718679"/>
                    </a:lnTo>
                    <a:cubicBezTo>
                      <a:pt x="779660" y="718679"/>
                      <a:pt x="923620" y="718679"/>
                      <a:pt x="1067552" y="718679"/>
                    </a:cubicBezTo>
                    <a:cubicBezTo>
                      <a:pt x="1093092" y="718679"/>
                      <a:pt x="1101644" y="709954"/>
                      <a:pt x="1101819" y="684709"/>
                    </a:cubicBezTo>
                    <a:cubicBezTo>
                      <a:pt x="1101964" y="664699"/>
                      <a:pt x="1101964" y="644681"/>
                      <a:pt x="1101819" y="624650"/>
                    </a:cubicBezTo>
                    <a:cubicBezTo>
                      <a:pt x="1101644" y="591640"/>
                      <a:pt x="1094750" y="584747"/>
                      <a:pt x="1061967" y="584747"/>
                    </a:cubicBezTo>
                    <a:lnTo>
                      <a:pt x="354963" y="584747"/>
                    </a:lnTo>
                    <a:cubicBezTo>
                      <a:pt x="304348" y="584747"/>
                      <a:pt x="253734" y="584747"/>
                      <a:pt x="203119" y="584747"/>
                    </a:cubicBezTo>
                    <a:cubicBezTo>
                      <a:pt x="179674" y="584747"/>
                      <a:pt x="169783" y="594810"/>
                      <a:pt x="169522" y="618339"/>
                    </a:cubicBezTo>
                    <a:cubicBezTo>
                      <a:pt x="169318" y="638378"/>
                      <a:pt x="169522" y="658388"/>
                      <a:pt x="169522" y="678427"/>
                    </a:cubicBezTo>
                    <a:cubicBezTo>
                      <a:pt x="169522" y="712368"/>
                      <a:pt x="176008" y="718708"/>
                      <a:pt x="210246" y="718737"/>
                    </a:cubicBezTo>
                    <a:close/>
                  </a:path>
                </a:pathLst>
              </a:custGeom>
              <a:solidFill>
                <a:srgbClr val="D9DADB"/>
              </a:solidFill>
              <a:ln w="2907" cap="flat">
                <a:noFill/>
                <a:prstDash val="solid"/>
                <a:miter/>
              </a:ln>
            </p:spPr>
            <p:txBody>
              <a:bodyPr rtlCol="0" anchor="ctr"/>
              <a:lstStyle/>
              <a:p>
                <a:endParaRPr lang="en-US" sz="800"/>
              </a:p>
            </p:txBody>
          </p:sp>
          <p:sp>
            <p:nvSpPr>
              <p:cNvPr id="31" name="Graphic 38">
                <a:extLst>
                  <a:ext uri="{FF2B5EF4-FFF2-40B4-BE49-F238E27FC236}">
                    <a16:creationId xmlns:a16="http://schemas.microsoft.com/office/drawing/2014/main" id="{1C754230-994A-CA10-BC8B-1F6DA85F6D4C}"/>
                  </a:ext>
                </a:extLst>
              </p:cNvPr>
              <p:cNvSpPr/>
              <p:nvPr/>
            </p:nvSpPr>
            <p:spPr>
              <a:xfrm>
                <a:off x="14096489" y="583986"/>
                <a:ext cx="3717261" cy="3043957"/>
              </a:xfrm>
              <a:custGeom>
                <a:avLst/>
                <a:gdLst>
                  <a:gd name="connsiteX0" fmla="*/ 3715815 w 3717261"/>
                  <a:gd name="connsiteY0" fmla="*/ 1914030 h 3043957"/>
                  <a:gd name="connsiteX1" fmla="*/ 3712906 w 3717261"/>
                  <a:gd name="connsiteY1" fmla="*/ 1915019 h 3043957"/>
                  <a:gd name="connsiteX2" fmla="*/ 3462742 w 3717261"/>
                  <a:gd name="connsiteY2" fmla="*/ 1915019 h 3043957"/>
                  <a:gd name="connsiteX3" fmla="*/ 3464429 w 3717261"/>
                  <a:gd name="connsiteY3" fmla="*/ 1899139 h 3043957"/>
                  <a:gd name="connsiteX4" fmla="*/ 3460851 w 3717261"/>
                  <a:gd name="connsiteY4" fmla="*/ 1784083 h 3043957"/>
                  <a:gd name="connsiteX5" fmla="*/ 3456284 w 3717261"/>
                  <a:gd name="connsiteY5" fmla="*/ 1741824 h 3043957"/>
                  <a:gd name="connsiteX6" fmla="*/ 3455383 w 3717261"/>
                  <a:gd name="connsiteY6" fmla="*/ 1739643 h 3043957"/>
                  <a:gd name="connsiteX7" fmla="*/ 3454713 w 3717261"/>
                  <a:gd name="connsiteY7" fmla="*/ 1737956 h 3043957"/>
                  <a:gd name="connsiteX8" fmla="*/ 3454336 w 3717261"/>
                  <a:gd name="connsiteY8" fmla="*/ 1737868 h 3043957"/>
                  <a:gd name="connsiteX9" fmla="*/ 3453056 w 3717261"/>
                  <a:gd name="connsiteY9" fmla="*/ 1736618 h 3043957"/>
                  <a:gd name="connsiteX10" fmla="*/ 3450961 w 3717261"/>
                  <a:gd name="connsiteY10" fmla="*/ 1734175 h 3043957"/>
                  <a:gd name="connsiteX11" fmla="*/ 3449856 w 3717261"/>
                  <a:gd name="connsiteY11" fmla="*/ 1732808 h 3043957"/>
                  <a:gd name="connsiteX12" fmla="*/ 3448314 w 3717261"/>
                  <a:gd name="connsiteY12" fmla="*/ 1731528 h 3043957"/>
                  <a:gd name="connsiteX13" fmla="*/ 3429231 w 3717261"/>
                  <a:gd name="connsiteY13" fmla="*/ 1724984 h 3043957"/>
                  <a:gd name="connsiteX14" fmla="*/ 3056167 w 3717261"/>
                  <a:gd name="connsiteY14" fmla="*/ 1725159 h 3043957"/>
                  <a:gd name="connsiteX15" fmla="*/ 3026061 w 3717261"/>
                  <a:gd name="connsiteY15" fmla="*/ 1754854 h 3043957"/>
                  <a:gd name="connsiteX16" fmla="*/ 3025537 w 3717261"/>
                  <a:gd name="connsiteY16" fmla="*/ 1769047 h 3043957"/>
                  <a:gd name="connsiteX17" fmla="*/ 3013319 w 3717261"/>
                  <a:gd name="connsiteY17" fmla="*/ 1757238 h 3043957"/>
                  <a:gd name="connsiteX18" fmla="*/ 3013029 w 3717261"/>
                  <a:gd name="connsiteY18" fmla="*/ 1545449 h 3043957"/>
                  <a:gd name="connsiteX19" fmla="*/ 3032954 w 3717261"/>
                  <a:gd name="connsiteY19" fmla="*/ 1524886 h 3043957"/>
                  <a:gd name="connsiteX20" fmla="*/ 3452066 w 3717261"/>
                  <a:gd name="connsiteY20" fmla="*/ 1525265 h 3043957"/>
                  <a:gd name="connsiteX21" fmla="*/ 3466291 w 3717261"/>
                  <a:gd name="connsiteY21" fmla="*/ 1525032 h 3043957"/>
                  <a:gd name="connsiteX22" fmla="*/ 3473418 w 3717261"/>
                  <a:gd name="connsiteY22" fmla="*/ 1520146 h 3043957"/>
                  <a:gd name="connsiteX23" fmla="*/ 3466436 w 3717261"/>
                  <a:gd name="connsiteY23" fmla="*/ 1515841 h 3043957"/>
                  <a:gd name="connsiteX24" fmla="*/ 3453812 w 3717261"/>
                  <a:gd name="connsiteY24" fmla="*/ 1515841 h 3043957"/>
                  <a:gd name="connsiteX25" fmla="*/ 3202339 w 3717261"/>
                  <a:gd name="connsiteY25" fmla="*/ 1515841 h 3043957"/>
                  <a:gd name="connsiteX26" fmla="*/ 3028388 w 3717261"/>
                  <a:gd name="connsiteY26" fmla="*/ 1516016 h 3043957"/>
                  <a:gd name="connsiteX27" fmla="*/ 3013175 w 3717261"/>
                  <a:gd name="connsiteY27" fmla="*/ 1502259 h 3043957"/>
                  <a:gd name="connsiteX28" fmla="*/ 3013175 w 3717261"/>
                  <a:gd name="connsiteY28" fmla="*/ 1407416 h 3043957"/>
                  <a:gd name="connsiteX29" fmla="*/ 3025304 w 3717261"/>
                  <a:gd name="connsiteY29" fmla="*/ 1395783 h 3043957"/>
                  <a:gd name="connsiteX30" fmla="*/ 3025915 w 3717261"/>
                  <a:gd name="connsiteY30" fmla="*/ 1455783 h 3043957"/>
                  <a:gd name="connsiteX31" fmla="*/ 3059251 w 3717261"/>
                  <a:gd name="connsiteY31" fmla="*/ 1490073 h 3043957"/>
                  <a:gd name="connsiteX32" fmla="*/ 3426207 w 3717261"/>
                  <a:gd name="connsiteY32" fmla="*/ 1490073 h 3043957"/>
                  <a:gd name="connsiteX33" fmla="*/ 3458699 w 3717261"/>
                  <a:gd name="connsiteY33" fmla="*/ 1459913 h 3043957"/>
                  <a:gd name="connsiteX34" fmla="*/ 3459891 w 3717261"/>
                  <a:gd name="connsiteY34" fmla="*/ 1390490 h 3043957"/>
                  <a:gd name="connsiteX35" fmla="*/ 3459746 w 3717261"/>
                  <a:gd name="connsiteY35" fmla="*/ 1141095 h 3043957"/>
                  <a:gd name="connsiteX36" fmla="*/ 3418033 w 3717261"/>
                  <a:gd name="connsiteY36" fmla="*/ 1097469 h 3043957"/>
                  <a:gd name="connsiteX37" fmla="*/ 3066902 w 3717261"/>
                  <a:gd name="connsiteY37" fmla="*/ 1097905 h 3043957"/>
                  <a:gd name="connsiteX38" fmla="*/ 3025304 w 3717261"/>
                  <a:gd name="connsiteY38" fmla="*/ 1136325 h 3043957"/>
                  <a:gd name="connsiteX39" fmla="*/ 3013261 w 3717261"/>
                  <a:gd name="connsiteY39" fmla="*/ 1126262 h 3043957"/>
                  <a:gd name="connsiteX40" fmla="*/ 3013261 w 3717261"/>
                  <a:gd name="connsiteY40" fmla="*/ 1027202 h 3043957"/>
                  <a:gd name="connsiteX41" fmla="*/ 3025188 w 3717261"/>
                  <a:gd name="connsiteY41" fmla="*/ 1016266 h 3043957"/>
                  <a:gd name="connsiteX42" fmla="*/ 3025915 w 3717261"/>
                  <a:gd name="connsiteY42" fmla="*/ 1050934 h 3043957"/>
                  <a:gd name="connsiteX43" fmla="*/ 3057011 w 3717261"/>
                  <a:gd name="connsiteY43" fmla="*/ 1082694 h 3043957"/>
                  <a:gd name="connsiteX44" fmla="*/ 3426439 w 3717261"/>
                  <a:gd name="connsiteY44" fmla="*/ 1082694 h 3043957"/>
                  <a:gd name="connsiteX45" fmla="*/ 3457565 w 3717261"/>
                  <a:gd name="connsiteY45" fmla="*/ 1063498 h 3043957"/>
                  <a:gd name="connsiteX46" fmla="*/ 3462684 w 3717261"/>
                  <a:gd name="connsiteY46" fmla="*/ 1046281 h 3043957"/>
                  <a:gd name="connsiteX47" fmla="*/ 3474319 w 3717261"/>
                  <a:gd name="connsiteY47" fmla="*/ 1012456 h 3043957"/>
                  <a:gd name="connsiteX48" fmla="*/ 3462684 w 3717261"/>
                  <a:gd name="connsiteY48" fmla="*/ 977875 h 3043957"/>
                  <a:gd name="connsiteX49" fmla="*/ 3462510 w 3717261"/>
                  <a:gd name="connsiteY49" fmla="*/ 922848 h 3043957"/>
                  <a:gd name="connsiteX50" fmla="*/ 3456692 w 3717261"/>
                  <a:gd name="connsiteY50" fmla="*/ 908306 h 3043957"/>
                  <a:gd name="connsiteX51" fmla="*/ 3455644 w 3717261"/>
                  <a:gd name="connsiteY51" fmla="*/ 905631 h 3043957"/>
                  <a:gd name="connsiteX52" fmla="*/ 3446598 w 3717261"/>
                  <a:gd name="connsiteY52" fmla="*/ 896033 h 3043957"/>
                  <a:gd name="connsiteX53" fmla="*/ 3446307 w 3717261"/>
                  <a:gd name="connsiteY53" fmla="*/ 896033 h 3043957"/>
                  <a:gd name="connsiteX54" fmla="*/ 3452881 w 3717261"/>
                  <a:gd name="connsiteY54" fmla="*/ 889140 h 3043957"/>
                  <a:gd name="connsiteX55" fmla="*/ 3470800 w 3717261"/>
                  <a:gd name="connsiteY55" fmla="*/ 886232 h 3043957"/>
                  <a:gd name="connsiteX56" fmla="*/ 3440111 w 3717261"/>
                  <a:gd name="connsiteY56" fmla="*/ 876314 h 3043957"/>
                  <a:gd name="connsiteX57" fmla="*/ 3459339 w 3717261"/>
                  <a:gd name="connsiteY57" fmla="*/ 843013 h 3043957"/>
                  <a:gd name="connsiteX58" fmla="*/ 3459339 w 3717261"/>
                  <a:gd name="connsiteY58" fmla="*/ 749741 h 3043957"/>
                  <a:gd name="connsiteX59" fmla="*/ 3418381 w 3717261"/>
                  <a:gd name="connsiteY59" fmla="*/ 710274 h 3043957"/>
                  <a:gd name="connsiteX60" fmla="*/ 3068734 w 3717261"/>
                  <a:gd name="connsiteY60" fmla="*/ 710274 h 3043957"/>
                  <a:gd name="connsiteX61" fmla="*/ 3052939 w 3717261"/>
                  <a:gd name="connsiteY61" fmla="*/ 710768 h 3043957"/>
                  <a:gd name="connsiteX62" fmla="*/ 3026323 w 3717261"/>
                  <a:gd name="connsiteY62" fmla="*/ 739067 h 3043957"/>
                  <a:gd name="connsiteX63" fmla="*/ 3025421 w 3717261"/>
                  <a:gd name="connsiteY63" fmla="*/ 756517 h 3043957"/>
                  <a:gd name="connsiteX64" fmla="*/ 3013378 w 3717261"/>
                  <a:gd name="connsiteY64" fmla="*/ 743197 h 3043957"/>
                  <a:gd name="connsiteX65" fmla="*/ 3013116 w 3717261"/>
                  <a:gd name="connsiteY65" fmla="*/ 653036 h 3043957"/>
                  <a:gd name="connsiteX66" fmla="*/ 3033479 w 3717261"/>
                  <a:gd name="connsiteY66" fmla="*/ 632910 h 3043957"/>
                  <a:gd name="connsiteX67" fmla="*/ 3454539 w 3717261"/>
                  <a:gd name="connsiteY67" fmla="*/ 633201 h 3043957"/>
                  <a:gd name="connsiteX68" fmla="*/ 3474319 w 3717261"/>
                  <a:gd name="connsiteY68" fmla="*/ 630031 h 3043957"/>
                  <a:gd name="connsiteX69" fmla="*/ 3453114 w 3717261"/>
                  <a:gd name="connsiteY69" fmla="*/ 627123 h 3043957"/>
                  <a:gd name="connsiteX70" fmla="*/ 3030482 w 3717261"/>
                  <a:gd name="connsiteY70" fmla="*/ 627123 h 3043957"/>
                  <a:gd name="connsiteX71" fmla="*/ 3013175 w 3717261"/>
                  <a:gd name="connsiteY71" fmla="*/ 610457 h 3043957"/>
                  <a:gd name="connsiteX72" fmla="*/ 3013494 w 3717261"/>
                  <a:gd name="connsiteY72" fmla="*/ 529779 h 3043957"/>
                  <a:gd name="connsiteX73" fmla="*/ 3036765 w 3717261"/>
                  <a:gd name="connsiteY73" fmla="*/ 506831 h 3043957"/>
                  <a:gd name="connsiteX74" fmla="*/ 3446743 w 3717261"/>
                  <a:gd name="connsiteY74" fmla="*/ 506831 h 3043957"/>
                  <a:gd name="connsiteX75" fmla="*/ 3462422 w 3717261"/>
                  <a:gd name="connsiteY75" fmla="*/ 508082 h 3043957"/>
                  <a:gd name="connsiteX76" fmla="*/ 3473185 w 3717261"/>
                  <a:gd name="connsiteY76" fmla="*/ 504359 h 3043957"/>
                  <a:gd name="connsiteX77" fmla="*/ 3463062 w 3717261"/>
                  <a:gd name="connsiteY77" fmla="*/ 497466 h 3043957"/>
                  <a:gd name="connsiteX78" fmla="*/ 3447238 w 3717261"/>
                  <a:gd name="connsiteY78" fmla="*/ 497175 h 3043957"/>
                  <a:gd name="connsiteX79" fmla="*/ 265618 w 3717261"/>
                  <a:gd name="connsiteY79" fmla="*/ 497175 h 3043957"/>
                  <a:gd name="connsiteX80" fmla="*/ 254535 w 3717261"/>
                  <a:gd name="connsiteY80" fmla="*/ 497175 h 3043957"/>
                  <a:gd name="connsiteX81" fmla="*/ 241474 w 3717261"/>
                  <a:gd name="connsiteY81" fmla="*/ 504563 h 3043957"/>
                  <a:gd name="connsiteX82" fmla="*/ 254448 w 3717261"/>
                  <a:gd name="connsiteY82" fmla="*/ 509391 h 3043957"/>
                  <a:gd name="connsiteX83" fmla="*/ 360477 w 3717261"/>
                  <a:gd name="connsiteY83" fmla="*/ 509391 h 3043957"/>
                  <a:gd name="connsiteX84" fmla="*/ 681821 w 3717261"/>
                  <a:gd name="connsiteY84" fmla="*/ 509071 h 3043957"/>
                  <a:gd name="connsiteX85" fmla="*/ 699507 w 3717261"/>
                  <a:gd name="connsiteY85" fmla="*/ 527045 h 3043957"/>
                  <a:gd name="connsiteX86" fmla="*/ 698925 w 3717261"/>
                  <a:gd name="connsiteY86" fmla="*/ 602983 h 3043957"/>
                  <a:gd name="connsiteX87" fmla="*/ 694009 w 3717261"/>
                  <a:gd name="connsiteY87" fmla="*/ 624069 h 3043957"/>
                  <a:gd name="connsiteX88" fmla="*/ 689995 w 3717261"/>
                  <a:gd name="connsiteY88" fmla="*/ 603506 h 3043957"/>
                  <a:gd name="connsiteX89" fmla="*/ 682751 w 3717261"/>
                  <a:gd name="connsiteY89" fmla="*/ 576720 h 3043957"/>
                  <a:gd name="connsiteX90" fmla="*/ 682751 w 3717261"/>
                  <a:gd name="connsiteY90" fmla="*/ 576400 h 3043957"/>
                  <a:gd name="connsiteX91" fmla="*/ 679843 w 3717261"/>
                  <a:gd name="connsiteY91" fmla="*/ 573230 h 3043957"/>
                  <a:gd name="connsiteX92" fmla="*/ 679843 w 3717261"/>
                  <a:gd name="connsiteY92" fmla="*/ 573230 h 3043957"/>
                  <a:gd name="connsiteX93" fmla="*/ 667887 w 3717261"/>
                  <a:gd name="connsiteY93" fmla="*/ 566541 h 3043957"/>
                  <a:gd name="connsiteX94" fmla="*/ 286620 w 3717261"/>
                  <a:gd name="connsiteY94" fmla="*/ 566134 h 3043957"/>
                  <a:gd name="connsiteX95" fmla="*/ 259102 w 3717261"/>
                  <a:gd name="connsiteY95" fmla="*/ 579192 h 3043957"/>
                  <a:gd name="connsiteX96" fmla="*/ 252644 w 3717261"/>
                  <a:gd name="connsiteY96" fmla="*/ 593385 h 3043957"/>
                  <a:gd name="connsiteX97" fmla="*/ 247175 w 3717261"/>
                  <a:gd name="connsiteY97" fmla="*/ 627181 h 3043957"/>
                  <a:gd name="connsiteX98" fmla="*/ 253546 w 3717261"/>
                  <a:gd name="connsiteY98" fmla="*/ 656963 h 3043957"/>
                  <a:gd name="connsiteX99" fmla="*/ 252528 w 3717261"/>
                  <a:gd name="connsiteY99" fmla="*/ 731185 h 3043957"/>
                  <a:gd name="connsiteX100" fmla="*/ 245692 w 3717261"/>
                  <a:gd name="connsiteY100" fmla="*/ 755092 h 3043957"/>
                  <a:gd name="connsiteX101" fmla="*/ 246565 w 3717261"/>
                  <a:gd name="connsiteY101" fmla="*/ 761520 h 3043957"/>
                  <a:gd name="connsiteX102" fmla="*/ 252615 w 3717261"/>
                  <a:gd name="connsiteY102" fmla="*/ 779435 h 3043957"/>
                  <a:gd name="connsiteX103" fmla="*/ 252790 w 3717261"/>
                  <a:gd name="connsiteY103" fmla="*/ 856915 h 3043957"/>
                  <a:gd name="connsiteX104" fmla="*/ 259713 w 3717261"/>
                  <a:gd name="connsiteY104" fmla="*/ 872882 h 3043957"/>
                  <a:gd name="connsiteX105" fmla="*/ 259713 w 3717261"/>
                  <a:gd name="connsiteY105" fmla="*/ 872882 h 3043957"/>
                  <a:gd name="connsiteX106" fmla="*/ 253226 w 3717261"/>
                  <a:gd name="connsiteY106" fmla="*/ 881200 h 3043957"/>
                  <a:gd name="connsiteX107" fmla="*/ 245284 w 3717261"/>
                  <a:gd name="connsiteY107" fmla="*/ 885592 h 3043957"/>
                  <a:gd name="connsiteX108" fmla="*/ 254710 w 3717261"/>
                  <a:gd name="connsiteY108" fmla="*/ 888849 h 3043957"/>
                  <a:gd name="connsiteX109" fmla="*/ 262622 w 3717261"/>
                  <a:gd name="connsiteY109" fmla="*/ 888849 h 3043957"/>
                  <a:gd name="connsiteX110" fmla="*/ 658230 w 3717261"/>
                  <a:gd name="connsiteY110" fmla="*/ 888849 h 3043957"/>
                  <a:gd name="connsiteX111" fmla="*/ 688278 w 3717261"/>
                  <a:gd name="connsiteY111" fmla="*/ 888704 h 3043957"/>
                  <a:gd name="connsiteX112" fmla="*/ 699419 w 3717261"/>
                  <a:gd name="connsiteY112" fmla="*/ 900076 h 3043957"/>
                  <a:gd name="connsiteX113" fmla="*/ 699419 w 3717261"/>
                  <a:gd name="connsiteY113" fmla="*/ 994918 h 3043957"/>
                  <a:gd name="connsiteX114" fmla="*/ 689937 w 3717261"/>
                  <a:gd name="connsiteY114" fmla="*/ 1006145 h 3043957"/>
                  <a:gd name="connsiteX115" fmla="*/ 689122 w 3717261"/>
                  <a:gd name="connsiteY115" fmla="*/ 933435 h 3043957"/>
                  <a:gd name="connsiteX116" fmla="*/ 653110 w 3717261"/>
                  <a:gd name="connsiteY116" fmla="*/ 897574 h 3043957"/>
                  <a:gd name="connsiteX117" fmla="*/ 290867 w 3717261"/>
                  <a:gd name="connsiteY117" fmla="*/ 897574 h 3043957"/>
                  <a:gd name="connsiteX118" fmla="*/ 254215 w 3717261"/>
                  <a:gd name="connsiteY118" fmla="*/ 934627 h 3043957"/>
                  <a:gd name="connsiteX119" fmla="*/ 254215 w 3717261"/>
                  <a:gd name="connsiteY119" fmla="*/ 1091099 h 3043957"/>
                  <a:gd name="connsiteX120" fmla="*/ 291594 w 3717261"/>
                  <a:gd name="connsiteY120" fmla="*/ 1128705 h 3043957"/>
                  <a:gd name="connsiteX121" fmla="*/ 653866 w 3717261"/>
                  <a:gd name="connsiteY121" fmla="*/ 1128705 h 3043957"/>
                  <a:gd name="connsiteX122" fmla="*/ 689064 w 3717261"/>
                  <a:gd name="connsiteY122" fmla="*/ 1094153 h 3043957"/>
                  <a:gd name="connsiteX123" fmla="*/ 689849 w 3717261"/>
                  <a:gd name="connsiteY123" fmla="*/ 1018302 h 3043957"/>
                  <a:gd name="connsiteX124" fmla="*/ 699332 w 3717261"/>
                  <a:gd name="connsiteY124" fmla="*/ 1032698 h 3043957"/>
                  <a:gd name="connsiteX125" fmla="*/ 699332 w 3717261"/>
                  <a:gd name="connsiteY125" fmla="*/ 1114919 h 3043957"/>
                  <a:gd name="connsiteX126" fmla="*/ 678970 w 3717261"/>
                  <a:gd name="connsiteY126" fmla="*/ 1135743 h 3043957"/>
                  <a:gd name="connsiteX127" fmla="*/ 259829 w 3717261"/>
                  <a:gd name="connsiteY127" fmla="*/ 1135743 h 3043957"/>
                  <a:gd name="connsiteX128" fmla="*/ 242376 w 3717261"/>
                  <a:gd name="connsiteY128" fmla="*/ 1138652 h 3043957"/>
                  <a:gd name="connsiteX129" fmla="*/ 265909 w 3717261"/>
                  <a:gd name="connsiteY129" fmla="*/ 1147900 h 3043957"/>
                  <a:gd name="connsiteX130" fmla="*/ 254273 w 3717261"/>
                  <a:gd name="connsiteY130" fmla="*/ 1184517 h 3043957"/>
                  <a:gd name="connsiteX131" fmla="*/ 254273 w 3717261"/>
                  <a:gd name="connsiteY131" fmla="*/ 1508687 h 3043957"/>
                  <a:gd name="connsiteX132" fmla="*/ 291448 w 3717261"/>
                  <a:gd name="connsiteY132" fmla="*/ 1547485 h 3043957"/>
                  <a:gd name="connsiteX133" fmla="*/ 652150 w 3717261"/>
                  <a:gd name="connsiteY133" fmla="*/ 1547485 h 3043957"/>
                  <a:gd name="connsiteX134" fmla="*/ 680541 w 3717261"/>
                  <a:gd name="connsiteY134" fmla="*/ 1540156 h 3043957"/>
                  <a:gd name="connsiteX135" fmla="*/ 686679 w 3717261"/>
                  <a:gd name="connsiteY135" fmla="*/ 1535328 h 3043957"/>
                  <a:gd name="connsiteX136" fmla="*/ 695231 w 3717261"/>
                  <a:gd name="connsiteY136" fmla="*/ 1525817 h 3043957"/>
                  <a:gd name="connsiteX137" fmla="*/ 699245 w 3717261"/>
                  <a:gd name="connsiteY137" fmla="*/ 1539545 h 3043957"/>
                  <a:gd name="connsiteX138" fmla="*/ 699710 w 3717261"/>
                  <a:gd name="connsiteY138" fmla="*/ 1621736 h 3043957"/>
                  <a:gd name="connsiteX139" fmla="*/ 679523 w 3717261"/>
                  <a:gd name="connsiteY139" fmla="*/ 1642095 h 3043957"/>
                  <a:gd name="connsiteX140" fmla="*/ 260382 w 3717261"/>
                  <a:gd name="connsiteY140" fmla="*/ 1641804 h 3043957"/>
                  <a:gd name="connsiteX141" fmla="*/ 241445 w 3717261"/>
                  <a:gd name="connsiteY141" fmla="*/ 1644160 h 3043957"/>
                  <a:gd name="connsiteX142" fmla="*/ 270534 w 3717261"/>
                  <a:gd name="connsiteY142" fmla="*/ 1647941 h 3043957"/>
                  <a:gd name="connsiteX143" fmla="*/ 684933 w 3717261"/>
                  <a:gd name="connsiteY143" fmla="*/ 1647766 h 3043957"/>
                  <a:gd name="connsiteX144" fmla="*/ 699478 w 3717261"/>
                  <a:gd name="connsiteY144" fmla="*/ 1662308 h 3043957"/>
                  <a:gd name="connsiteX145" fmla="*/ 699303 w 3717261"/>
                  <a:gd name="connsiteY145" fmla="*/ 1746099 h 3043957"/>
                  <a:gd name="connsiteX146" fmla="*/ 677021 w 3717261"/>
                  <a:gd name="connsiteY146" fmla="*/ 1768349 h 3043957"/>
                  <a:gd name="connsiteX147" fmla="*/ 292670 w 3717261"/>
                  <a:gd name="connsiteY147" fmla="*/ 1768639 h 3043957"/>
                  <a:gd name="connsiteX148" fmla="*/ 240310 w 3717261"/>
                  <a:gd name="connsiteY148" fmla="*/ 1774078 h 3043957"/>
                  <a:gd name="connsiteX149" fmla="*/ 257764 w 3717261"/>
                  <a:gd name="connsiteY149" fmla="*/ 1775445 h 3043957"/>
                  <a:gd name="connsiteX150" fmla="*/ 263029 w 3717261"/>
                  <a:gd name="connsiteY150" fmla="*/ 1781611 h 3043957"/>
                  <a:gd name="connsiteX151" fmla="*/ 263029 w 3717261"/>
                  <a:gd name="connsiteY151" fmla="*/ 1781611 h 3043957"/>
                  <a:gd name="connsiteX152" fmla="*/ 258986 w 3717261"/>
                  <a:gd name="connsiteY152" fmla="*/ 1787020 h 3043957"/>
                  <a:gd name="connsiteX153" fmla="*/ 255029 w 3717261"/>
                  <a:gd name="connsiteY153" fmla="*/ 1807001 h 3043957"/>
                  <a:gd name="connsiteX154" fmla="*/ 254302 w 3717261"/>
                  <a:gd name="connsiteY154" fmla="*/ 2028039 h 3043957"/>
                  <a:gd name="connsiteX155" fmla="*/ 254477 w 3717261"/>
                  <a:gd name="connsiteY155" fmla="*/ 2280576 h 3043957"/>
                  <a:gd name="connsiteX156" fmla="*/ 265618 w 3717261"/>
                  <a:gd name="connsiteY156" fmla="*/ 2318763 h 3043957"/>
                  <a:gd name="connsiteX157" fmla="*/ 281180 w 3717261"/>
                  <a:gd name="connsiteY157" fmla="*/ 2324958 h 3043957"/>
                  <a:gd name="connsiteX158" fmla="*/ 658113 w 3717261"/>
                  <a:gd name="connsiteY158" fmla="*/ 2325161 h 3043957"/>
                  <a:gd name="connsiteX159" fmla="*/ 689878 w 3717261"/>
                  <a:gd name="connsiteY159" fmla="*/ 2296077 h 3043957"/>
                  <a:gd name="connsiteX160" fmla="*/ 695085 w 3717261"/>
                  <a:gd name="connsiteY160" fmla="*/ 2286247 h 3043957"/>
                  <a:gd name="connsiteX161" fmla="*/ 699012 w 3717261"/>
                  <a:gd name="connsiteY161" fmla="*/ 2294972 h 3043957"/>
                  <a:gd name="connsiteX162" fmla="*/ 699012 w 3717261"/>
                  <a:gd name="connsiteY162" fmla="*/ 2394003 h 3043957"/>
                  <a:gd name="connsiteX163" fmla="*/ 694998 w 3717261"/>
                  <a:gd name="connsiteY163" fmla="*/ 2402903 h 3043957"/>
                  <a:gd name="connsiteX164" fmla="*/ 689878 w 3717261"/>
                  <a:gd name="connsiteY164" fmla="*/ 2393683 h 3043957"/>
                  <a:gd name="connsiteX165" fmla="*/ 686475 w 3717261"/>
                  <a:gd name="connsiteY165" fmla="*/ 2356892 h 3043957"/>
                  <a:gd name="connsiteX166" fmla="*/ 686475 w 3717261"/>
                  <a:gd name="connsiteY166" fmla="*/ 2356892 h 3043957"/>
                  <a:gd name="connsiteX167" fmla="*/ 680192 w 3717261"/>
                  <a:gd name="connsiteY167" fmla="*/ 2347410 h 3043957"/>
                  <a:gd name="connsiteX168" fmla="*/ 680192 w 3717261"/>
                  <a:gd name="connsiteY168" fmla="*/ 2347410 h 3043957"/>
                  <a:gd name="connsiteX169" fmla="*/ 670942 w 3717261"/>
                  <a:gd name="connsiteY169" fmla="*/ 2340954 h 3043957"/>
                  <a:gd name="connsiteX170" fmla="*/ 670709 w 3717261"/>
                  <a:gd name="connsiteY170" fmla="*/ 2340954 h 3043957"/>
                  <a:gd name="connsiteX171" fmla="*/ 654157 w 3717261"/>
                  <a:gd name="connsiteY171" fmla="*/ 2337813 h 3043957"/>
                  <a:gd name="connsiteX172" fmla="*/ 289703 w 3717261"/>
                  <a:gd name="connsiteY172" fmla="*/ 2337813 h 3043957"/>
                  <a:gd name="connsiteX173" fmla="*/ 271668 w 3717261"/>
                  <a:gd name="connsiteY173" fmla="*/ 2341216 h 3043957"/>
                  <a:gd name="connsiteX174" fmla="*/ 271668 w 3717261"/>
                  <a:gd name="connsiteY174" fmla="*/ 2341216 h 3043957"/>
                  <a:gd name="connsiteX175" fmla="*/ 268265 w 3717261"/>
                  <a:gd name="connsiteY175" fmla="*/ 2343397 h 3043957"/>
                  <a:gd name="connsiteX176" fmla="*/ 267479 w 3717261"/>
                  <a:gd name="connsiteY176" fmla="*/ 2343949 h 3043957"/>
                  <a:gd name="connsiteX177" fmla="*/ 259655 w 3717261"/>
                  <a:gd name="connsiteY177" fmla="*/ 2351279 h 3043957"/>
                  <a:gd name="connsiteX178" fmla="*/ 258433 w 3717261"/>
                  <a:gd name="connsiteY178" fmla="*/ 2353896 h 3043957"/>
                  <a:gd name="connsiteX179" fmla="*/ 256338 w 3717261"/>
                  <a:gd name="connsiteY179" fmla="*/ 2357590 h 3043957"/>
                  <a:gd name="connsiteX180" fmla="*/ 256338 w 3717261"/>
                  <a:gd name="connsiteY180" fmla="*/ 2357299 h 3043957"/>
                  <a:gd name="connsiteX181" fmla="*/ 252673 w 3717261"/>
                  <a:gd name="connsiteY181" fmla="*/ 2370241 h 3043957"/>
                  <a:gd name="connsiteX182" fmla="*/ 251248 w 3717261"/>
                  <a:gd name="connsiteY182" fmla="*/ 2427566 h 3043957"/>
                  <a:gd name="connsiteX183" fmla="*/ 252528 w 3717261"/>
                  <a:gd name="connsiteY183" fmla="*/ 2515778 h 3043957"/>
                  <a:gd name="connsiteX184" fmla="*/ 243161 w 3717261"/>
                  <a:gd name="connsiteY184" fmla="*/ 2531308 h 3043957"/>
                  <a:gd name="connsiteX185" fmla="*/ 242434 w 3717261"/>
                  <a:gd name="connsiteY185" fmla="*/ 2539190 h 3043957"/>
                  <a:gd name="connsiteX186" fmla="*/ 252557 w 3717261"/>
                  <a:gd name="connsiteY186" fmla="*/ 2557106 h 3043957"/>
                  <a:gd name="connsiteX187" fmla="*/ 252557 w 3717261"/>
                  <a:gd name="connsiteY187" fmla="*/ 2625017 h 3043957"/>
                  <a:gd name="connsiteX188" fmla="*/ 251597 w 3717261"/>
                  <a:gd name="connsiteY188" fmla="*/ 2651192 h 3043957"/>
                  <a:gd name="connsiteX189" fmla="*/ 259218 w 3717261"/>
                  <a:gd name="connsiteY189" fmla="*/ 2676321 h 3043957"/>
                  <a:gd name="connsiteX190" fmla="*/ 259218 w 3717261"/>
                  <a:gd name="connsiteY190" fmla="*/ 2676321 h 3043957"/>
                  <a:gd name="connsiteX191" fmla="*/ 261894 w 3717261"/>
                  <a:gd name="connsiteY191" fmla="*/ 2679782 h 3043957"/>
                  <a:gd name="connsiteX192" fmla="*/ 262069 w 3717261"/>
                  <a:gd name="connsiteY192" fmla="*/ 2679956 h 3043957"/>
                  <a:gd name="connsiteX193" fmla="*/ 265268 w 3717261"/>
                  <a:gd name="connsiteY193" fmla="*/ 2682865 h 3043957"/>
                  <a:gd name="connsiteX194" fmla="*/ 265268 w 3717261"/>
                  <a:gd name="connsiteY194" fmla="*/ 2682865 h 3043957"/>
                  <a:gd name="connsiteX195" fmla="*/ 268905 w 3717261"/>
                  <a:gd name="connsiteY195" fmla="*/ 2685541 h 3043957"/>
                  <a:gd name="connsiteX196" fmla="*/ 268905 w 3717261"/>
                  <a:gd name="connsiteY196" fmla="*/ 2685541 h 3043957"/>
                  <a:gd name="connsiteX197" fmla="*/ 287172 w 3717261"/>
                  <a:gd name="connsiteY197" fmla="*/ 2692317 h 3043957"/>
                  <a:gd name="connsiteX198" fmla="*/ 657270 w 3717261"/>
                  <a:gd name="connsiteY198" fmla="*/ 2692317 h 3043957"/>
                  <a:gd name="connsiteX199" fmla="*/ 673676 w 3717261"/>
                  <a:gd name="connsiteY199" fmla="*/ 2685861 h 3043957"/>
                  <a:gd name="connsiteX200" fmla="*/ 673676 w 3717261"/>
                  <a:gd name="connsiteY200" fmla="*/ 2685861 h 3043957"/>
                  <a:gd name="connsiteX201" fmla="*/ 677225 w 3717261"/>
                  <a:gd name="connsiteY201" fmla="*/ 2683418 h 3043957"/>
                  <a:gd name="connsiteX202" fmla="*/ 677574 w 3717261"/>
                  <a:gd name="connsiteY202" fmla="*/ 2683127 h 3043957"/>
                  <a:gd name="connsiteX203" fmla="*/ 680483 w 3717261"/>
                  <a:gd name="connsiteY203" fmla="*/ 2680538 h 3043957"/>
                  <a:gd name="connsiteX204" fmla="*/ 681123 w 3717261"/>
                  <a:gd name="connsiteY204" fmla="*/ 2679956 h 3043957"/>
                  <a:gd name="connsiteX205" fmla="*/ 683450 w 3717261"/>
                  <a:gd name="connsiteY205" fmla="*/ 2676816 h 3043957"/>
                  <a:gd name="connsiteX206" fmla="*/ 683450 w 3717261"/>
                  <a:gd name="connsiteY206" fmla="*/ 2676641 h 3043957"/>
                  <a:gd name="connsiteX207" fmla="*/ 696365 w 3717261"/>
                  <a:gd name="connsiteY207" fmla="*/ 2668992 h 3043957"/>
                  <a:gd name="connsiteX208" fmla="*/ 698983 w 3717261"/>
                  <a:gd name="connsiteY208" fmla="*/ 2685163 h 3043957"/>
                  <a:gd name="connsiteX209" fmla="*/ 698983 w 3717261"/>
                  <a:gd name="connsiteY209" fmla="*/ 2773142 h 3043957"/>
                  <a:gd name="connsiteX210" fmla="*/ 689588 w 3717261"/>
                  <a:gd name="connsiteY210" fmla="*/ 2787276 h 3043957"/>
                  <a:gd name="connsiteX211" fmla="*/ 689588 w 3717261"/>
                  <a:gd name="connsiteY211" fmla="*/ 2787102 h 3043957"/>
                  <a:gd name="connsiteX212" fmla="*/ 689762 w 3717261"/>
                  <a:gd name="connsiteY212" fmla="*/ 2730708 h 3043957"/>
                  <a:gd name="connsiteX213" fmla="*/ 682955 w 3717261"/>
                  <a:gd name="connsiteY213" fmla="*/ 2714683 h 3043957"/>
                  <a:gd name="connsiteX214" fmla="*/ 651248 w 3717261"/>
                  <a:gd name="connsiteY214" fmla="*/ 2703922 h 3043957"/>
                  <a:gd name="connsiteX215" fmla="*/ 293659 w 3717261"/>
                  <a:gd name="connsiteY215" fmla="*/ 2703922 h 3043957"/>
                  <a:gd name="connsiteX216" fmla="*/ 254244 w 3717261"/>
                  <a:gd name="connsiteY216" fmla="*/ 2743621 h 3043957"/>
                  <a:gd name="connsiteX217" fmla="*/ 254244 w 3717261"/>
                  <a:gd name="connsiteY217" fmla="*/ 2906492 h 3043957"/>
                  <a:gd name="connsiteX218" fmla="*/ 293398 w 3717261"/>
                  <a:gd name="connsiteY218" fmla="*/ 2946453 h 3043957"/>
                  <a:gd name="connsiteX219" fmla="*/ 647816 w 3717261"/>
                  <a:gd name="connsiteY219" fmla="*/ 2946453 h 3043957"/>
                  <a:gd name="connsiteX220" fmla="*/ 673007 w 3717261"/>
                  <a:gd name="connsiteY220" fmla="*/ 2944621 h 3043957"/>
                  <a:gd name="connsiteX221" fmla="*/ 688744 w 3717261"/>
                  <a:gd name="connsiteY221" fmla="*/ 2930806 h 3043957"/>
                  <a:gd name="connsiteX222" fmla="*/ 694736 w 3717261"/>
                  <a:gd name="connsiteY222" fmla="*/ 2921499 h 3043957"/>
                  <a:gd name="connsiteX223" fmla="*/ 699099 w 3717261"/>
                  <a:gd name="connsiteY223" fmla="*/ 2933133 h 3043957"/>
                  <a:gd name="connsiteX224" fmla="*/ 698838 w 3717261"/>
                  <a:gd name="connsiteY224" fmla="*/ 3043041 h 3043957"/>
                  <a:gd name="connsiteX225" fmla="*/ 684613 w 3717261"/>
                  <a:gd name="connsiteY225" fmla="*/ 3043419 h 3043957"/>
                  <a:gd name="connsiteX226" fmla="*/ 2771 w 3717261"/>
                  <a:gd name="connsiteY226" fmla="*/ 3043419 h 3043957"/>
                  <a:gd name="connsiteX227" fmla="*/ -632 w 3717261"/>
                  <a:gd name="connsiteY227" fmla="*/ 3023525 h 3043957"/>
                  <a:gd name="connsiteX228" fmla="*/ -981 w 3717261"/>
                  <a:gd name="connsiteY228" fmla="*/ 19500 h 3043957"/>
                  <a:gd name="connsiteX229" fmla="*/ 19381 w 3717261"/>
                  <a:gd name="connsiteY229" fmla="*/ -539 h 3043957"/>
                  <a:gd name="connsiteX230" fmla="*/ 3696209 w 3717261"/>
                  <a:gd name="connsiteY230" fmla="*/ -539 h 3043957"/>
                  <a:gd name="connsiteX231" fmla="*/ 3716281 w 3717261"/>
                  <a:gd name="connsiteY231" fmla="*/ 18191 h 3043957"/>
                  <a:gd name="connsiteX232" fmla="*/ 3715902 w 3717261"/>
                  <a:gd name="connsiteY232" fmla="*/ 1903822 h 3043957"/>
                  <a:gd name="connsiteX233" fmla="*/ 3715815 w 3717261"/>
                  <a:gd name="connsiteY233" fmla="*/ 1914030 h 3043957"/>
                  <a:gd name="connsiteX234" fmla="*/ 1393508 w 3717261"/>
                  <a:gd name="connsiteY234" fmla="*/ 316826 h 3043957"/>
                  <a:gd name="connsiteX235" fmla="*/ 1210103 w 3717261"/>
                  <a:gd name="connsiteY235" fmla="*/ 316826 h 3043957"/>
                  <a:gd name="connsiteX236" fmla="*/ 1180607 w 3717261"/>
                  <a:gd name="connsiteY236" fmla="*/ 340936 h 3043957"/>
                  <a:gd name="connsiteX237" fmla="*/ 1180607 w 3717261"/>
                  <a:gd name="connsiteY237" fmla="*/ 419928 h 3043957"/>
                  <a:gd name="connsiteX238" fmla="*/ 1217026 w 3717261"/>
                  <a:gd name="connsiteY238" fmla="*/ 453171 h 3043957"/>
                  <a:gd name="connsiteX239" fmla="*/ 1337163 w 3717261"/>
                  <a:gd name="connsiteY239" fmla="*/ 452793 h 3043957"/>
                  <a:gd name="connsiteX240" fmla="*/ 1574324 w 3717261"/>
                  <a:gd name="connsiteY240" fmla="*/ 452793 h 3043957"/>
                  <a:gd name="connsiteX241" fmla="*/ 1610831 w 3717261"/>
                  <a:gd name="connsiteY241" fmla="*/ 417892 h 3043957"/>
                  <a:gd name="connsiteX242" fmla="*/ 1610831 w 3717261"/>
                  <a:gd name="connsiteY242" fmla="*/ 359405 h 3043957"/>
                  <a:gd name="connsiteX243" fmla="*/ 1567343 w 3717261"/>
                  <a:gd name="connsiteY243" fmla="*/ 316913 h 3043957"/>
                  <a:gd name="connsiteX244" fmla="*/ 934079 w 3717261"/>
                  <a:gd name="connsiteY244" fmla="*/ 316826 h 3043957"/>
                  <a:gd name="connsiteX245" fmla="*/ 750645 w 3717261"/>
                  <a:gd name="connsiteY245" fmla="*/ 316826 h 3043957"/>
                  <a:gd name="connsiteX246" fmla="*/ 718153 w 3717261"/>
                  <a:gd name="connsiteY246" fmla="*/ 349342 h 3043957"/>
                  <a:gd name="connsiteX247" fmla="*/ 717862 w 3717261"/>
                  <a:gd name="connsiteY247" fmla="*/ 412541 h 3043957"/>
                  <a:gd name="connsiteX248" fmla="*/ 758033 w 3717261"/>
                  <a:gd name="connsiteY248" fmla="*/ 452968 h 3043957"/>
                  <a:gd name="connsiteX249" fmla="*/ 1042668 w 3717261"/>
                  <a:gd name="connsiteY249" fmla="*/ 452764 h 3043957"/>
                  <a:gd name="connsiteX250" fmla="*/ 1113819 w 3717261"/>
                  <a:gd name="connsiteY250" fmla="*/ 452764 h 3043957"/>
                  <a:gd name="connsiteX251" fmla="*/ 1148725 w 3717261"/>
                  <a:gd name="connsiteY251" fmla="*/ 417863 h 3043957"/>
                  <a:gd name="connsiteX252" fmla="*/ 1148725 w 3717261"/>
                  <a:gd name="connsiteY252" fmla="*/ 353064 h 3043957"/>
                  <a:gd name="connsiteX253" fmla="*/ 1112743 w 3717261"/>
                  <a:gd name="connsiteY253" fmla="*/ 316826 h 3043957"/>
                  <a:gd name="connsiteX254" fmla="*/ 934079 w 3717261"/>
                  <a:gd name="connsiteY254" fmla="*/ 316797 h 3043957"/>
                  <a:gd name="connsiteX255" fmla="*/ 471043 w 3717261"/>
                  <a:gd name="connsiteY255" fmla="*/ 316826 h 3043957"/>
                  <a:gd name="connsiteX256" fmla="*/ 289209 w 3717261"/>
                  <a:gd name="connsiteY256" fmla="*/ 316826 h 3043957"/>
                  <a:gd name="connsiteX257" fmla="*/ 255989 w 3717261"/>
                  <a:gd name="connsiteY257" fmla="*/ 349342 h 3043957"/>
                  <a:gd name="connsiteX258" fmla="*/ 255989 w 3717261"/>
                  <a:gd name="connsiteY258" fmla="*/ 404601 h 3043957"/>
                  <a:gd name="connsiteX259" fmla="*/ 305179 w 3717261"/>
                  <a:gd name="connsiteY259" fmla="*/ 452735 h 3043957"/>
                  <a:gd name="connsiteX260" fmla="*/ 466476 w 3717261"/>
                  <a:gd name="connsiteY260" fmla="*/ 452735 h 3043957"/>
                  <a:gd name="connsiteX261" fmla="*/ 646827 w 3717261"/>
                  <a:gd name="connsiteY261" fmla="*/ 452124 h 3043957"/>
                  <a:gd name="connsiteX262" fmla="*/ 686940 w 3717261"/>
                  <a:gd name="connsiteY262" fmla="*/ 412948 h 3043957"/>
                  <a:gd name="connsiteX263" fmla="*/ 686940 w 3717261"/>
                  <a:gd name="connsiteY263" fmla="*/ 351377 h 3043957"/>
                  <a:gd name="connsiteX264" fmla="*/ 651336 w 3717261"/>
                  <a:gd name="connsiteY264" fmla="*/ 316768 h 3043957"/>
                  <a:gd name="connsiteX265" fmla="*/ 471043 w 3717261"/>
                  <a:gd name="connsiteY265" fmla="*/ 316797 h 3043957"/>
                  <a:gd name="connsiteX266" fmla="*/ 1858261 w 3717261"/>
                  <a:gd name="connsiteY266" fmla="*/ 452851 h 3043957"/>
                  <a:gd name="connsiteX267" fmla="*/ 2040298 w 3717261"/>
                  <a:gd name="connsiteY267" fmla="*/ 452851 h 3043957"/>
                  <a:gd name="connsiteX268" fmla="*/ 2071103 w 3717261"/>
                  <a:gd name="connsiteY268" fmla="*/ 428072 h 3043957"/>
                  <a:gd name="connsiteX269" fmla="*/ 2072354 w 3717261"/>
                  <a:gd name="connsiteY269" fmla="*/ 341344 h 3043957"/>
                  <a:gd name="connsiteX270" fmla="*/ 2053388 w 3717261"/>
                  <a:gd name="connsiteY270" fmla="*/ 320723 h 3043957"/>
                  <a:gd name="connsiteX271" fmla="*/ 1965569 w 3717261"/>
                  <a:gd name="connsiteY271" fmla="*/ 317291 h 3043957"/>
                  <a:gd name="connsiteX272" fmla="*/ 1895581 w 3717261"/>
                  <a:gd name="connsiteY272" fmla="*/ 317291 h 3043957"/>
                  <a:gd name="connsiteX273" fmla="*/ 1813987 w 3717261"/>
                  <a:gd name="connsiteY273" fmla="*/ 317553 h 3043957"/>
                  <a:gd name="connsiteX274" fmla="*/ 1749992 w 3717261"/>
                  <a:gd name="connsiteY274" fmla="*/ 317989 h 3043957"/>
                  <a:gd name="connsiteX275" fmla="*/ 1674361 w 3717261"/>
                  <a:gd name="connsiteY275" fmla="*/ 317058 h 3043957"/>
                  <a:gd name="connsiteX276" fmla="*/ 1642537 w 3717261"/>
                  <a:gd name="connsiteY276" fmla="*/ 350796 h 3043957"/>
                  <a:gd name="connsiteX277" fmla="*/ 1642537 w 3717261"/>
                  <a:gd name="connsiteY277" fmla="*/ 417253 h 3043957"/>
                  <a:gd name="connsiteX278" fmla="*/ 1677822 w 3717261"/>
                  <a:gd name="connsiteY278" fmla="*/ 452706 h 3043957"/>
                  <a:gd name="connsiteX279" fmla="*/ 1858261 w 3717261"/>
                  <a:gd name="connsiteY279" fmla="*/ 452822 h 3043957"/>
                  <a:gd name="connsiteX280" fmla="*/ 2780377 w 3717261"/>
                  <a:gd name="connsiteY280" fmla="*/ 452851 h 3043957"/>
                  <a:gd name="connsiteX281" fmla="*/ 2967010 w 3717261"/>
                  <a:gd name="connsiteY281" fmla="*/ 452851 h 3043957"/>
                  <a:gd name="connsiteX282" fmla="*/ 2994732 w 3717261"/>
                  <a:gd name="connsiteY282" fmla="*/ 430951 h 3043957"/>
                  <a:gd name="connsiteX283" fmla="*/ 2994383 w 3717261"/>
                  <a:gd name="connsiteY283" fmla="*/ 340064 h 3043957"/>
                  <a:gd name="connsiteX284" fmla="*/ 2968610 w 3717261"/>
                  <a:gd name="connsiteY284" fmla="*/ 319705 h 3043957"/>
                  <a:gd name="connsiteX285" fmla="*/ 2595371 w 3717261"/>
                  <a:gd name="connsiteY285" fmla="*/ 319705 h 3043957"/>
                  <a:gd name="connsiteX286" fmla="*/ 2563897 w 3717261"/>
                  <a:gd name="connsiteY286" fmla="*/ 351697 h 3043957"/>
                  <a:gd name="connsiteX287" fmla="*/ 2563897 w 3717261"/>
                  <a:gd name="connsiteY287" fmla="*/ 421266 h 3043957"/>
                  <a:gd name="connsiteX288" fmla="*/ 2595313 w 3717261"/>
                  <a:gd name="connsiteY288" fmla="*/ 452561 h 3043957"/>
                  <a:gd name="connsiteX289" fmla="*/ 2780347 w 3717261"/>
                  <a:gd name="connsiteY289" fmla="*/ 452822 h 3043957"/>
                  <a:gd name="connsiteX290" fmla="*/ 3241638 w 3717261"/>
                  <a:gd name="connsiteY290" fmla="*/ 452851 h 3043957"/>
                  <a:gd name="connsiteX291" fmla="*/ 3425101 w 3717261"/>
                  <a:gd name="connsiteY291" fmla="*/ 452851 h 3043957"/>
                  <a:gd name="connsiteX292" fmla="*/ 3459630 w 3717261"/>
                  <a:gd name="connsiteY292" fmla="*/ 419172 h 3043957"/>
                  <a:gd name="connsiteX293" fmla="*/ 3459630 w 3717261"/>
                  <a:gd name="connsiteY293" fmla="*/ 352774 h 3043957"/>
                  <a:gd name="connsiteX294" fmla="*/ 3426149 w 3717261"/>
                  <a:gd name="connsiteY294" fmla="*/ 319967 h 3043957"/>
                  <a:gd name="connsiteX295" fmla="*/ 3059193 w 3717261"/>
                  <a:gd name="connsiteY295" fmla="*/ 319967 h 3043957"/>
                  <a:gd name="connsiteX296" fmla="*/ 3026323 w 3717261"/>
                  <a:gd name="connsiteY296" fmla="*/ 350650 h 3043957"/>
                  <a:gd name="connsiteX297" fmla="*/ 3026323 w 3717261"/>
                  <a:gd name="connsiteY297" fmla="*/ 421761 h 3043957"/>
                  <a:gd name="connsiteX298" fmla="*/ 3059775 w 3717261"/>
                  <a:gd name="connsiteY298" fmla="*/ 452822 h 3043957"/>
                  <a:gd name="connsiteX299" fmla="*/ 2319988 w 3717261"/>
                  <a:gd name="connsiteY299" fmla="*/ 319909 h 3043957"/>
                  <a:gd name="connsiteX300" fmla="*/ 2134953 w 3717261"/>
                  <a:gd name="connsiteY300" fmla="*/ 319909 h 3043957"/>
                  <a:gd name="connsiteX301" fmla="*/ 2104759 w 3717261"/>
                  <a:gd name="connsiteY301" fmla="*/ 350389 h 3043957"/>
                  <a:gd name="connsiteX302" fmla="*/ 2104759 w 3717261"/>
                  <a:gd name="connsiteY302" fmla="*/ 418358 h 3043957"/>
                  <a:gd name="connsiteX303" fmla="*/ 2138822 w 3717261"/>
                  <a:gd name="connsiteY303" fmla="*/ 452764 h 3043957"/>
                  <a:gd name="connsiteX304" fmla="*/ 2356988 w 3717261"/>
                  <a:gd name="connsiteY304" fmla="*/ 452764 h 3043957"/>
                  <a:gd name="connsiteX305" fmla="*/ 2497749 w 3717261"/>
                  <a:gd name="connsiteY305" fmla="*/ 452764 h 3043957"/>
                  <a:gd name="connsiteX306" fmla="*/ 2535128 w 3717261"/>
                  <a:gd name="connsiteY306" fmla="*/ 416816 h 3043957"/>
                  <a:gd name="connsiteX307" fmla="*/ 2535128 w 3717261"/>
                  <a:gd name="connsiteY307" fmla="*/ 353588 h 3043957"/>
                  <a:gd name="connsiteX308" fmla="*/ 2501705 w 3717261"/>
                  <a:gd name="connsiteY308" fmla="*/ 319909 h 3043957"/>
                  <a:gd name="connsiteX309" fmla="*/ 3396710 w 3717261"/>
                  <a:gd name="connsiteY309" fmla="*/ 130019 h 3043957"/>
                  <a:gd name="connsiteX310" fmla="*/ 3377774 w 3717261"/>
                  <a:gd name="connsiteY310" fmla="*/ 130019 h 3043957"/>
                  <a:gd name="connsiteX311" fmla="*/ 3363404 w 3717261"/>
                  <a:gd name="connsiteY311" fmla="*/ 134295 h 3043957"/>
                  <a:gd name="connsiteX312" fmla="*/ 3367418 w 3717261"/>
                  <a:gd name="connsiteY312" fmla="*/ 148284 h 3043957"/>
                  <a:gd name="connsiteX313" fmla="*/ 3385802 w 3717261"/>
                  <a:gd name="connsiteY313" fmla="*/ 175768 h 3043957"/>
                  <a:gd name="connsiteX314" fmla="*/ 3405583 w 3717261"/>
                  <a:gd name="connsiteY314" fmla="*/ 177368 h 3043957"/>
                  <a:gd name="connsiteX315" fmla="*/ 3427545 w 3717261"/>
                  <a:gd name="connsiteY315" fmla="*/ 146568 h 3043957"/>
                  <a:gd name="connsiteX316" fmla="*/ 3418818 w 3717261"/>
                  <a:gd name="connsiteY316" fmla="*/ 130048 h 3043957"/>
                  <a:gd name="connsiteX317" fmla="*/ 3396710 w 3717261"/>
                  <a:gd name="connsiteY317" fmla="*/ 130019 h 3043957"/>
                  <a:gd name="connsiteX318" fmla="*/ 3471731 w 3717261"/>
                  <a:gd name="connsiteY318" fmla="*/ 1648203 h 3043957"/>
                  <a:gd name="connsiteX319" fmla="*/ 3471731 w 3717261"/>
                  <a:gd name="connsiteY319" fmla="*/ 1646516 h 3043957"/>
                  <a:gd name="connsiteX320" fmla="*/ 3023414 w 3717261"/>
                  <a:gd name="connsiteY320" fmla="*/ 1646516 h 3043957"/>
                  <a:gd name="connsiteX321" fmla="*/ 3023414 w 3717261"/>
                  <a:gd name="connsiteY321" fmla="*/ 1648203 h 304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Lst>
                <a:rect l="l" t="t" r="r" b="b"/>
                <a:pathLst>
                  <a:path w="3717261" h="3043957">
                    <a:moveTo>
                      <a:pt x="3715815" y="1914030"/>
                    </a:moveTo>
                    <a:lnTo>
                      <a:pt x="3712906" y="1915019"/>
                    </a:lnTo>
                    <a:lnTo>
                      <a:pt x="3462742" y="1915019"/>
                    </a:lnTo>
                    <a:cubicBezTo>
                      <a:pt x="3455703" y="1908766"/>
                      <a:pt x="3465651" y="1903938"/>
                      <a:pt x="3464429" y="1899139"/>
                    </a:cubicBezTo>
                    <a:cubicBezTo>
                      <a:pt x="3454190" y="1861039"/>
                      <a:pt x="3461287" y="1822387"/>
                      <a:pt x="3460851" y="1784083"/>
                    </a:cubicBezTo>
                    <a:cubicBezTo>
                      <a:pt x="3460706" y="1769541"/>
                      <a:pt x="3460444" y="1755639"/>
                      <a:pt x="3456284" y="1741824"/>
                    </a:cubicBezTo>
                    <a:cubicBezTo>
                      <a:pt x="3456081" y="1741068"/>
                      <a:pt x="3455761" y="1740341"/>
                      <a:pt x="3455383" y="1739643"/>
                    </a:cubicBezTo>
                    <a:cubicBezTo>
                      <a:pt x="3455673" y="1739003"/>
                      <a:pt x="3455354" y="1738246"/>
                      <a:pt x="3454713" y="1737956"/>
                    </a:cubicBezTo>
                    <a:cubicBezTo>
                      <a:pt x="3454598" y="1737927"/>
                      <a:pt x="3454452" y="1737868"/>
                      <a:pt x="3454336" y="1737868"/>
                    </a:cubicBezTo>
                    <a:cubicBezTo>
                      <a:pt x="3453929" y="1737432"/>
                      <a:pt x="3453492" y="1737025"/>
                      <a:pt x="3453056" y="1736618"/>
                    </a:cubicBezTo>
                    <a:lnTo>
                      <a:pt x="3450961" y="1734175"/>
                    </a:lnTo>
                    <a:cubicBezTo>
                      <a:pt x="3450612" y="1733710"/>
                      <a:pt x="3450234" y="1733244"/>
                      <a:pt x="3449856" y="1732808"/>
                    </a:cubicBezTo>
                    <a:cubicBezTo>
                      <a:pt x="3449739" y="1732052"/>
                      <a:pt x="3449070" y="1731528"/>
                      <a:pt x="3448314" y="1731528"/>
                    </a:cubicBezTo>
                    <a:cubicBezTo>
                      <a:pt x="3442787" y="1727427"/>
                      <a:pt x="3436126" y="1725130"/>
                      <a:pt x="3429231" y="1724984"/>
                    </a:cubicBezTo>
                    <a:cubicBezTo>
                      <a:pt x="3304877" y="1724984"/>
                      <a:pt x="3180522" y="1725043"/>
                      <a:pt x="3056167" y="1725159"/>
                    </a:cubicBezTo>
                    <a:cubicBezTo>
                      <a:pt x="3038191" y="1725159"/>
                      <a:pt x="3026934" y="1737083"/>
                      <a:pt x="3026061" y="1754854"/>
                    </a:cubicBezTo>
                    <a:cubicBezTo>
                      <a:pt x="3025828" y="1759594"/>
                      <a:pt x="3025711" y="1764306"/>
                      <a:pt x="3025537" y="1769047"/>
                    </a:cubicBezTo>
                    <a:cubicBezTo>
                      <a:pt x="3012971" y="1773845"/>
                      <a:pt x="3013290" y="1765934"/>
                      <a:pt x="3013319" y="1757238"/>
                    </a:cubicBezTo>
                    <a:cubicBezTo>
                      <a:pt x="3013319" y="1686622"/>
                      <a:pt x="3013844" y="1616036"/>
                      <a:pt x="3013029" y="1545449"/>
                    </a:cubicBezTo>
                    <a:cubicBezTo>
                      <a:pt x="3012854" y="1529831"/>
                      <a:pt x="3016461" y="1524800"/>
                      <a:pt x="3032954" y="1524886"/>
                    </a:cubicBezTo>
                    <a:cubicBezTo>
                      <a:pt x="3172581" y="1525584"/>
                      <a:pt x="3312207" y="1525294"/>
                      <a:pt x="3452066" y="1525265"/>
                    </a:cubicBezTo>
                    <a:cubicBezTo>
                      <a:pt x="3456808" y="1525265"/>
                      <a:pt x="3461549" y="1525265"/>
                      <a:pt x="3466291" y="1525032"/>
                    </a:cubicBezTo>
                    <a:cubicBezTo>
                      <a:pt x="3469607" y="1525032"/>
                      <a:pt x="3473243" y="1523694"/>
                      <a:pt x="3473418" y="1520146"/>
                    </a:cubicBezTo>
                    <a:cubicBezTo>
                      <a:pt x="3473650" y="1515900"/>
                      <a:pt x="3469549" y="1515958"/>
                      <a:pt x="3466436" y="1515841"/>
                    </a:cubicBezTo>
                    <a:cubicBezTo>
                      <a:pt x="3462248" y="1515841"/>
                      <a:pt x="3458030" y="1515841"/>
                      <a:pt x="3453812" y="1515841"/>
                    </a:cubicBezTo>
                    <a:lnTo>
                      <a:pt x="3202339" y="1515841"/>
                    </a:lnTo>
                    <a:cubicBezTo>
                      <a:pt x="3144365" y="1515841"/>
                      <a:pt x="3086362" y="1515841"/>
                      <a:pt x="3028388" y="1516016"/>
                    </a:cubicBezTo>
                    <a:cubicBezTo>
                      <a:pt x="3018207" y="1516016"/>
                      <a:pt x="3012913" y="1514155"/>
                      <a:pt x="3013175" y="1502259"/>
                    </a:cubicBezTo>
                    <a:cubicBezTo>
                      <a:pt x="3013844" y="1470645"/>
                      <a:pt x="3013640" y="1439031"/>
                      <a:pt x="3013175" y="1407416"/>
                    </a:cubicBezTo>
                    <a:cubicBezTo>
                      <a:pt x="3013175" y="1398284"/>
                      <a:pt x="3016665" y="1394881"/>
                      <a:pt x="3025304" y="1395783"/>
                    </a:cubicBezTo>
                    <a:lnTo>
                      <a:pt x="3025915" y="1455783"/>
                    </a:lnTo>
                    <a:cubicBezTo>
                      <a:pt x="3026148" y="1478090"/>
                      <a:pt x="3037405" y="1490044"/>
                      <a:pt x="3059251" y="1490073"/>
                    </a:cubicBezTo>
                    <a:cubicBezTo>
                      <a:pt x="3181569" y="1490219"/>
                      <a:pt x="3303888" y="1490219"/>
                      <a:pt x="3426207" y="1490073"/>
                    </a:cubicBezTo>
                    <a:cubicBezTo>
                      <a:pt x="3446365" y="1490073"/>
                      <a:pt x="3457855" y="1479632"/>
                      <a:pt x="3458699" y="1459913"/>
                    </a:cubicBezTo>
                    <a:cubicBezTo>
                      <a:pt x="3459688" y="1436646"/>
                      <a:pt x="3460241" y="1413611"/>
                      <a:pt x="3459891" y="1390490"/>
                    </a:cubicBezTo>
                    <a:cubicBezTo>
                      <a:pt x="3458641" y="1307339"/>
                      <a:pt x="3458903" y="1224216"/>
                      <a:pt x="3459746" y="1141095"/>
                    </a:cubicBezTo>
                    <a:cubicBezTo>
                      <a:pt x="3460037" y="1114134"/>
                      <a:pt x="3457477" y="1097032"/>
                      <a:pt x="3418033" y="1097469"/>
                    </a:cubicBezTo>
                    <a:cubicBezTo>
                      <a:pt x="3300979" y="1098457"/>
                      <a:pt x="3183955" y="1097847"/>
                      <a:pt x="3066902" y="1097905"/>
                    </a:cubicBezTo>
                    <a:cubicBezTo>
                      <a:pt x="3034293" y="1097905"/>
                      <a:pt x="3027515" y="1104216"/>
                      <a:pt x="3025304" y="1136325"/>
                    </a:cubicBezTo>
                    <a:cubicBezTo>
                      <a:pt x="3018178" y="1136703"/>
                      <a:pt x="3013175" y="1135307"/>
                      <a:pt x="3013261" y="1126262"/>
                    </a:cubicBezTo>
                    <a:cubicBezTo>
                      <a:pt x="3013523" y="1093252"/>
                      <a:pt x="3013261" y="1060241"/>
                      <a:pt x="3013261" y="1027202"/>
                    </a:cubicBezTo>
                    <a:cubicBezTo>
                      <a:pt x="3013261" y="1019145"/>
                      <a:pt x="3017567" y="1015946"/>
                      <a:pt x="3025188" y="1016266"/>
                    </a:cubicBezTo>
                    <a:cubicBezTo>
                      <a:pt x="3025421" y="1027900"/>
                      <a:pt x="3025653" y="1039446"/>
                      <a:pt x="3025915" y="1050934"/>
                    </a:cubicBezTo>
                    <a:cubicBezTo>
                      <a:pt x="3026323" y="1070769"/>
                      <a:pt x="3037115" y="1082636"/>
                      <a:pt x="3057011" y="1082694"/>
                    </a:cubicBezTo>
                    <a:cubicBezTo>
                      <a:pt x="3180115" y="1082956"/>
                      <a:pt x="3303248" y="1082956"/>
                      <a:pt x="3426439" y="1082694"/>
                    </a:cubicBezTo>
                    <a:cubicBezTo>
                      <a:pt x="3440751" y="1082694"/>
                      <a:pt x="3451979" y="1077662"/>
                      <a:pt x="3457565" y="1063498"/>
                    </a:cubicBezTo>
                    <a:cubicBezTo>
                      <a:pt x="3463760" y="1059107"/>
                      <a:pt x="3462597" y="1052505"/>
                      <a:pt x="3462684" y="1046281"/>
                    </a:cubicBezTo>
                    <a:cubicBezTo>
                      <a:pt x="3462887" y="1033717"/>
                      <a:pt x="3459775" y="1020105"/>
                      <a:pt x="3474319" y="1012456"/>
                    </a:cubicBezTo>
                    <a:cubicBezTo>
                      <a:pt x="3459601" y="1004574"/>
                      <a:pt x="3462684" y="990643"/>
                      <a:pt x="3462684" y="977875"/>
                    </a:cubicBezTo>
                    <a:cubicBezTo>
                      <a:pt x="3462684" y="959523"/>
                      <a:pt x="3462684" y="941171"/>
                      <a:pt x="3462510" y="922848"/>
                    </a:cubicBezTo>
                    <a:cubicBezTo>
                      <a:pt x="3462510" y="917555"/>
                      <a:pt x="3464837" y="910749"/>
                      <a:pt x="3456692" y="908306"/>
                    </a:cubicBezTo>
                    <a:cubicBezTo>
                      <a:pt x="3455936" y="907635"/>
                      <a:pt x="3455528" y="906640"/>
                      <a:pt x="3455644" y="905631"/>
                    </a:cubicBezTo>
                    <a:cubicBezTo>
                      <a:pt x="3456081" y="899174"/>
                      <a:pt x="3452968" y="896062"/>
                      <a:pt x="3446598" y="896033"/>
                    </a:cubicBezTo>
                    <a:lnTo>
                      <a:pt x="3446307" y="896033"/>
                    </a:lnTo>
                    <a:cubicBezTo>
                      <a:pt x="3444503" y="889867"/>
                      <a:pt x="3448082" y="889402"/>
                      <a:pt x="3452881" y="889140"/>
                    </a:cubicBezTo>
                    <a:cubicBezTo>
                      <a:pt x="3458699" y="888849"/>
                      <a:pt x="3465011" y="891118"/>
                      <a:pt x="3470800" y="886232"/>
                    </a:cubicBezTo>
                    <a:cubicBezTo>
                      <a:pt x="3462626" y="874598"/>
                      <a:pt x="3447528" y="887395"/>
                      <a:pt x="3440111" y="876314"/>
                    </a:cubicBezTo>
                    <a:cubicBezTo>
                      <a:pt x="3453986" y="869508"/>
                      <a:pt x="3459543" y="858311"/>
                      <a:pt x="3459339" y="843013"/>
                    </a:cubicBezTo>
                    <a:cubicBezTo>
                      <a:pt x="3458932" y="811922"/>
                      <a:pt x="3459484" y="780831"/>
                      <a:pt x="3459339" y="749741"/>
                    </a:cubicBezTo>
                    <a:cubicBezTo>
                      <a:pt x="3459193" y="718650"/>
                      <a:pt x="3450408" y="710274"/>
                      <a:pt x="3418381" y="710274"/>
                    </a:cubicBezTo>
                    <a:lnTo>
                      <a:pt x="3068734" y="710274"/>
                    </a:lnTo>
                    <a:cubicBezTo>
                      <a:pt x="3063469" y="710102"/>
                      <a:pt x="3058175" y="710268"/>
                      <a:pt x="3052939" y="710768"/>
                    </a:cubicBezTo>
                    <a:cubicBezTo>
                      <a:pt x="3036882" y="712833"/>
                      <a:pt x="3027457" y="722983"/>
                      <a:pt x="3026323" y="739067"/>
                    </a:cubicBezTo>
                    <a:cubicBezTo>
                      <a:pt x="3025915" y="744884"/>
                      <a:pt x="3025711" y="750700"/>
                      <a:pt x="3025421" y="756517"/>
                    </a:cubicBezTo>
                    <a:cubicBezTo>
                      <a:pt x="3015007" y="757826"/>
                      <a:pt x="3013290" y="752067"/>
                      <a:pt x="3013378" y="743197"/>
                    </a:cubicBezTo>
                    <a:cubicBezTo>
                      <a:pt x="3013727" y="713153"/>
                      <a:pt x="3014483" y="683051"/>
                      <a:pt x="3013116" y="653036"/>
                    </a:cubicBezTo>
                    <a:cubicBezTo>
                      <a:pt x="3012389" y="636662"/>
                      <a:pt x="3017654" y="632852"/>
                      <a:pt x="3033479" y="632910"/>
                    </a:cubicBezTo>
                    <a:cubicBezTo>
                      <a:pt x="3173832" y="633550"/>
                      <a:pt x="3314186" y="633317"/>
                      <a:pt x="3454539" y="633201"/>
                    </a:cubicBezTo>
                    <a:cubicBezTo>
                      <a:pt x="3460706" y="633201"/>
                      <a:pt x="3467629" y="635237"/>
                      <a:pt x="3474319" y="630031"/>
                    </a:cubicBezTo>
                    <a:cubicBezTo>
                      <a:pt x="3466611" y="625174"/>
                      <a:pt x="3459775" y="627123"/>
                      <a:pt x="3453114" y="627123"/>
                    </a:cubicBezTo>
                    <a:cubicBezTo>
                      <a:pt x="3312236" y="627006"/>
                      <a:pt x="3171359" y="627006"/>
                      <a:pt x="3030482" y="627123"/>
                    </a:cubicBezTo>
                    <a:cubicBezTo>
                      <a:pt x="3017741" y="627123"/>
                      <a:pt x="3012709" y="624040"/>
                      <a:pt x="3013175" y="610457"/>
                    </a:cubicBezTo>
                    <a:cubicBezTo>
                      <a:pt x="3014134" y="583584"/>
                      <a:pt x="3013465" y="556681"/>
                      <a:pt x="3013494" y="529779"/>
                    </a:cubicBezTo>
                    <a:cubicBezTo>
                      <a:pt x="3013494" y="507413"/>
                      <a:pt x="3014018" y="506860"/>
                      <a:pt x="3036765" y="506831"/>
                    </a:cubicBezTo>
                    <a:cubicBezTo>
                      <a:pt x="3173424" y="506831"/>
                      <a:pt x="3310084" y="506831"/>
                      <a:pt x="3446743" y="506831"/>
                    </a:cubicBezTo>
                    <a:cubicBezTo>
                      <a:pt x="3452008" y="506825"/>
                      <a:pt x="3457244" y="507244"/>
                      <a:pt x="3462422" y="508082"/>
                    </a:cubicBezTo>
                    <a:cubicBezTo>
                      <a:pt x="3466989" y="508780"/>
                      <a:pt x="3472545" y="508634"/>
                      <a:pt x="3473185" y="504359"/>
                    </a:cubicBezTo>
                    <a:cubicBezTo>
                      <a:pt x="3474145" y="497990"/>
                      <a:pt x="3467367" y="498019"/>
                      <a:pt x="3463062" y="497466"/>
                    </a:cubicBezTo>
                    <a:cubicBezTo>
                      <a:pt x="3457797" y="497047"/>
                      <a:pt x="3452503" y="496951"/>
                      <a:pt x="3447238" y="497175"/>
                    </a:cubicBezTo>
                    <a:lnTo>
                      <a:pt x="265618" y="497175"/>
                    </a:lnTo>
                    <a:cubicBezTo>
                      <a:pt x="261924" y="497175"/>
                      <a:pt x="258229" y="497175"/>
                      <a:pt x="254535" y="497175"/>
                    </a:cubicBezTo>
                    <a:cubicBezTo>
                      <a:pt x="248892" y="497466"/>
                      <a:pt x="240979" y="496390"/>
                      <a:pt x="241474" y="504563"/>
                    </a:cubicBezTo>
                    <a:cubicBezTo>
                      <a:pt x="241940" y="511950"/>
                      <a:pt x="249706" y="509362"/>
                      <a:pt x="254448" y="509391"/>
                    </a:cubicBezTo>
                    <a:cubicBezTo>
                      <a:pt x="289791" y="509594"/>
                      <a:pt x="325134" y="509391"/>
                      <a:pt x="360477" y="509391"/>
                    </a:cubicBezTo>
                    <a:cubicBezTo>
                      <a:pt x="467611" y="509391"/>
                      <a:pt x="574715" y="509652"/>
                      <a:pt x="681821" y="509071"/>
                    </a:cubicBezTo>
                    <a:cubicBezTo>
                      <a:pt x="695929" y="509071"/>
                      <a:pt x="700089" y="513230"/>
                      <a:pt x="699507" y="527045"/>
                    </a:cubicBezTo>
                    <a:cubicBezTo>
                      <a:pt x="698489" y="552319"/>
                      <a:pt x="699681" y="577680"/>
                      <a:pt x="698925" y="602983"/>
                    </a:cubicBezTo>
                    <a:cubicBezTo>
                      <a:pt x="698692" y="610399"/>
                      <a:pt x="704394" y="623603"/>
                      <a:pt x="694009" y="624069"/>
                    </a:cubicBezTo>
                    <a:cubicBezTo>
                      <a:pt x="686358" y="624418"/>
                      <a:pt x="691653" y="610719"/>
                      <a:pt x="689995" y="603506"/>
                    </a:cubicBezTo>
                    <a:cubicBezTo>
                      <a:pt x="687929" y="594490"/>
                      <a:pt x="695143" y="582973"/>
                      <a:pt x="682751" y="576720"/>
                    </a:cubicBezTo>
                    <a:lnTo>
                      <a:pt x="682751" y="576400"/>
                    </a:lnTo>
                    <a:lnTo>
                      <a:pt x="679843" y="573230"/>
                    </a:lnTo>
                    <a:lnTo>
                      <a:pt x="679843" y="573230"/>
                    </a:lnTo>
                    <a:cubicBezTo>
                      <a:pt x="677981" y="567239"/>
                      <a:pt x="673443" y="565959"/>
                      <a:pt x="667887" y="566541"/>
                    </a:cubicBezTo>
                    <a:cubicBezTo>
                      <a:pt x="540798" y="566541"/>
                      <a:pt x="413709" y="566404"/>
                      <a:pt x="286620" y="566134"/>
                    </a:cubicBezTo>
                    <a:cubicBezTo>
                      <a:pt x="274984" y="566134"/>
                      <a:pt x="266578" y="571310"/>
                      <a:pt x="259102" y="579192"/>
                    </a:cubicBezTo>
                    <a:cubicBezTo>
                      <a:pt x="250841" y="581199"/>
                      <a:pt x="253953" y="588179"/>
                      <a:pt x="252644" y="593385"/>
                    </a:cubicBezTo>
                    <a:cubicBezTo>
                      <a:pt x="249735" y="604321"/>
                      <a:pt x="257327" y="615751"/>
                      <a:pt x="247175" y="627181"/>
                    </a:cubicBezTo>
                    <a:cubicBezTo>
                      <a:pt x="239758" y="635499"/>
                      <a:pt x="254971" y="644631"/>
                      <a:pt x="253546" y="656963"/>
                    </a:cubicBezTo>
                    <a:cubicBezTo>
                      <a:pt x="250637" y="681422"/>
                      <a:pt x="253022" y="706405"/>
                      <a:pt x="252528" y="731185"/>
                    </a:cubicBezTo>
                    <a:cubicBezTo>
                      <a:pt x="252528" y="739445"/>
                      <a:pt x="256571" y="749392"/>
                      <a:pt x="245692" y="755092"/>
                    </a:cubicBezTo>
                    <a:cubicBezTo>
                      <a:pt x="242783" y="756546"/>
                      <a:pt x="243946" y="760327"/>
                      <a:pt x="246565" y="761520"/>
                    </a:cubicBezTo>
                    <a:cubicBezTo>
                      <a:pt x="255291" y="765417"/>
                      <a:pt x="252557" y="773008"/>
                      <a:pt x="252615" y="779435"/>
                    </a:cubicBezTo>
                    <a:cubicBezTo>
                      <a:pt x="252848" y="805262"/>
                      <a:pt x="252615" y="831088"/>
                      <a:pt x="252790" y="856915"/>
                    </a:cubicBezTo>
                    <a:cubicBezTo>
                      <a:pt x="252790" y="863139"/>
                      <a:pt x="251772" y="870003"/>
                      <a:pt x="259713" y="872882"/>
                    </a:cubicBezTo>
                    <a:lnTo>
                      <a:pt x="259713" y="872882"/>
                    </a:lnTo>
                    <a:cubicBezTo>
                      <a:pt x="258607" y="876489"/>
                      <a:pt x="260178" y="882305"/>
                      <a:pt x="253226" y="881200"/>
                    </a:cubicBezTo>
                    <a:cubicBezTo>
                      <a:pt x="249212" y="880560"/>
                      <a:pt x="244499" y="880648"/>
                      <a:pt x="245284" y="885592"/>
                    </a:cubicBezTo>
                    <a:cubicBezTo>
                      <a:pt x="246070" y="890536"/>
                      <a:pt x="251102" y="888500"/>
                      <a:pt x="254710" y="888849"/>
                    </a:cubicBezTo>
                    <a:cubicBezTo>
                      <a:pt x="257327" y="889024"/>
                      <a:pt x="259974" y="888849"/>
                      <a:pt x="262622" y="888849"/>
                    </a:cubicBezTo>
                    <a:lnTo>
                      <a:pt x="658230" y="888849"/>
                    </a:lnTo>
                    <a:cubicBezTo>
                      <a:pt x="668265" y="888849"/>
                      <a:pt x="678272" y="889053"/>
                      <a:pt x="688278" y="888704"/>
                    </a:cubicBezTo>
                    <a:cubicBezTo>
                      <a:pt x="696482" y="888413"/>
                      <a:pt x="699478" y="892107"/>
                      <a:pt x="699419" y="900076"/>
                    </a:cubicBezTo>
                    <a:cubicBezTo>
                      <a:pt x="699216" y="931699"/>
                      <a:pt x="699216" y="963313"/>
                      <a:pt x="699419" y="994918"/>
                    </a:cubicBezTo>
                    <a:cubicBezTo>
                      <a:pt x="699419" y="1001753"/>
                      <a:pt x="697791" y="1006348"/>
                      <a:pt x="689937" y="1006145"/>
                    </a:cubicBezTo>
                    <a:cubicBezTo>
                      <a:pt x="689675" y="981947"/>
                      <a:pt x="689471" y="957720"/>
                      <a:pt x="689122" y="933435"/>
                    </a:cubicBezTo>
                    <a:cubicBezTo>
                      <a:pt x="688802" y="910168"/>
                      <a:pt x="676818" y="897633"/>
                      <a:pt x="653110" y="897574"/>
                    </a:cubicBezTo>
                    <a:cubicBezTo>
                      <a:pt x="532362" y="897362"/>
                      <a:pt x="411615" y="897362"/>
                      <a:pt x="290867" y="897574"/>
                    </a:cubicBezTo>
                    <a:cubicBezTo>
                      <a:pt x="267072" y="897574"/>
                      <a:pt x="254273" y="910924"/>
                      <a:pt x="254215" y="934627"/>
                    </a:cubicBezTo>
                    <a:cubicBezTo>
                      <a:pt x="254215" y="986775"/>
                      <a:pt x="254215" y="1038923"/>
                      <a:pt x="254215" y="1091099"/>
                    </a:cubicBezTo>
                    <a:cubicBezTo>
                      <a:pt x="254215" y="1116112"/>
                      <a:pt x="266636" y="1128676"/>
                      <a:pt x="291594" y="1128705"/>
                    </a:cubicBezTo>
                    <a:cubicBezTo>
                      <a:pt x="412342" y="1128705"/>
                      <a:pt x="533119" y="1128705"/>
                      <a:pt x="653866" y="1128705"/>
                    </a:cubicBezTo>
                    <a:cubicBezTo>
                      <a:pt x="676614" y="1128705"/>
                      <a:pt x="688773" y="1116606"/>
                      <a:pt x="689064" y="1094153"/>
                    </a:cubicBezTo>
                    <a:cubicBezTo>
                      <a:pt x="689413" y="1068879"/>
                      <a:pt x="689588" y="1043576"/>
                      <a:pt x="689849" y="1018302"/>
                    </a:cubicBezTo>
                    <a:cubicBezTo>
                      <a:pt x="700438" y="1018302"/>
                      <a:pt x="699332" y="1025835"/>
                      <a:pt x="699332" y="1032698"/>
                    </a:cubicBezTo>
                    <a:cubicBezTo>
                      <a:pt x="699332" y="1060125"/>
                      <a:pt x="699332" y="1087551"/>
                      <a:pt x="699332" y="1114919"/>
                    </a:cubicBezTo>
                    <a:cubicBezTo>
                      <a:pt x="699332" y="1135714"/>
                      <a:pt x="699332" y="1135714"/>
                      <a:pt x="678970" y="1135743"/>
                    </a:cubicBezTo>
                    <a:cubicBezTo>
                      <a:pt x="539344" y="1135743"/>
                      <a:pt x="399630" y="1135743"/>
                      <a:pt x="259829" y="1135743"/>
                    </a:cubicBezTo>
                    <a:cubicBezTo>
                      <a:pt x="254011" y="1135743"/>
                      <a:pt x="247583" y="1133504"/>
                      <a:pt x="242376" y="1138652"/>
                    </a:cubicBezTo>
                    <a:cubicBezTo>
                      <a:pt x="249241" y="1146155"/>
                      <a:pt x="261894" y="1135743"/>
                      <a:pt x="265909" y="1147900"/>
                    </a:cubicBezTo>
                    <a:cubicBezTo>
                      <a:pt x="256978" y="1158516"/>
                      <a:pt x="254273" y="1170731"/>
                      <a:pt x="254273" y="1184517"/>
                    </a:cubicBezTo>
                    <a:cubicBezTo>
                      <a:pt x="254622" y="1292593"/>
                      <a:pt x="254622" y="1400640"/>
                      <a:pt x="254273" y="1508687"/>
                    </a:cubicBezTo>
                    <a:cubicBezTo>
                      <a:pt x="254273" y="1535502"/>
                      <a:pt x="264774" y="1547485"/>
                      <a:pt x="291448" y="1547485"/>
                    </a:cubicBezTo>
                    <a:cubicBezTo>
                      <a:pt x="411673" y="1547485"/>
                      <a:pt x="531926" y="1547485"/>
                      <a:pt x="652150" y="1547485"/>
                    </a:cubicBezTo>
                    <a:cubicBezTo>
                      <a:pt x="662477" y="1547485"/>
                      <a:pt x="672018" y="1546234"/>
                      <a:pt x="680541" y="1540156"/>
                    </a:cubicBezTo>
                    <a:cubicBezTo>
                      <a:pt x="682577" y="1538527"/>
                      <a:pt x="684584" y="1536869"/>
                      <a:pt x="686679" y="1535328"/>
                    </a:cubicBezTo>
                    <a:cubicBezTo>
                      <a:pt x="690286" y="1532681"/>
                      <a:pt x="688831" y="1524101"/>
                      <a:pt x="695231" y="1525817"/>
                    </a:cubicBezTo>
                    <a:cubicBezTo>
                      <a:pt x="701630" y="1527533"/>
                      <a:pt x="699187" y="1534717"/>
                      <a:pt x="699245" y="1539545"/>
                    </a:cubicBezTo>
                    <a:cubicBezTo>
                      <a:pt x="699478" y="1566942"/>
                      <a:pt x="698401" y="1594397"/>
                      <a:pt x="699710" y="1621736"/>
                    </a:cubicBezTo>
                    <a:cubicBezTo>
                      <a:pt x="700467" y="1637732"/>
                      <a:pt x="695725" y="1642095"/>
                      <a:pt x="679523" y="1642095"/>
                    </a:cubicBezTo>
                    <a:cubicBezTo>
                      <a:pt x="539896" y="1641426"/>
                      <a:pt x="400095" y="1641688"/>
                      <a:pt x="260382" y="1641804"/>
                    </a:cubicBezTo>
                    <a:cubicBezTo>
                      <a:pt x="254564" y="1641804"/>
                      <a:pt x="248077" y="1640292"/>
                      <a:pt x="241445" y="1644160"/>
                    </a:cubicBezTo>
                    <a:cubicBezTo>
                      <a:pt x="251219" y="1652885"/>
                      <a:pt x="261196" y="1647941"/>
                      <a:pt x="270534" y="1647941"/>
                    </a:cubicBezTo>
                    <a:cubicBezTo>
                      <a:pt x="408677" y="1647941"/>
                      <a:pt x="546790" y="1647883"/>
                      <a:pt x="684933" y="1647766"/>
                    </a:cubicBezTo>
                    <a:cubicBezTo>
                      <a:pt x="695987" y="1647766"/>
                      <a:pt x="699740" y="1651198"/>
                      <a:pt x="699478" y="1662308"/>
                    </a:cubicBezTo>
                    <a:cubicBezTo>
                      <a:pt x="698896" y="1690229"/>
                      <a:pt x="699303" y="1718179"/>
                      <a:pt x="699303" y="1746099"/>
                    </a:cubicBezTo>
                    <a:cubicBezTo>
                      <a:pt x="699303" y="1768320"/>
                      <a:pt x="699303" y="1768349"/>
                      <a:pt x="677021" y="1768349"/>
                    </a:cubicBezTo>
                    <a:cubicBezTo>
                      <a:pt x="549030" y="1768349"/>
                      <a:pt x="420778" y="1768116"/>
                      <a:pt x="292670" y="1768639"/>
                    </a:cubicBezTo>
                    <a:cubicBezTo>
                      <a:pt x="276002" y="1768639"/>
                      <a:pt x="258607" y="1767476"/>
                      <a:pt x="240310" y="1774078"/>
                    </a:cubicBezTo>
                    <a:cubicBezTo>
                      <a:pt x="247932" y="1779022"/>
                      <a:pt x="252906" y="1776986"/>
                      <a:pt x="257764" y="1775445"/>
                    </a:cubicBezTo>
                    <a:cubicBezTo>
                      <a:pt x="264018" y="1773584"/>
                      <a:pt x="263320" y="1777801"/>
                      <a:pt x="263029" y="1781611"/>
                    </a:cubicBezTo>
                    <a:lnTo>
                      <a:pt x="263029" y="1781611"/>
                    </a:lnTo>
                    <a:cubicBezTo>
                      <a:pt x="260120" y="1782164"/>
                      <a:pt x="259102" y="1784287"/>
                      <a:pt x="258986" y="1787020"/>
                    </a:cubicBezTo>
                    <a:cubicBezTo>
                      <a:pt x="256571" y="1793419"/>
                      <a:pt x="255233" y="1800166"/>
                      <a:pt x="255029" y="1807001"/>
                    </a:cubicBezTo>
                    <a:cubicBezTo>
                      <a:pt x="254157" y="1880642"/>
                      <a:pt x="254360" y="1954340"/>
                      <a:pt x="254302" y="2028039"/>
                    </a:cubicBezTo>
                    <a:cubicBezTo>
                      <a:pt x="254302" y="2112208"/>
                      <a:pt x="254971" y="2196377"/>
                      <a:pt x="254477" y="2280576"/>
                    </a:cubicBezTo>
                    <a:cubicBezTo>
                      <a:pt x="254477" y="2294187"/>
                      <a:pt x="254477" y="2308205"/>
                      <a:pt x="265618" y="2318763"/>
                    </a:cubicBezTo>
                    <a:cubicBezTo>
                      <a:pt x="267828" y="2328331"/>
                      <a:pt x="275304" y="2324580"/>
                      <a:pt x="281180" y="2324958"/>
                    </a:cubicBezTo>
                    <a:lnTo>
                      <a:pt x="658113" y="2325161"/>
                    </a:lnTo>
                    <a:cubicBezTo>
                      <a:pt x="679086" y="2327255"/>
                      <a:pt x="687202" y="2319781"/>
                      <a:pt x="689878" y="2296077"/>
                    </a:cubicBezTo>
                    <a:cubicBezTo>
                      <a:pt x="690344" y="2292034"/>
                      <a:pt x="689616" y="2286363"/>
                      <a:pt x="695085" y="2286247"/>
                    </a:cubicBezTo>
                    <a:cubicBezTo>
                      <a:pt x="700554" y="2286130"/>
                      <a:pt x="698983" y="2291569"/>
                      <a:pt x="699012" y="2294972"/>
                    </a:cubicBezTo>
                    <a:cubicBezTo>
                      <a:pt x="699128" y="2327924"/>
                      <a:pt x="699128" y="2360935"/>
                      <a:pt x="699012" y="2394003"/>
                    </a:cubicBezTo>
                    <a:cubicBezTo>
                      <a:pt x="699012" y="2397464"/>
                      <a:pt x="699856" y="2402583"/>
                      <a:pt x="694998" y="2402903"/>
                    </a:cubicBezTo>
                    <a:cubicBezTo>
                      <a:pt x="688453" y="2403368"/>
                      <a:pt x="690373" y="2397406"/>
                      <a:pt x="689878" y="2393683"/>
                    </a:cubicBezTo>
                    <a:cubicBezTo>
                      <a:pt x="688278" y="2381468"/>
                      <a:pt x="693195" y="2368642"/>
                      <a:pt x="686475" y="2356892"/>
                    </a:cubicBezTo>
                    <a:lnTo>
                      <a:pt x="686475" y="2356892"/>
                    </a:lnTo>
                    <a:cubicBezTo>
                      <a:pt x="686766" y="2352151"/>
                      <a:pt x="685893" y="2348167"/>
                      <a:pt x="680192" y="2347410"/>
                    </a:cubicBezTo>
                    <a:lnTo>
                      <a:pt x="680192" y="2347410"/>
                    </a:lnTo>
                    <a:cubicBezTo>
                      <a:pt x="679494" y="2341855"/>
                      <a:pt x="675567" y="2340925"/>
                      <a:pt x="670942" y="2340954"/>
                    </a:cubicBezTo>
                    <a:lnTo>
                      <a:pt x="670709" y="2340954"/>
                    </a:lnTo>
                    <a:cubicBezTo>
                      <a:pt x="665851" y="2336475"/>
                      <a:pt x="659800" y="2337813"/>
                      <a:pt x="654157" y="2337813"/>
                    </a:cubicBezTo>
                    <a:cubicBezTo>
                      <a:pt x="532653" y="2337813"/>
                      <a:pt x="411178" y="2337813"/>
                      <a:pt x="289703" y="2337813"/>
                    </a:cubicBezTo>
                    <a:cubicBezTo>
                      <a:pt x="283565" y="2337813"/>
                      <a:pt x="276933" y="2336155"/>
                      <a:pt x="271668" y="2341216"/>
                    </a:cubicBezTo>
                    <a:lnTo>
                      <a:pt x="271668" y="2341216"/>
                    </a:lnTo>
                    <a:lnTo>
                      <a:pt x="268265" y="2343397"/>
                    </a:lnTo>
                    <a:lnTo>
                      <a:pt x="267479" y="2343949"/>
                    </a:lnTo>
                    <a:cubicBezTo>
                      <a:pt x="262912" y="2344327"/>
                      <a:pt x="259218" y="2345607"/>
                      <a:pt x="259655" y="2351279"/>
                    </a:cubicBezTo>
                    <a:cubicBezTo>
                      <a:pt x="259422" y="2352239"/>
                      <a:pt x="259015" y="2353111"/>
                      <a:pt x="258433" y="2353896"/>
                    </a:cubicBezTo>
                    <a:lnTo>
                      <a:pt x="256338" y="2357590"/>
                    </a:lnTo>
                    <a:lnTo>
                      <a:pt x="256338" y="2357299"/>
                    </a:lnTo>
                    <a:cubicBezTo>
                      <a:pt x="251597" y="2360614"/>
                      <a:pt x="251888" y="2365820"/>
                      <a:pt x="252673" y="2370241"/>
                    </a:cubicBezTo>
                    <a:cubicBezTo>
                      <a:pt x="256106" y="2389349"/>
                      <a:pt x="247786" y="2407411"/>
                      <a:pt x="251248" y="2427566"/>
                    </a:cubicBezTo>
                    <a:cubicBezTo>
                      <a:pt x="256193" y="2456185"/>
                      <a:pt x="252499" y="2486286"/>
                      <a:pt x="252528" y="2515778"/>
                    </a:cubicBezTo>
                    <a:cubicBezTo>
                      <a:pt x="252528" y="2522874"/>
                      <a:pt x="252528" y="2529418"/>
                      <a:pt x="243161" y="2531308"/>
                    </a:cubicBezTo>
                    <a:cubicBezTo>
                      <a:pt x="236296" y="2532675"/>
                      <a:pt x="237343" y="2538114"/>
                      <a:pt x="242434" y="2539190"/>
                    </a:cubicBezTo>
                    <a:cubicBezTo>
                      <a:pt x="253749" y="2541517"/>
                      <a:pt x="252586" y="2549166"/>
                      <a:pt x="252557" y="2557106"/>
                    </a:cubicBezTo>
                    <a:cubicBezTo>
                      <a:pt x="252557" y="2579733"/>
                      <a:pt x="252557" y="2602389"/>
                      <a:pt x="252557" y="2625017"/>
                    </a:cubicBezTo>
                    <a:cubicBezTo>
                      <a:pt x="252557" y="2633975"/>
                      <a:pt x="255902" y="2645376"/>
                      <a:pt x="251597" y="2651192"/>
                    </a:cubicBezTo>
                    <a:cubicBezTo>
                      <a:pt x="241125" y="2665182"/>
                      <a:pt x="250811" y="2669835"/>
                      <a:pt x="259218" y="2676321"/>
                    </a:cubicBezTo>
                    <a:lnTo>
                      <a:pt x="259218" y="2676321"/>
                    </a:lnTo>
                    <a:cubicBezTo>
                      <a:pt x="260120" y="2677484"/>
                      <a:pt x="260992" y="2678648"/>
                      <a:pt x="261894" y="2679782"/>
                    </a:cubicBezTo>
                    <a:lnTo>
                      <a:pt x="262069" y="2679956"/>
                    </a:lnTo>
                    <a:lnTo>
                      <a:pt x="265268" y="2682865"/>
                    </a:lnTo>
                    <a:lnTo>
                      <a:pt x="265268" y="2682865"/>
                    </a:lnTo>
                    <a:lnTo>
                      <a:pt x="268905" y="2685541"/>
                    </a:lnTo>
                    <a:lnTo>
                      <a:pt x="268905" y="2685541"/>
                    </a:lnTo>
                    <a:cubicBezTo>
                      <a:pt x="273297" y="2692375"/>
                      <a:pt x="280308" y="2692317"/>
                      <a:pt x="287172" y="2692317"/>
                    </a:cubicBezTo>
                    <a:cubicBezTo>
                      <a:pt x="410538" y="2692317"/>
                      <a:pt x="533904" y="2692317"/>
                      <a:pt x="657270" y="2692317"/>
                    </a:cubicBezTo>
                    <a:cubicBezTo>
                      <a:pt x="663524" y="2692317"/>
                      <a:pt x="670302" y="2693277"/>
                      <a:pt x="673676" y="2685861"/>
                    </a:cubicBezTo>
                    <a:lnTo>
                      <a:pt x="673676" y="2685861"/>
                    </a:lnTo>
                    <a:lnTo>
                      <a:pt x="677225" y="2683418"/>
                    </a:lnTo>
                    <a:lnTo>
                      <a:pt x="677574" y="2683127"/>
                    </a:lnTo>
                    <a:lnTo>
                      <a:pt x="680483" y="2680538"/>
                    </a:lnTo>
                    <a:lnTo>
                      <a:pt x="681123" y="2679956"/>
                    </a:lnTo>
                    <a:lnTo>
                      <a:pt x="683450" y="2676816"/>
                    </a:lnTo>
                    <a:lnTo>
                      <a:pt x="683450" y="2676641"/>
                    </a:lnTo>
                    <a:cubicBezTo>
                      <a:pt x="690024" y="2677601"/>
                      <a:pt x="689006" y="2664309"/>
                      <a:pt x="696365" y="2668992"/>
                    </a:cubicBezTo>
                    <a:cubicBezTo>
                      <a:pt x="701805" y="2672424"/>
                      <a:pt x="698954" y="2679666"/>
                      <a:pt x="698983" y="2685163"/>
                    </a:cubicBezTo>
                    <a:cubicBezTo>
                      <a:pt x="699216" y="2714479"/>
                      <a:pt x="698983" y="2743825"/>
                      <a:pt x="698983" y="2773142"/>
                    </a:cubicBezTo>
                    <a:cubicBezTo>
                      <a:pt x="698983" y="2779889"/>
                      <a:pt x="700292" y="2787684"/>
                      <a:pt x="689588" y="2787276"/>
                    </a:cubicBezTo>
                    <a:lnTo>
                      <a:pt x="689588" y="2787102"/>
                    </a:lnTo>
                    <a:cubicBezTo>
                      <a:pt x="689588" y="2768314"/>
                      <a:pt x="689791" y="2749496"/>
                      <a:pt x="689762" y="2730708"/>
                    </a:cubicBezTo>
                    <a:cubicBezTo>
                      <a:pt x="689762" y="2724484"/>
                      <a:pt x="690402" y="2717824"/>
                      <a:pt x="682955" y="2714683"/>
                    </a:cubicBezTo>
                    <a:cubicBezTo>
                      <a:pt x="674403" y="2705143"/>
                      <a:pt x="663291" y="2703922"/>
                      <a:pt x="651248" y="2703922"/>
                    </a:cubicBezTo>
                    <a:cubicBezTo>
                      <a:pt x="532042" y="2704096"/>
                      <a:pt x="412836" y="2704096"/>
                      <a:pt x="293659" y="2703922"/>
                    </a:cubicBezTo>
                    <a:cubicBezTo>
                      <a:pt x="263552" y="2703922"/>
                      <a:pt x="254273" y="2713287"/>
                      <a:pt x="254244" y="2743621"/>
                    </a:cubicBezTo>
                    <a:cubicBezTo>
                      <a:pt x="254244" y="2797892"/>
                      <a:pt x="254244" y="2852192"/>
                      <a:pt x="254244" y="2906492"/>
                    </a:cubicBezTo>
                    <a:cubicBezTo>
                      <a:pt x="254098" y="2935983"/>
                      <a:pt x="263872" y="2946453"/>
                      <a:pt x="293398" y="2946453"/>
                    </a:cubicBezTo>
                    <a:cubicBezTo>
                      <a:pt x="411527" y="2946453"/>
                      <a:pt x="529686" y="2946453"/>
                      <a:pt x="647816" y="2946453"/>
                    </a:cubicBezTo>
                    <a:cubicBezTo>
                      <a:pt x="656222" y="2946453"/>
                      <a:pt x="664600" y="2945260"/>
                      <a:pt x="673007" y="2944621"/>
                    </a:cubicBezTo>
                    <a:cubicBezTo>
                      <a:pt x="684381" y="2947006"/>
                      <a:pt x="685079" y="2937204"/>
                      <a:pt x="688744" y="2930806"/>
                    </a:cubicBezTo>
                    <a:cubicBezTo>
                      <a:pt x="690635" y="2927519"/>
                      <a:pt x="688744" y="2920714"/>
                      <a:pt x="694736" y="2921499"/>
                    </a:cubicBezTo>
                    <a:cubicBezTo>
                      <a:pt x="701223" y="2922371"/>
                      <a:pt x="699099" y="2928915"/>
                      <a:pt x="699099" y="2933133"/>
                    </a:cubicBezTo>
                    <a:cubicBezTo>
                      <a:pt x="699099" y="2969749"/>
                      <a:pt x="699099" y="3006395"/>
                      <a:pt x="698838" y="3043041"/>
                    </a:cubicBezTo>
                    <a:cubicBezTo>
                      <a:pt x="694096" y="3043041"/>
                      <a:pt x="689355" y="3043419"/>
                      <a:pt x="684613" y="3043419"/>
                    </a:cubicBezTo>
                    <a:lnTo>
                      <a:pt x="2771" y="3043419"/>
                    </a:lnTo>
                    <a:cubicBezTo>
                      <a:pt x="-1418" y="3037311"/>
                      <a:pt x="-632" y="3030331"/>
                      <a:pt x="-632" y="3023525"/>
                    </a:cubicBezTo>
                    <a:cubicBezTo>
                      <a:pt x="-632" y="2022164"/>
                      <a:pt x="-749" y="1020832"/>
                      <a:pt x="-981" y="19500"/>
                    </a:cubicBezTo>
                    <a:cubicBezTo>
                      <a:pt x="-981" y="3126"/>
                      <a:pt x="3789" y="-539"/>
                      <a:pt x="19381" y="-539"/>
                    </a:cubicBezTo>
                    <a:cubicBezTo>
                      <a:pt x="1244980" y="-190"/>
                      <a:pt x="2470610" y="-190"/>
                      <a:pt x="3696209" y="-539"/>
                    </a:cubicBezTo>
                    <a:cubicBezTo>
                      <a:pt x="3710579" y="-539"/>
                      <a:pt x="3716281" y="2021"/>
                      <a:pt x="3716281" y="18191"/>
                    </a:cubicBezTo>
                    <a:cubicBezTo>
                      <a:pt x="3715844" y="646716"/>
                      <a:pt x="3715699" y="1275259"/>
                      <a:pt x="3715902" y="1903822"/>
                    </a:cubicBezTo>
                    <a:cubicBezTo>
                      <a:pt x="3715989" y="1907690"/>
                      <a:pt x="3715873" y="1910860"/>
                      <a:pt x="3715815" y="1914030"/>
                    </a:cubicBezTo>
                    <a:close/>
                    <a:moveTo>
                      <a:pt x="1393508" y="316826"/>
                    </a:moveTo>
                    <a:cubicBezTo>
                      <a:pt x="1332363" y="316826"/>
                      <a:pt x="1271219" y="316826"/>
                      <a:pt x="1210103" y="316826"/>
                    </a:cubicBezTo>
                    <a:cubicBezTo>
                      <a:pt x="1193377" y="316826"/>
                      <a:pt x="1181014" y="326482"/>
                      <a:pt x="1180607" y="340936"/>
                    </a:cubicBezTo>
                    <a:cubicBezTo>
                      <a:pt x="1179967" y="367257"/>
                      <a:pt x="1179618" y="393636"/>
                      <a:pt x="1180607" y="419928"/>
                    </a:cubicBezTo>
                    <a:cubicBezTo>
                      <a:pt x="1181508" y="441363"/>
                      <a:pt x="1192883" y="454044"/>
                      <a:pt x="1217026" y="453171"/>
                    </a:cubicBezTo>
                    <a:cubicBezTo>
                      <a:pt x="1257023" y="451746"/>
                      <a:pt x="1297107" y="452793"/>
                      <a:pt x="1337163" y="452793"/>
                    </a:cubicBezTo>
                    <a:cubicBezTo>
                      <a:pt x="1416227" y="452793"/>
                      <a:pt x="1495290" y="452793"/>
                      <a:pt x="1574324" y="452793"/>
                    </a:cubicBezTo>
                    <a:cubicBezTo>
                      <a:pt x="1599486" y="452793"/>
                      <a:pt x="1610743" y="441770"/>
                      <a:pt x="1610831" y="417892"/>
                    </a:cubicBezTo>
                    <a:cubicBezTo>
                      <a:pt x="1610831" y="398406"/>
                      <a:pt x="1610831" y="378891"/>
                      <a:pt x="1610831" y="359405"/>
                    </a:cubicBezTo>
                    <a:cubicBezTo>
                      <a:pt x="1610831" y="326569"/>
                      <a:pt x="1600941" y="316913"/>
                      <a:pt x="1567343" y="316913"/>
                    </a:cubicBezTo>
                    <a:close/>
                    <a:moveTo>
                      <a:pt x="934079" y="316826"/>
                    </a:moveTo>
                    <a:cubicBezTo>
                      <a:pt x="872992" y="316826"/>
                      <a:pt x="811906" y="316826"/>
                      <a:pt x="750645" y="316826"/>
                    </a:cubicBezTo>
                    <a:cubicBezTo>
                      <a:pt x="726850" y="316826"/>
                      <a:pt x="718211" y="325842"/>
                      <a:pt x="718153" y="349342"/>
                    </a:cubicBezTo>
                    <a:cubicBezTo>
                      <a:pt x="718153" y="370398"/>
                      <a:pt x="719258" y="391571"/>
                      <a:pt x="717862" y="412541"/>
                    </a:cubicBezTo>
                    <a:cubicBezTo>
                      <a:pt x="716233" y="436855"/>
                      <a:pt x="730545" y="453259"/>
                      <a:pt x="758033" y="452968"/>
                    </a:cubicBezTo>
                    <a:cubicBezTo>
                      <a:pt x="852892" y="452473"/>
                      <a:pt x="947780" y="452764"/>
                      <a:pt x="1042668" y="452764"/>
                    </a:cubicBezTo>
                    <a:cubicBezTo>
                      <a:pt x="1066375" y="452764"/>
                      <a:pt x="1090112" y="452997"/>
                      <a:pt x="1113819" y="452764"/>
                    </a:cubicBezTo>
                    <a:cubicBezTo>
                      <a:pt x="1137527" y="452532"/>
                      <a:pt x="1148725" y="441131"/>
                      <a:pt x="1148725" y="417863"/>
                    </a:cubicBezTo>
                    <a:cubicBezTo>
                      <a:pt x="1148725" y="396245"/>
                      <a:pt x="1148725" y="374645"/>
                      <a:pt x="1148725" y="353064"/>
                    </a:cubicBezTo>
                    <a:cubicBezTo>
                      <a:pt x="1148725" y="326016"/>
                      <a:pt x="1139621" y="316855"/>
                      <a:pt x="1112743" y="316826"/>
                    </a:cubicBezTo>
                    <a:cubicBezTo>
                      <a:pt x="1053198" y="316768"/>
                      <a:pt x="993624" y="316759"/>
                      <a:pt x="934079" y="316797"/>
                    </a:cubicBezTo>
                    <a:close/>
                    <a:moveTo>
                      <a:pt x="471043" y="316826"/>
                    </a:moveTo>
                    <a:cubicBezTo>
                      <a:pt x="410422" y="316826"/>
                      <a:pt x="349801" y="316826"/>
                      <a:pt x="289209" y="316826"/>
                    </a:cubicBezTo>
                    <a:cubicBezTo>
                      <a:pt x="266112" y="316826"/>
                      <a:pt x="256251" y="326656"/>
                      <a:pt x="255989" y="349342"/>
                    </a:cubicBezTo>
                    <a:cubicBezTo>
                      <a:pt x="255815" y="367781"/>
                      <a:pt x="255989" y="386220"/>
                      <a:pt x="255989" y="404601"/>
                    </a:cubicBezTo>
                    <a:cubicBezTo>
                      <a:pt x="255989" y="445813"/>
                      <a:pt x="263087" y="452735"/>
                      <a:pt x="305179" y="452735"/>
                    </a:cubicBezTo>
                    <a:lnTo>
                      <a:pt x="466476" y="452735"/>
                    </a:lnTo>
                    <a:cubicBezTo>
                      <a:pt x="526545" y="452735"/>
                      <a:pt x="586700" y="454276"/>
                      <a:pt x="646827" y="452124"/>
                    </a:cubicBezTo>
                    <a:cubicBezTo>
                      <a:pt x="679290" y="450961"/>
                      <a:pt x="688657" y="440985"/>
                      <a:pt x="686940" y="412948"/>
                    </a:cubicBezTo>
                    <a:cubicBezTo>
                      <a:pt x="685457" y="392453"/>
                      <a:pt x="685457" y="371873"/>
                      <a:pt x="686940" y="351377"/>
                    </a:cubicBezTo>
                    <a:cubicBezTo>
                      <a:pt x="688918" y="328605"/>
                      <a:pt x="676701" y="316855"/>
                      <a:pt x="651336" y="316768"/>
                    </a:cubicBezTo>
                    <a:cubicBezTo>
                      <a:pt x="591238" y="316680"/>
                      <a:pt x="531140" y="316797"/>
                      <a:pt x="471043" y="316797"/>
                    </a:cubicBezTo>
                    <a:close/>
                    <a:moveTo>
                      <a:pt x="1858261" y="452851"/>
                    </a:moveTo>
                    <a:cubicBezTo>
                      <a:pt x="1918939" y="452851"/>
                      <a:pt x="1979619" y="452851"/>
                      <a:pt x="2040298" y="452851"/>
                    </a:cubicBezTo>
                    <a:cubicBezTo>
                      <a:pt x="2058334" y="452851"/>
                      <a:pt x="2068224" y="445726"/>
                      <a:pt x="2071103" y="428072"/>
                    </a:cubicBezTo>
                    <a:cubicBezTo>
                      <a:pt x="2075787" y="399337"/>
                      <a:pt x="2073314" y="370224"/>
                      <a:pt x="2072354" y="341344"/>
                    </a:cubicBezTo>
                    <a:cubicBezTo>
                      <a:pt x="2072122" y="330673"/>
                      <a:pt x="2064006" y="321834"/>
                      <a:pt x="2053388" y="320723"/>
                    </a:cubicBezTo>
                    <a:cubicBezTo>
                      <a:pt x="2024299" y="318338"/>
                      <a:pt x="1994978" y="316128"/>
                      <a:pt x="1965569" y="317291"/>
                    </a:cubicBezTo>
                    <a:cubicBezTo>
                      <a:pt x="1942298" y="318193"/>
                      <a:pt x="1919027" y="317466"/>
                      <a:pt x="1895581" y="317291"/>
                    </a:cubicBezTo>
                    <a:cubicBezTo>
                      <a:pt x="1868383" y="317291"/>
                      <a:pt x="1841127" y="316389"/>
                      <a:pt x="1813987" y="317553"/>
                    </a:cubicBezTo>
                    <a:cubicBezTo>
                      <a:pt x="1792665" y="318454"/>
                      <a:pt x="1771168" y="318164"/>
                      <a:pt x="1749992" y="317989"/>
                    </a:cubicBezTo>
                    <a:cubicBezTo>
                      <a:pt x="1724859" y="317756"/>
                      <a:pt x="1699523" y="316913"/>
                      <a:pt x="1674361" y="317058"/>
                    </a:cubicBezTo>
                    <a:cubicBezTo>
                      <a:pt x="1652224" y="317058"/>
                      <a:pt x="1642596" y="328692"/>
                      <a:pt x="1642537" y="350796"/>
                    </a:cubicBezTo>
                    <a:cubicBezTo>
                      <a:pt x="1642479" y="372900"/>
                      <a:pt x="1642537" y="395091"/>
                      <a:pt x="1642537" y="417253"/>
                    </a:cubicBezTo>
                    <a:cubicBezTo>
                      <a:pt x="1642537" y="441741"/>
                      <a:pt x="1653330" y="452706"/>
                      <a:pt x="1677822" y="452706"/>
                    </a:cubicBezTo>
                    <a:cubicBezTo>
                      <a:pt x="1737949" y="452860"/>
                      <a:pt x="1798104" y="452901"/>
                      <a:pt x="1858261" y="452822"/>
                    </a:cubicBezTo>
                    <a:close/>
                    <a:moveTo>
                      <a:pt x="2780377" y="452851"/>
                    </a:moveTo>
                    <a:cubicBezTo>
                      <a:pt x="2842597" y="452851"/>
                      <a:pt x="2904790" y="452677"/>
                      <a:pt x="2967010" y="452851"/>
                    </a:cubicBezTo>
                    <a:cubicBezTo>
                      <a:pt x="2982747" y="452851"/>
                      <a:pt x="2992376" y="446133"/>
                      <a:pt x="2994732" y="430951"/>
                    </a:cubicBezTo>
                    <a:cubicBezTo>
                      <a:pt x="2999764" y="400852"/>
                      <a:pt x="2999619" y="370122"/>
                      <a:pt x="2994383" y="340064"/>
                    </a:cubicBezTo>
                    <a:cubicBezTo>
                      <a:pt x="2991940" y="326714"/>
                      <a:pt x="2983038" y="319705"/>
                      <a:pt x="2968610" y="319705"/>
                    </a:cubicBezTo>
                    <a:cubicBezTo>
                      <a:pt x="2844197" y="319842"/>
                      <a:pt x="2719784" y="319842"/>
                      <a:pt x="2595371" y="319705"/>
                    </a:cubicBezTo>
                    <a:cubicBezTo>
                      <a:pt x="2576929" y="319705"/>
                      <a:pt x="2564072" y="333055"/>
                      <a:pt x="2563897" y="351697"/>
                    </a:cubicBezTo>
                    <a:cubicBezTo>
                      <a:pt x="2563694" y="374965"/>
                      <a:pt x="2563636" y="398232"/>
                      <a:pt x="2563897" y="421266"/>
                    </a:cubicBezTo>
                    <a:cubicBezTo>
                      <a:pt x="2564159" y="440607"/>
                      <a:pt x="2576289" y="452532"/>
                      <a:pt x="2595313" y="452561"/>
                    </a:cubicBezTo>
                    <a:cubicBezTo>
                      <a:pt x="2656981" y="452793"/>
                      <a:pt x="2718650" y="452881"/>
                      <a:pt x="2780347" y="452822"/>
                    </a:cubicBezTo>
                    <a:close/>
                    <a:moveTo>
                      <a:pt x="3241638" y="452851"/>
                    </a:moveTo>
                    <a:cubicBezTo>
                      <a:pt x="3302782" y="452851"/>
                      <a:pt x="3363927" y="452851"/>
                      <a:pt x="3425101" y="452851"/>
                    </a:cubicBezTo>
                    <a:cubicBezTo>
                      <a:pt x="3447645" y="452851"/>
                      <a:pt x="3459251" y="441654"/>
                      <a:pt x="3459630" y="419172"/>
                    </a:cubicBezTo>
                    <a:cubicBezTo>
                      <a:pt x="3460008" y="396690"/>
                      <a:pt x="3460095" y="374906"/>
                      <a:pt x="3459630" y="352774"/>
                    </a:cubicBezTo>
                    <a:cubicBezTo>
                      <a:pt x="3459135" y="331135"/>
                      <a:pt x="3447587" y="319996"/>
                      <a:pt x="3426149" y="319967"/>
                    </a:cubicBezTo>
                    <a:cubicBezTo>
                      <a:pt x="3303830" y="319967"/>
                      <a:pt x="3181511" y="319967"/>
                      <a:pt x="3059193" y="319967"/>
                    </a:cubicBezTo>
                    <a:cubicBezTo>
                      <a:pt x="3040256" y="319967"/>
                      <a:pt x="3026934" y="331862"/>
                      <a:pt x="3026323" y="350650"/>
                    </a:cubicBezTo>
                    <a:cubicBezTo>
                      <a:pt x="3025566" y="374325"/>
                      <a:pt x="3025566" y="398086"/>
                      <a:pt x="3026323" y="421761"/>
                    </a:cubicBezTo>
                    <a:cubicBezTo>
                      <a:pt x="3026963" y="442119"/>
                      <a:pt x="3039209" y="452822"/>
                      <a:pt x="3059775" y="452822"/>
                    </a:cubicBezTo>
                    <a:close/>
                    <a:moveTo>
                      <a:pt x="2319988" y="319909"/>
                    </a:moveTo>
                    <a:cubicBezTo>
                      <a:pt x="2258319" y="319909"/>
                      <a:pt x="2196651" y="319909"/>
                      <a:pt x="2134953" y="319909"/>
                    </a:cubicBezTo>
                    <a:cubicBezTo>
                      <a:pt x="2112090" y="319909"/>
                      <a:pt x="2104905" y="327325"/>
                      <a:pt x="2104759" y="350389"/>
                    </a:cubicBezTo>
                    <a:cubicBezTo>
                      <a:pt x="2104614" y="373452"/>
                      <a:pt x="2104759" y="395702"/>
                      <a:pt x="2104759" y="418358"/>
                    </a:cubicBezTo>
                    <a:cubicBezTo>
                      <a:pt x="2104759" y="443544"/>
                      <a:pt x="2114009" y="452764"/>
                      <a:pt x="2138822" y="452764"/>
                    </a:cubicBezTo>
                    <a:lnTo>
                      <a:pt x="2356988" y="452764"/>
                    </a:lnTo>
                    <a:cubicBezTo>
                      <a:pt x="2403908" y="452764"/>
                      <a:pt x="2450829" y="452764"/>
                      <a:pt x="2497749" y="452764"/>
                    </a:cubicBezTo>
                    <a:cubicBezTo>
                      <a:pt x="2523406" y="452764"/>
                      <a:pt x="2534459" y="442323"/>
                      <a:pt x="2535128" y="416816"/>
                    </a:cubicBezTo>
                    <a:cubicBezTo>
                      <a:pt x="2535681" y="395730"/>
                      <a:pt x="2535361" y="374645"/>
                      <a:pt x="2535128" y="353588"/>
                    </a:cubicBezTo>
                    <a:cubicBezTo>
                      <a:pt x="2534954" y="329972"/>
                      <a:pt x="2524918" y="319909"/>
                      <a:pt x="2501705" y="319909"/>
                    </a:cubicBezTo>
                    <a:close/>
                    <a:moveTo>
                      <a:pt x="3396710" y="130019"/>
                    </a:moveTo>
                    <a:cubicBezTo>
                      <a:pt x="3390398" y="130019"/>
                      <a:pt x="3384086" y="130019"/>
                      <a:pt x="3377774" y="130019"/>
                    </a:cubicBezTo>
                    <a:cubicBezTo>
                      <a:pt x="3372625" y="130019"/>
                      <a:pt x="3366807" y="128885"/>
                      <a:pt x="3363404" y="134295"/>
                    </a:cubicBezTo>
                    <a:cubicBezTo>
                      <a:pt x="3359651" y="140112"/>
                      <a:pt x="3364684" y="144096"/>
                      <a:pt x="3367418" y="148284"/>
                    </a:cubicBezTo>
                    <a:cubicBezTo>
                      <a:pt x="3373439" y="157504"/>
                      <a:pt x="3380246" y="166287"/>
                      <a:pt x="3385802" y="175768"/>
                    </a:cubicBezTo>
                    <a:cubicBezTo>
                      <a:pt x="3392027" y="186413"/>
                      <a:pt x="3398979" y="185482"/>
                      <a:pt x="3405583" y="177368"/>
                    </a:cubicBezTo>
                    <a:cubicBezTo>
                      <a:pt x="3413495" y="167532"/>
                      <a:pt x="3420825" y="157248"/>
                      <a:pt x="3427545" y="146568"/>
                    </a:cubicBezTo>
                    <a:cubicBezTo>
                      <a:pt x="3433682" y="136912"/>
                      <a:pt x="3431297" y="130427"/>
                      <a:pt x="3418818" y="130048"/>
                    </a:cubicBezTo>
                    <a:cubicBezTo>
                      <a:pt x="3411459" y="129845"/>
                      <a:pt x="3404128" y="130019"/>
                      <a:pt x="3396710" y="130019"/>
                    </a:cubicBezTo>
                    <a:close/>
                    <a:moveTo>
                      <a:pt x="3471731" y="1648203"/>
                    </a:moveTo>
                    <a:lnTo>
                      <a:pt x="3471731" y="1646516"/>
                    </a:lnTo>
                    <a:lnTo>
                      <a:pt x="3023414" y="1646516"/>
                    </a:lnTo>
                    <a:cubicBezTo>
                      <a:pt x="3023414" y="1647068"/>
                      <a:pt x="3023414" y="1647650"/>
                      <a:pt x="3023414" y="1648203"/>
                    </a:cubicBezTo>
                    <a:close/>
                  </a:path>
                </a:pathLst>
              </a:custGeom>
              <a:solidFill>
                <a:srgbClr val="FCFDFD"/>
              </a:solidFill>
              <a:ln w="2907" cap="flat">
                <a:noFill/>
                <a:prstDash val="solid"/>
                <a:miter/>
              </a:ln>
            </p:spPr>
            <p:txBody>
              <a:bodyPr rtlCol="0" anchor="ctr"/>
              <a:lstStyle/>
              <a:p>
                <a:endParaRPr lang="en-US" sz="800"/>
              </a:p>
            </p:txBody>
          </p:sp>
          <p:sp>
            <p:nvSpPr>
              <p:cNvPr id="32" name="Graphic 38">
                <a:extLst>
                  <a:ext uri="{FF2B5EF4-FFF2-40B4-BE49-F238E27FC236}">
                    <a16:creationId xmlns:a16="http://schemas.microsoft.com/office/drawing/2014/main" id="{A5C8DBF8-B031-17FD-0DF9-203124402CB4}"/>
                  </a:ext>
                </a:extLst>
              </p:cNvPr>
              <p:cNvSpPr/>
              <p:nvPr/>
            </p:nvSpPr>
            <p:spPr>
              <a:xfrm>
                <a:off x="12471659" y="584079"/>
                <a:ext cx="331045" cy="3047558"/>
              </a:xfrm>
              <a:custGeom>
                <a:avLst/>
                <a:gdLst>
                  <a:gd name="connsiteX0" fmla="*/ 173770 w 331045"/>
                  <a:gd name="connsiteY0" fmla="*/ 3047020 h 3047558"/>
                  <a:gd name="connsiteX1" fmla="*/ 93397 w 331045"/>
                  <a:gd name="connsiteY1" fmla="*/ 3044460 h 3047558"/>
                  <a:gd name="connsiteX2" fmla="*/ 2785 w 331045"/>
                  <a:gd name="connsiteY2" fmla="*/ 2985333 h 3047558"/>
                  <a:gd name="connsiteX3" fmla="*/ 371 w 331045"/>
                  <a:gd name="connsiteY3" fmla="*/ 2962066 h 3047558"/>
                  <a:gd name="connsiteX4" fmla="*/ 371 w 331045"/>
                  <a:gd name="connsiteY4" fmla="*/ 2079367 h 3047558"/>
                  <a:gd name="connsiteX5" fmla="*/ 371 w 331045"/>
                  <a:gd name="connsiteY5" fmla="*/ 33891 h 3047558"/>
                  <a:gd name="connsiteX6" fmla="*/ 1913 w 331045"/>
                  <a:gd name="connsiteY6" fmla="*/ 2772 h 3047558"/>
                  <a:gd name="connsiteX7" fmla="*/ 33910 w 331045"/>
                  <a:gd name="connsiteY7" fmla="*/ 387 h 3047558"/>
                  <a:gd name="connsiteX8" fmla="*/ 309294 w 331045"/>
                  <a:gd name="connsiteY8" fmla="*/ 38 h 3047558"/>
                  <a:gd name="connsiteX9" fmla="*/ 330064 w 331045"/>
                  <a:gd name="connsiteY9" fmla="*/ 19786 h 3047558"/>
                  <a:gd name="connsiteX10" fmla="*/ 329802 w 331045"/>
                  <a:gd name="connsiteY10" fmla="*/ 3015929 h 3047558"/>
                  <a:gd name="connsiteX11" fmla="*/ 326515 w 331045"/>
                  <a:gd name="connsiteY11" fmla="*/ 3044053 h 3047558"/>
                  <a:gd name="connsiteX12" fmla="*/ 192270 w 331045"/>
                  <a:gd name="connsiteY12" fmla="*/ 3044286 h 3047558"/>
                  <a:gd name="connsiteX13" fmla="*/ 173770 w 331045"/>
                  <a:gd name="connsiteY13" fmla="*/ 3047020 h 3047558"/>
                  <a:gd name="connsiteX14" fmla="*/ 166410 w 331045"/>
                  <a:gd name="connsiteY14" fmla="*/ 550859 h 3047558"/>
                  <a:gd name="connsiteX15" fmla="*/ 253851 w 331045"/>
                  <a:gd name="connsiteY15" fmla="*/ 466835 h 3047558"/>
                  <a:gd name="connsiteX16" fmla="*/ 167894 w 331045"/>
                  <a:gd name="connsiteY16" fmla="*/ 379584 h 3047558"/>
                  <a:gd name="connsiteX17" fmla="*/ 79842 w 331045"/>
                  <a:gd name="connsiteY17" fmla="*/ 465236 h 3047558"/>
                  <a:gd name="connsiteX18" fmla="*/ 166410 w 331045"/>
                  <a:gd name="connsiteY18" fmla="*/ 550859 h 3047558"/>
                  <a:gd name="connsiteX19" fmla="*/ 100204 w 331045"/>
                  <a:gd name="connsiteY19" fmla="*/ 252457 h 3047558"/>
                  <a:gd name="connsiteX20" fmla="*/ 104887 w 331045"/>
                  <a:gd name="connsiteY20" fmla="*/ 266999 h 3047558"/>
                  <a:gd name="connsiteX21" fmla="*/ 122515 w 331045"/>
                  <a:gd name="connsiteY21" fmla="*/ 265749 h 3047558"/>
                  <a:gd name="connsiteX22" fmla="*/ 157422 w 331045"/>
                  <a:gd name="connsiteY22" fmla="*/ 241522 h 3047558"/>
                  <a:gd name="connsiteX23" fmla="*/ 178889 w 331045"/>
                  <a:gd name="connsiteY23" fmla="*/ 243121 h 3047558"/>
                  <a:gd name="connsiteX24" fmla="*/ 213069 w 331045"/>
                  <a:gd name="connsiteY24" fmla="*/ 265661 h 3047558"/>
                  <a:gd name="connsiteX25" fmla="*/ 229038 w 331045"/>
                  <a:gd name="connsiteY25" fmla="*/ 265661 h 3047558"/>
                  <a:gd name="connsiteX26" fmla="*/ 233576 w 331045"/>
                  <a:gd name="connsiteY26" fmla="*/ 251963 h 3047558"/>
                  <a:gd name="connsiteX27" fmla="*/ 221766 w 331045"/>
                  <a:gd name="connsiteY27" fmla="*/ 212874 h 3047558"/>
                  <a:gd name="connsiteX28" fmla="*/ 229097 w 331045"/>
                  <a:gd name="connsiteY28" fmla="*/ 188822 h 3047558"/>
                  <a:gd name="connsiteX29" fmla="*/ 261501 w 331045"/>
                  <a:gd name="connsiteY29" fmla="*/ 163810 h 3047558"/>
                  <a:gd name="connsiteX30" fmla="*/ 267901 w 331045"/>
                  <a:gd name="connsiteY30" fmla="*/ 147464 h 3047558"/>
                  <a:gd name="connsiteX31" fmla="*/ 253647 w 331045"/>
                  <a:gd name="connsiteY31" fmla="*/ 139612 h 3047558"/>
                  <a:gd name="connsiteX32" fmla="*/ 214145 w 331045"/>
                  <a:gd name="connsiteY32" fmla="*/ 139786 h 3047558"/>
                  <a:gd name="connsiteX33" fmla="*/ 192852 w 331045"/>
                  <a:gd name="connsiteY33" fmla="*/ 125564 h 3047558"/>
                  <a:gd name="connsiteX34" fmla="*/ 183631 w 331045"/>
                  <a:gd name="connsiteY34" fmla="*/ 97120 h 3047558"/>
                  <a:gd name="connsiteX35" fmla="*/ 166963 w 331045"/>
                  <a:gd name="connsiteY35" fmla="*/ 74958 h 3047558"/>
                  <a:gd name="connsiteX36" fmla="*/ 149509 w 331045"/>
                  <a:gd name="connsiteY36" fmla="*/ 96771 h 3047558"/>
                  <a:gd name="connsiteX37" fmla="*/ 140288 w 331045"/>
                  <a:gd name="connsiteY37" fmla="*/ 126873 h 3047558"/>
                  <a:gd name="connsiteX38" fmla="*/ 122050 w 331045"/>
                  <a:gd name="connsiteY38" fmla="*/ 139728 h 3047558"/>
                  <a:gd name="connsiteX39" fmla="*/ 84234 w 331045"/>
                  <a:gd name="connsiteY39" fmla="*/ 139728 h 3047558"/>
                  <a:gd name="connsiteX40" fmla="*/ 65908 w 331045"/>
                  <a:gd name="connsiteY40" fmla="*/ 149064 h 3047558"/>
                  <a:gd name="connsiteX41" fmla="*/ 75013 w 331045"/>
                  <a:gd name="connsiteY41" fmla="*/ 167300 h 3047558"/>
                  <a:gd name="connsiteX42" fmla="*/ 104102 w 331045"/>
                  <a:gd name="connsiteY42" fmla="*/ 188705 h 3047558"/>
                  <a:gd name="connsiteX43" fmla="*/ 112828 w 331045"/>
                  <a:gd name="connsiteY43" fmla="*/ 213194 h 3047558"/>
                  <a:gd name="connsiteX44" fmla="*/ 100204 w 331045"/>
                  <a:gd name="connsiteY44" fmla="*/ 252457 h 3047558"/>
                  <a:gd name="connsiteX45" fmla="*/ 171326 w 331045"/>
                  <a:gd name="connsiteY45" fmla="*/ 711170 h 3047558"/>
                  <a:gd name="connsiteX46" fmla="*/ 209433 w 331045"/>
                  <a:gd name="connsiteY46" fmla="*/ 751887 h 3047558"/>
                  <a:gd name="connsiteX47" fmla="*/ 215250 w 331045"/>
                  <a:gd name="connsiteY47" fmla="*/ 777161 h 3047558"/>
                  <a:gd name="connsiteX48" fmla="*/ 234449 w 331045"/>
                  <a:gd name="connsiteY48" fmla="*/ 806507 h 3047558"/>
                  <a:gd name="connsiteX49" fmla="*/ 262665 w 331045"/>
                  <a:gd name="connsiteY49" fmla="*/ 787166 h 3047558"/>
                  <a:gd name="connsiteX50" fmla="*/ 243583 w 331045"/>
                  <a:gd name="connsiteY50" fmla="*/ 760147 h 3047558"/>
                  <a:gd name="connsiteX51" fmla="*/ 214727 w 331045"/>
                  <a:gd name="connsiteY51" fmla="*/ 744035 h 3047558"/>
                  <a:gd name="connsiteX52" fmla="*/ 185114 w 331045"/>
                  <a:gd name="connsiteY52" fmla="*/ 709367 h 3047558"/>
                  <a:gd name="connsiteX53" fmla="*/ 183863 w 331045"/>
                  <a:gd name="connsiteY53" fmla="*/ 694476 h 3047558"/>
                  <a:gd name="connsiteX54" fmla="*/ 184300 w 331045"/>
                  <a:gd name="connsiteY54" fmla="*/ 660476 h 3047558"/>
                  <a:gd name="connsiteX55" fmla="*/ 149218 w 331045"/>
                  <a:gd name="connsiteY55" fmla="*/ 660622 h 3047558"/>
                  <a:gd name="connsiteX56" fmla="*/ 150120 w 331045"/>
                  <a:gd name="connsiteY56" fmla="*/ 694563 h 3047558"/>
                  <a:gd name="connsiteX57" fmla="*/ 149509 w 331045"/>
                  <a:gd name="connsiteY57" fmla="*/ 710094 h 3047558"/>
                  <a:gd name="connsiteX58" fmla="*/ 117512 w 331045"/>
                  <a:gd name="connsiteY58" fmla="*/ 744994 h 3047558"/>
                  <a:gd name="connsiteX59" fmla="*/ 93310 w 331045"/>
                  <a:gd name="connsiteY59" fmla="*/ 758577 h 3047558"/>
                  <a:gd name="connsiteX60" fmla="*/ 70039 w 331045"/>
                  <a:gd name="connsiteY60" fmla="*/ 780215 h 3047558"/>
                  <a:gd name="connsiteX61" fmla="*/ 92350 w 331045"/>
                  <a:gd name="connsiteY61" fmla="*/ 806623 h 3047558"/>
                  <a:gd name="connsiteX62" fmla="*/ 117541 w 331045"/>
                  <a:gd name="connsiteY62" fmla="*/ 783356 h 3047558"/>
                  <a:gd name="connsiteX63" fmla="*/ 117919 w 331045"/>
                  <a:gd name="connsiteY63" fmla="*/ 758897 h 3047558"/>
                  <a:gd name="connsiteX64" fmla="*/ 159719 w 331045"/>
                  <a:gd name="connsiteY64" fmla="*/ 714573 h 3047558"/>
                  <a:gd name="connsiteX65" fmla="*/ 161581 w 331045"/>
                  <a:gd name="connsiteY65" fmla="*/ 734001 h 3047558"/>
                  <a:gd name="connsiteX66" fmla="*/ 149946 w 331045"/>
                  <a:gd name="connsiteY66" fmla="*/ 765121 h 3047558"/>
                  <a:gd name="connsiteX67" fmla="*/ 142528 w 331045"/>
                  <a:gd name="connsiteY67" fmla="*/ 780186 h 3047558"/>
                  <a:gd name="connsiteX68" fmla="*/ 159807 w 331045"/>
                  <a:gd name="connsiteY68" fmla="*/ 805198 h 3047558"/>
                  <a:gd name="connsiteX69" fmla="*/ 186947 w 331045"/>
                  <a:gd name="connsiteY69" fmla="*/ 795077 h 3047558"/>
                  <a:gd name="connsiteX70" fmla="*/ 181914 w 331045"/>
                  <a:gd name="connsiteY70" fmla="*/ 763783 h 3047558"/>
                  <a:gd name="connsiteX71" fmla="*/ 171035 w 331045"/>
                  <a:gd name="connsiteY71" fmla="*/ 736531 h 3047558"/>
                  <a:gd name="connsiteX72" fmla="*/ 171326 w 331045"/>
                  <a:gd name="connsiteY72" fmla="*/ 711170 h 3047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31045" h="3047558">
                    <a:moveTo>
                      <a:pt x="173770" y="3047020"/>
                    </a:moveTo>
                    <a:cubicBezTo>
                      <a:pt x="147095" y="3042192"/>
                      <a:pt x="120101" y="3043064"/>
                      <a:pt x="93397" y="3044460"/>
                    </a:cubicBezTo>
                    <a:cubicBezTo>
                      <a:pt x="48019" y="3046845"/>
                      <a:pt x="22799" y="3020524"/>
                      <a:pt x="2785" y="2985333"/>
                    </a:cubicBezTo>
                    <a:cubicBezTo>
                      <a:pt x="-1345" y="2978033"/>
                      <a:pt x="371" y="2969831"/>
                      <a:pt x="371" y="2962066"/>
                    </a:cubicBezTo>
                    <a:cubicBezTo>
                      <a:pt x="371" y="2667823"/>
                      <a:pt x="371" y="2373581"/>
                      <a:pt x="371" y="2079367"/>
                    </a:cubicBezTo>
                    <a:lnTo>
                      <a:pt x="371" y="33891"/>
                    </a:lnTo>
                    <a:cubicBezTo>
                      <a:pt x="371" y="23101"/>
                      <a:pt x="-3527" y="7716"/>
                      <a:pt x="1913" y="2772"/>
                    </a:cubicBezTo>
                    <a:cubicBezTo>
                      <a:pt x="8167" y="-2871"/>
                      <a:pt x="22828" y="416"/>
                      <a:pt x="33910" y="387"/>
                    </a:cubicBezTo>
                    <a:cubicBezTo>
                      <a:pt x="125715" y="387"/>
                      <a:pt x="217519" y="677"/>
                      <a:pt x="309294" y="38"/>
                    </a:cubicBezTo>
                    <a:cubicBezTo>
                      <a:pt x="324566" y="38"/>
                      <a:pt x="330064" y="2946"/>
                      <a:pt x="330064" y="19786"/>
                    </a:cubicBezTo>
                    <a:cubicBezTo>
                      <a:pt x="329598" y="1018500"/>
                      <a:pt x="329511" y="2017215"/>
                      <a:pt x="329802" y="3015929"/>
                    </a:cubicBezTo>
                    <a:cubicBezTo>
                      <a:pt x="329802" y="3025556"/>
                      <a:pt x="327446" y="3034659"/>
                      <a:pt x="326515" y="3044053"/>
                    </a:cubicBezTo>
                    <a:cubicBezTo>
                      <a:pt x="281776" y="3044053"/>
                      <a:pt x="237038" y="3044053"/>
                      <a:pt x="192270" y="3044286"/>
                    </a:cubicBezTo>
                    <a:cubicBezTo>
                      <a:pt x="185929" y="3044286"/>
                      <a:pt x="179413" y="3042948"/>
                      <a:pt x="173770" y="3047020"/>
                    </a:cubicBezTo>
                    <a:close/>
                    <a:moveTo>
                      <a:pt x="166410" y="550859"/>
                    </a:moveTo>
                    <a:cubicBezTo>
                      <a:pt x="216850" y="554436"/>
                      <a:pt x="253677" y="507030"/>
                      <a:pt x="253851" y="466835"/>
                    </a:cubicBezTo>
                    <a:cubicBezTo>
                      <a:pt x="253938" y="419114"/>
                      <a:pt x="215628" y="380206"/>
                      <a:pt x="167894" y="379584"/>
                    </a:cubicBezTo>
                    <a:cubicBezTo>
                      <a:pt x="116086" y="379235"/>
                      <a:pt x="81587" y="419836"/>
                      <a:pt x="79842" y="465236"/>
                    </a:cubicBezTo>
                    <a:cubicBezTo>
                      <a:pt x="78184" y="508018"/>
                      <a:pt x="122195" y="555629"/>
                      <a:pt x="166410" y="550859"/>
                    </a:cubicBezTo>
                    <a:close/>
                    <a:moveTo>
                      <a:pt x="100204" y="252457"/>
                    </a:moveTo>
                    <a:cubicBezTo>
                      <a:pt x="97993" y="260456"/>
                      <a:pt x="100582" y="264324"/>
                      <a:pt x="104887" y="266999"/>
                    </a:cubicBezTo>
                    <a:cubicBezTo>
                      <a:pt x="110414" y="270498"/>
                      <a:pt x="117541" y="269992"/>
                      <a:pt x="122515" y="265749"/>
                    </a:cubicBezTo>
                    <a:cubicBezTo>
                      <a:pt x="134151" y="257460"/>
                      <a:pt x="145611" y="249345"/>
                      <a:pt x="157422" y="241522"/>
                    </a:cubicBezTo>
                    <a:cubicBezTo>
                      <a:pt x="164752" y="236665"/>
                      <a:pt x="171326" y="237130"/>
                      <a:pt x="178889" y="243121"/>
                    </a:cubicBezTo>
                    <a:cubicBezTo>
                      <a:pt x="189565" y="251556"/>
                      <a:pt x="201898" y="257838"/>
                      <a:pt x="213069" y="265661"/>
                    </a:cubicBezTo>
                    <a:cubicBezTo>
                      <a:pt x="218886" y="269762"/>
                      <a:pt x="223715" y="268919"/>
                      <a:pt x="229038" y="265661"/>
                    </a:cubicBezTo>
                    <a:cubicBezTo>
                      <a:pt x="234362" y="262404"/>
                      <a:pt x="235205" y="257547"/>
                      <a:pt x="233576" y="251963"/>
                    </a:cubicBezTo>
                    <a:cubicBezTo>
                      <a:pt x="229766" y="238875"/>
                      <a:pt x="227089" y="225293"/>
                      <a:pt x="221766" y="212874"/>
                    </a:cubicBezTo>
                    <a:cubicBezTo>
                      <a:pt x="216937" y="201648"/>
                      <a:pt x="219934" y="194173"/>
                      <a:pt x="229097" y="188822"/>
                    </a:cubicBezTo>
                    <a:cubicBezTo>
                      <a:pt x="241052" y="181842"/>
                      <a:pt x="250535" y="171924"/>
                      <a:pt x="261501" y="163810"/>
                    </a:cubicBezTo>
                    <a:cubicBezTo>
                      <a:pt x="266708" y="159912"/>
                      <a:pt x="270635" y="154386"/>
                      <a:pt x="267901" y="147464"/>
                    </a:cubicBezTo>
                    <a:cubicBezTo>
                      <a:pt x="265516" y="141444"/>
                      <a:pt x="259989" y="139553"/>
                      <a:pt x="253647" y="139612"/>
                    </a:cubicBezTo>
                    <a:cubicBezTo>
                      <a:pt x="240499" y="139612"/>
                      <a:pt x="227264" y="138885"/>
                      <a:pt x="214145" y="139786"/>
                    </a:cubicBezTo>
                    <a:cubicBezTo>
                      <a:pt x="202713" y="140600"/>
                      <a:pt x="196197" y="135918"/>
                      <a:pt x="192852" y="125564"/>
                    </a:cubicBezTo>
                    <a:cubicBezTo>
                      <a:pt x="189943" y="116083"/>
                      <a:pt x="187034" y="106427"/>
                      <a:pt x="183631" y="97120"/>
                    </a:cubicBezTo>
                    <a:cubicBezTo>
                      <a:pt x="180227" y="87813"/>
                      <a:pt x="178918" y="74958"/>
                      <a:pt x="166963" y="74958"/>
                    </a:cubicBezTo>
                    <a:cubicBezTo>
                      <a:pt x="155007" y="74958"/>
                      <a:pt x="152651" y="87319"/>
                      <a:pt x="149509" y="96771"/>
                    </a:cubicBezTo>
                    <a:cubicBezTo>
                      <a:pt x="146164" y="106718"/>
                      <a:pt x="142703" y="116693"/>
                      <a:pt x="140288" y="126873"/>
                    </a:cubicBezTo>
                    <a:cubicBezTo>
                      <a:pt x="137874" y="137052"/>
                      <a:pt x="132027" y="140251"/>
                      <a:pt x="122050" y="139728"/>
                    </a:cubicBezTo>
                    <a:cubicBezTo>
                      <a:pt x="109454" y="139088"/>
                      <a:pt x="96771" y="139728"/>
                      <a:pt x="84234" y="139728"/>
                    </a:cubicBezTo>
                    <a:cubicBezTo>
                      <a:pt x="76496" y="139728"/>
                      <a:pt x="68846" y="140833"/>
                      <a:pt x="65908" y="149064"/>
                    </a:cubicBezTo>
                    <a:cubicBezTo>
                      <a:pt x="62970" y="157295"/>
                      <a:pt x="69050" y="162763"/>
                      <a:pt x="75013" y="167300"/>
                    </a:cubicBezTo>
                    <a:cubicBezTo>
                      <a:pt x="84700" y="174571"/>
                      <a:pt x="94415" y="181705"/>
                      <a:pt x="104102" y="188705"/>
                    </a:cubicBezTo>
                    <a:cubicBezTo>
                      <a:pt x="112828" y="194900"/>
                      <a:pt x="115737" y="202171"/>
                      <a:pt x="112828" y="213194"/>
                    </a:cubicBezTo>
                    <a:cubicBezTo>
                      <a:pt x="108872" y="227154"/>
                      <a:pt x="101309" y="240184"/>
                      <a:pt x="100204" y="252457"/>
                    </a:cubicBezTo>
                    <a:close/>
                    <a:moveTo>
                      <a:pt x="171326" y="711170"/>
                    </a:moveTo>
                    <a:cubicBezTo>
                      <a:pt x="186045" y="726904"/>
                      <a:pt x="197506" y="739498"/>
                      <a:pt x="209433" y="751887"/>
                    </a:cubicBezTo>
                    <a:cubicBezTo>
                      <a:pt x="216414" y="759246"/>
                      <a:pt x="220137" y="766197"/>
                      <a:pt x="215250" y="777161"/>
                    </a:cubicBezTo>
                    <a:cubicBezTo>
                      <a:pt x="210363" y="788126"/>
                      <a:pt x="221068" y="803337"/>
                      <a:pt x="234449" y="806507"/>
                    </a:cubicBezTo>
                    <a:cubicBezTo>
                      <a:pt x="246695" y="809415"/>
                      <a:pt x="260222" y="800109"/>
                      <a:pt x="262665" y="787166"/>
                    </a:cubicBezTo>
                    <a:cubicBezTo>
                      <a:pt x="265225" y="773584"/>
                      <a:pt x="256847" y="759856"/>
                      <a:pt x="243583" y="760147"/>
                    </a:cubicBezTo>
                    <a:cubicBezTo>
                      <a:pt x="229853" y="760409"/>
                      <a:pt x="222290" y="752905"/>
                      <a:pt x="214727" y="744035"/>
                    </a:cubicBezTo>
                    <a:cubicBezTo>
                      <a:pt x="204836" y="732401"/>
                      <a:pt x="195790" y="720128"/>
                      <a:pt x="185114" y="709367"/>
                    </a:cubicBezTo>
                    <a:cubicBezTo>
                      <a:pt x="179471" y="703550"/>
                      <a:pt x="178016" y="700991"/>
                      <a:pt x="183863" y="694476"/>
                    </a:cubicBezTo>
                    <a:cubicBezTo>
                      <a:pt x="193346" y="683918"/>
                      <a:pt x="192881" y="668649"/>
                      <a:pt x="184300" y="660476"/>
                    </a:cubicBezTo>
                    <a:cubicBezTo>
                      <a:pt x="176504" y="653002"/>
                      <a:pt x="157334" y="653089"/>
                      <a:pt x="149218" y="660622"/>
                    </a:cubicBezTo>
                    <a:cubicBezTo>
                      <a:pt x="140492" y="668736"/>
                      <a:pt x="139910" y="684180"/>
                      <a:pt x="150120" y="694563"/>
                    </a:cubicBezTo>
                    <a:cubicBezTo>
                      <a:pt x="156724" y="701281"/>
                      <a:pt x="154571" y="705033"/>
                      <a:pt x="149509" y="710094"/>
                    </a:cubicBezTo>
                    <a:cubicBezTo>
                      <a:pt x="138427" y="721291"/>
                      <a:pt x="127024" y="732198"/>
                      <a:pt x="117512" y="744994"/>
                    </a:cubicBezTo>
                    <a:cubicBezTo>
                      <a:pt x="111694" y="752847"/>
                      <a:pt x="105876" y="759042"/>
                      <a:pt x="93310" y="758577"/>
                    </a:cubicBezTo>
                    <a:cubicBezTo>
                      <a:pt x="81674" y="758140"/>
                      <a:pt x="71406" y="766691"/>
                      <a:pt x="70039" y="780215"/>
                    </a:cubicBezTo>
                    <a:cubicBezTo>
                      <a:pt x="68933" y="792198"/>
                      <a:pt x="80074" y="804558"/>
                      <a:pt x="92350" y="806623"/>
                    </a:cubicBezTo>
                    <a:cubicBezTo>
                      <a:pt x="106371" y="808979"/>
                      <a:pt x="116290" y="799178"/>
                      <a:pt x="117541" y="783356"/>
                    </a:cubicBezTo>
                    <a:cubicBezTo>
                      <a:pt x="118181" y="775126"/>
                      <a:pt x="111723" y="766662"/>
                      <a:pt x="117919" y="758897"/>
                    </a:cubicBezTo>
                    <a:cubicBezTo>
                      <a:pt x="130456" y="743017"/>
                      <a:pt x="147008" y="730947"/>
                      <a:pt x="159719" y="714573"/>
                    </a:cubicBezTo>
                    <a:cubicBezTo>
                      <a:pt x="161174" y="720939"/>
                      <a:pt x="161814" y="727471"/>
                      <a:pt x="161581" y="734001"/>
                    </a:cubicBezTo>
                    <a:cubicBezTo>
                      <a:pt x="161581" y="745809"/>
                      <a:pt x="163501" y="757675"/>
                      <a:pt x="149946" y="765121"/>
                    </a:cubicBezTo>
                    <a:cubicBezTo>
                      <a:pt x="145088" y="768564"/>
                      <a:pt x="142295" y="774233"/>
                      <a:pt x="142528" y="780186"/>
                    </a:cubicBezTo>
                    <a:cubicBezTo>
                      <a:pt x="142528" y="792518"/>
                      <a:pt x="147212" y="800952"/>
                      <a:pt x="159807" y="805198"/>
                    </a:cubicBezTo>
                    <a:cubicBezTo>
                      <a:pt x="172402" y="809445"/>
                      <a:pt x="181245" y="804355"/>
                      <a:pt x="186947" y="795077"/>
                    </a:cubicBezTo>
                    <a:cubicBezTo>
                      <a:pt x="193637" y="784229"/>
                      <a:pt x="192299" y="771054"/>
                      <a:pt x="181914" y="763783"/>
                    </a:cubicBezTo>
                    <a:cubicBezTo>
                      <a:pt x="171530" y="756512"/>
                      <a:pt x="170657" y="747263"/>
                      <a:pt x="171035" y="736531"/>
                    </a:cubicBezTo>
                    <a:cubicBezTo>
                      <a:pt x="171530" y="729667"/>
                      <a:pt x="171326" y="722862"/>
                      <a:pt x="171326" y="711170"/>
                    </a:cubicBezTo>
                    <a:close/>
                  </a:path>
                </a:pathLst>
              </a:custGeom>
              <a:solidFill>
                <a:schemeClr val="bg1">
                  <a:lumMod val="75000"/>
                </a:schemeClr>
              </a:solidFill>
              <a:ln w="2907" cap="flat">
                <a:noFill/>
                <a:prstDash val="solid"/>
                <a:miter/>
              </a:ln>
            </p:spPr>
            <p:txBody>
              <a:bodyPr rtlCol="0" anchor="ctr"/>
              <a:lstStyle/>
              <a:p>
                <a:endParaRPr lang="en-US" sz="800"/>
              </a:p>
            </p:txBody>
          </p:sp>
          <p:sp>
            <p:nvSpPr>
              <p:cNvPr id="33" name="Graphic 38">
                <a:extLst>
                  <a:ext uri="{FF2B5EF4-FFF2-40B4-BE49-F238E27FC236}">
                    <a16:creationId xmlns:a16="http://schemas.microsoft.com/office/drawing/2014/main" id="{5D74C5FD-E844-11D9-1E23-61A3385752B5}"/>
                  </a:ext>
                </a:extLst>
              </p:cNvPr>
              <p:cNvSpPr/>
              <p:nvPr/>
            </p:nvSpPr>
            <p:spPr>
              <a:xfrm>
                <a:off x="17110727" y="2916172"/>
                <a:ext cx="700055" cy="712702"/>
              </a:xfrm>
              <a:custGeom>
                <a:avLst/>
                <a:gdLst>
                  <a:gd name="connsiteX0" fmla="*/ 521312 w 700055"/>
                  <a:gd name="connsiteY0" fmla="*/ 712164 h 712702"/>
                  <a:gd name="connsiteX1" fmla="*/ 23195 w 700055"/>
                  <a:gd name="connsiteY1" fmla="*/ 712164 h 712702"/>
                  <a:gd name="connsiteX2" fmla="*/ -512 w 700055"/>
                  <a:gd name="connsiteY2" fmla="*/ 711699 h 712702"/>
                  <a:gd name="connsiteX3" fmla="*/ 244 w 700055"/>
                  <a:gd name="connsiteY3" fmla="*/ 608974 h 712702"/>
                  <a:gd name="connsiteX4" fmla="*/ 24533 w 700055"/>
                  <a:gd name="connsiteY4" fmla="*/ 588208 h 712702"/>
                  <a:gd name="connsiteX5" fmla="*/ 442336 w 700055"/>
                  <a:gd name="connsiteY5" fmla="*/ 588528 h 712702"/>
                  <a:gd name="connsiteX6" fmla="*/ 461535 w 700055"/>
                  <a:gd name="connsiteY6" fmla="*/ 582392 h 712702"/>
                  <a:gd name="connsiteX7" fmla="*/ 440184 w 700055"/>
                  <a:gd name="connsiteY7" fmla="*/ 582392 h 712702"/>
                  <a:gd name="connsiteX8" fmla="*/ 22381 w 700055"/>
                  <a:gd name="connsiteY8" fmla="*/ 582741 h 712702"/>
                  <a:gd name="connsiteX9" fmla="*/ 1699 w 700055"/>
                  <a:gd name="connsiteY9" fmla="*/ 562876 h 712702"/>
                  <a:gd name="connsiteX10" fmla="*/ 1699 w 700055"/>
                  <a:gd name="connsiteY10" fmla="*/ 482255 h 712702"/>
                  <a:gd name="connsiteX11" fmla="*/ 21712 w 700055"/>
                  <a:gd name="connsiteY11" fmla="*/ 461693 h 712702"/>
                  <a:gd name="connsiteX12" fmla="*/ 441086 w 700055"/>
                  <a:gd name="connsiteY12" fmla="*/ 462013 h 712702"/>
                  <a:gd name="connsiteX13" fmla="*/ 460255 w 700055"/>
                  <a:gd name="connsiteY13" fmla="*/ 459105 h 712702"/>
                  <a:gd name="connsiteX14" fmla="*/ 441202 w 700055"/>
                  <a:gd name="connsiteY14" fmla="*/ 456021 h 712702"/>
                  <a:gd name="connsiteX15" fmla="*/ 118316 w 700055"/>
                  <a:gd name="connsiteY15" fmla="*/ 456021 h 712702"/>
                  <a:gd name="connsiteX16" fmla="*/ 12287 w 700055"/>
                  <a:gd name="connsiteY16" fmla="*/ 456021 h 712702"/>
                  <a:gd name="connsiteX17" fmla="*/ -978 w 700055"/>
                  <a:gd name="connsiteY17" fmla="*/ 443545 h 712702"/>
                  <a:gd name="connsiteX18" fmla="*/ -978 w 700055"/>
                  <a:gd name="connsiteY18" fmla="*/ 345473 h 712702"/>
                  <a:gd name="connsiteX19" fmla="*/ 10949 w 700055"/>
                  <a:gd name="connsiteY19" fmla="*/ 332764 h 712702"/>
                  <a:gd name="connsiteX20" fmla="*/ 11676 w 700055"/>
                  <a:gd name="connsiteY20" fmla="*/ 369061 h 712702"/>
                  <a:gd name="connsiteX21" fmla="*/ 52401 w 700055"/>
                  <a:gd name="connsiteY21" fmla="*/ 410563 h 712702"/>
                  <a:gd name="connsiteX22" fmla="*/ 406615 w 700055"/>
                  <a:gd name="connsiteY22" fmla="*/ 410563 h 712702"/>
                  <a:gd name="connsiteX23" fmla="*/ 445245 w 700055"/>
                  <a:gd name="connsiteY23" fmla="*/ 371736 h 712702"/>
                  <a:gd name="connsiteX24" fmla="*/ 445245 w 700055"/>
                  <a:gd name="connsiteY24" fmla="*/ 47508 h 712702"/>
                  <a:gd name="connsiteX25" fmla="*/ 404811 w 700055"/>
                  <a:gd name="connsiteY25" fmla="*/ 6994 h 712702"/>
                  <a:gd name="connsiteX26" fmla="*/ 164451 w 700055"/>
                  <a:gd name="connsiteY26" fmla="*/ 6994 h 712702"/>
                  <a:gd name="connsiteX27" fmla="*/ 45856 w 700055"/>
                  <a:gd name="connsiteY27" fmla="*/ 6994 h 712702"/>
                  <a:gd name="connsiteX28" fmla="*/ 11793 w 700055"/>
                  <a:gd name="connsiteY28" fmla="*/ 41139 h 712702"/>
                  <a:gd name="connsiteX29" fmla="*/ 11327 w 700055"/>
                  <a:gd name="connsiteY29" fmla="*/ 72724 h 712702"/>
                  <a:gd name="connsiteX30" fmla="*/ -920 w 700055"/>
                  <a:gd name="connsiteY30" fmla="*/ 61498 h 712702"/>
                  <a:gd name="connsiteX31" fmla="*/ -687 w 700055"/>
                  <a:gd name="connsiteY31" fmla="*/ 625 h 712702"/>
                  <a:gd name="connsiteX32" fmla="*/ 2222 w 700055"/>
                  <a:gd name="connsiteY32" fmla="*/ -539 h 712702"/>
                  <a:gd name="connsiteX33" fmla="*/ 297649 w 700055"/>
                  <a:gd name="connsiteY33" fmla="*/ -15 h 712702"/>
                  <a:gd name="connsiteX34" fmla="*/ 699075 w 700055"/>
                  <a:gd name="connsiteY34" fmla="*/ -393 h 712702"/>
                  <a:gd name="connsiteX35" fmla="*/ 698842 w 700055"/>
                  <a:gd name="connsiteY35" fmla="*/ 101 h 712702"/>
                  <a:gd name="connsiteX36" fmla="*/ 698842 w 700055"/>
                  <a:gd name="connsiteY36" fmla="*/ 627588 h 712702"/>
                  <a:gd name="connsiteX37" fmla="*/ 614688 w 700055"/>
                  <a:gd name="connsiteY37" fmla="*/ 711931 h 712702"/>
                  <a:gd name="connsiteX38" fmla="*/ 521312 w 700055"/>
                  <a:gd name="connsiteY38" fmla="*/ 712164 h 71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00055" h="712702">
                    <a:moveTo>
                      <a:pt x="521312" y="712164"/>
                    </a:moveTo>
                    <a:lnTo>
                      <a:pt x="23195" y="712164"/>
                    </a:lnTo>
                    <a:cubicBezTo>
                      <a:pt x="15283" y="712164"/>
                      <a:pt x="7371" y="711844"/>
                      <a:pt x="-512" y="711699"/>
                    </a:cubicBezTo>
                    <a:cubicBezTo>
                      <a:pt x="-251" y="677438"/>
                      <a:pt x="186" y="643206"/>
                      <a:pt x="244" y="608974"/>
                    </a:cubicBezTo>
                    <a:cubicBezTo>
                      <a:pt x="244" y="592193"/>
                      <a:pt x="7865" y="588121"/>
                      <a:pt x="24533" y="588208"/>
                    </a:cubicBezTo>
                    <a:cubicBezTo>
                      <a:pt x="163782" y="589022"/>
                      <a:pt x="303059" y="588703"/>
                      <a:pt x="442336" y="588528"/>
                    </a:cubicBezTo>
                    <a:cubicBezTo>
                      <a:pt x="447834" y="588528"/>
                      <a:pt x="454524" y="591058"/>
                      <a:pt x="461535" y="582392"/>
                    </a:cubicBezTo>
                    <a:lnTo>
                      <a:pt x="440184" y="582392"/>
                    </a:lnTo>
                    <a:cubicBezTo>
                      <a:pt x="300906" y="582392"/>
                      <a:pt x="161629" y="582159"/>
                      <a:pt x="22381" y="582741"/>
                    </a:cubicBezTo>
                    <a:cubicBezTo>
                      <a:pt x="6964" y="582741"/>
                      <a:pt x="768" y="579832"/>
                      <a:pt x="1699" y="562876"/>
                    </a:cubicBezTo>
                    <a:cubicBezTo>
                      <a:pt x="3153" y="536090"/>
                      <a:pt x="2979" y="509100"/>
                      <a:pt x="1699" y="482255"/>
                    </a:cubicBezTo>
                    <a:cubicBezTo>
                      <a:pt x="972" y="466550"/>
                      <a:pt x="5248" y="461606"/>
                      <a:pt x="21712" y="461693"/>
                    </a:cubicBezTo>
                    <a:cubicBezTo>
                      <a:pt x="161513" y="462362"/>
                      <a:pt x="301285" y="462100"/>
                      <a:pt x="441086" y="462013"/>
                    </a:cubicBezTo>
                    <a:cubicBezTo>
                      <a:pt x="446904" y="462013"/>
                      <a:pt x="453332" y="463700"/>
                      <a:pt x="460255" y="459105"/>
                    </a:cubicBezTo>
                    <a:cubicBezTo>
                      <a:pt x="453419" y="454306"/>
                      <a:pt x="447019" y="456021"/>
                      <a:pt x="441202" y="456021"/>
                    </a:cubicBezTo>
                    <a:cubicBezTo>
                      <a:pt x="333602" y="455905"/>
                      <a:pt x="225973" y="455905"/>
                      <a:pt x="118316" y="456021"/>
                    </a:cubicBezTo>
                    <a:cubicBezTo>
                      <a:pt x="82973" y="456021"/>
                      <a:pt x="47630" y="455818"/>
                      <a:pt x="12287" y="456021"/>
                    </a:cubicBezTo>
                    <a:cubicBezTo>
                      <a:pt x="3153" y="456021"/>
                      <a:pt x="-1123" y="453578"/>
                      <a:pt x="-978" y="443545"/>
                    </a:cubicBezTo>
                    <a:cubicBezTo>
                      <a:pt x="-541" y="410854"/>
                      <a:pt x="-716" y="378164"/>
                      <a:pt x="-978" y="345473"/>
                    </a:cubicBezTo>
                    <a:cubicBezTo>
                      <a:pt x="-978" y="337126"/>
                      <a:pt x="1931" y="332298"/>
                      <a:pt x="10949" y="332764"/>
                    </a:cubicBezTo>
                    <a:cubicBezTo>
                      <a:pt x="11211" y="344863"/>
                      <a:pt x="11618" y="356962"/>
                      <a:pt x="11676" y="369061"/>
                    </a:cubicBezTo>
                    <a:cubicBezTo>
                      <a:pt x="11676" y="402216"/>
                      <a:pt x="19676" y="410534"/>
                      <a:pt x="52401" y="410563"/>
                    </a:cubicBezTo>
                    <a:cubicBezTo>
                      <a:pt x="170472" y="410563"/>
                      <a:pt x="288543" y="410563"/>
                      <a:pt x="406615" y="410563"/>
                    </a:cubicBezTo>
                    <a:cubicBezTo>
                      <a:pt x="435937" y="410563"/>
                      <a:pt x="445216" y="401140"/>
                      <a:pt x="445245" y="371736"/>
                    </a:cubicBezTo>
                    <a:lnTo>
                      <a:pt x="445245" y="47508"/>
                    </a:lnTo>
                    <a:cubicBezTo>
                      <a:pt x="445245" y="16214"/>
                      <a:pt x="436169" y="7023"/>
                      <a:pt x="404811" y="6994"/>
                    </a:cubicBezTo>
                    <a:cubicBezTo>
                      <a:pt x="324701" y="6994"/>
                      <a:pt x="244591" y="6994"/>
                      <a:pt x="164451" y="6994"/>
                    </a:cubicBezTo>
                    <a:cubicBezTo>
                      <a:pt x="124919" y="6994"/>
                      <a:pt x="85388" y="6820"/>
                      <a:pt x="45856" y="6994"/>
                    </a:cubicBezTo>
                    <a:cubicBezTo>
                      <a:pt x="22992" y="7140"/>
                      <a:pt x="12229" y="18192"/>
                      <a:pt x="11793" y="41139"/>
                    </a:cubicBezTo>
                    <a:cubicBezTo>
                      <a:pt x="11589" y="51667"/>
                      <a:pt x="11472" y="62196"/>
                      <a:pt x="11327" y="72724"/>
                    </a:cubicBezTo>
                    <a:cubicBezTo>
                      <a:pt x="2891" y="73684"/>
                      <a:pt x="-1123" y="70659"/>
                      <a:pt x="-920" y="61498"/>
                    </a:cubicBezTo>
                    <a:cubicBezTo>
                      <a:pt x="-454" y="41139"/>
                      <a:pt x="-716" y="20925"/>
                      <a:pt x="-687" y="625"/>
                    </a:cubicBezTo>
                    <a:cubicBezTo>
                      <a:pt x="244" y="218"/>
                      <a:pt x="1175" y="-190"/>
                      <a:pt x="2222" y="-539"/>
                    </a:cubicBezTo>
                    <a:cubicBezTo>
                      <a:pt x="100688" y="-335"/>
                      <a:pt x="199183" y="-161"/>
                      <a:pt x="297649" y="-15"/>
                    </a:cubicBezTo>
                    <a:cubicBezTo>
                      <a:pt x="431457" y="-15"/>
                      <a:pt x="565266" y="-131"/>
                      <a:pt x="699075" y="-393"/>
                    </a:cubicBezTo>
                    <a:lnTo>
                      <a:pt x="698842" y="101"/>
                    </a:lnTo>
                    <a:cubicBezTo>
                      <a:pt x="698842" y="209244"/>
                      <a:pt x="698842" y="418416"/>
                      <a:pt x="698842" y="627588"/>
                    </a:cubicBezTo>
                    <a:cubicBezTo>
                      <a:pt x="698842" y="671534"/>
                      <a:pt x="658641" y="711350"/>
                      <a:pt x="614688" y="711931"/>
                    </a:cubicBezTo>
                    <a:cubicBezTo>
                      <a:pt x="583505" y="712252"/>
                      <a:pt x="552409" y="712106"/>
                      <a:pt x="521312" y="712164"/>
                    </a:cubicBezTo>
                    <a:close/>
                  </a:path>
                </a:pathLst>
              </a:custGeom>
              <a:solidFill>
                <a:srgbClr val="FEFEFE"/>
              </a:solidFill>
              <a:ln w="2907" cap="flat">
                <a:noFill/>
                <a:prstDash val="solid"/>
                <a:miter/>
              </a:ln>
            </p:spPr>
            <p:txBody>
              <a:bodyPr rtlCol="0" anchor="ctr"/>
              <a:lstStyle/>
              <a:p>
                <a:endParaRPr lang="en-US" sz="800"/>
              </a:p>
            </p:txBody>
          </p:sp>
          <p:sp>
            <p:nvSpPr>
              <p:cNvPr id="34" name="Graphic 38">
                <a:extLst>
                  <a:ext uri="{FF2B5EF4-FFF2-40B4-BE49-F238E27FC236}">
                    <a16:creationId xmlns:a16="http://schemas.microsoft.com/office/drawing/2014/main" id="{5710C339-9426-9EB3-8DA4-8F94375A9C5E}"/>
                  </a:ext>
                </a:extLst>
              </p:cNvPr>
              <p:cNvSpPr/>
              <p:nvPr/>
            </p:nvSpPr>
            <p:spPr>
              <a:xfrm>
                <a:off x="12981785" y="899434"/>
                <a:ext cx="932958" cy="137214"/>
              </a:xfrm>
              <a:custGeom>
                <a:avLst/>
                <a:gdLst>
                  <a:gd name="connsiteX0" fmla="*/ 465420 w 932958"/>
                  <a:gd name="connsiteY0" fmla="*/ 136676 h 137214"/>
                  <a:gd name="connsiteX1" fmla="*/ 38337 w 932958"/>
                  <a:gd name="connsiteY1" fmla="*/ 136676 h 137214"/>
                  <a:gd name="connsiteX2" fmla="*/ -904 w 932958"/>
                  <a:gd name="connsiteY2" fmla="*/ 97151 h 137214"/>
                  <a:gd name="connsiteX3" fmla="*/ -729 w 932958"/>
                  <a:gd name="connsiteY3" fmla="*/ 32352 h 137214"/>
                  <a:gd name="connsiteX4" fmla="*/ 31269 w 932958"/>
                  <a:gd name="connsiteY4" fmla="*/ -396 h 137214"/>
                  <a:gd name="connsiteX5" fmla="*/ 48722 w 932958"/>
                  <a:gd name="connsiteY5" fmla="*/ -396 h 137214"/>
                  <a:gd name="connsiteX6" fmla="*/ 877521 w 932958"/>
                  <a:gd name="connsiteY6" fmla="*/ -396 h 137214"/>
                  <a:gd name="connsiteX7" fmla="*/ 901258 w 932958"/>
                  <a:gd name="connsiteY7" fmla="*/ -193 h 137214"/>
                  <a:gd name="connsiteX8" fmla="*/ 931626 w 932958"/>
                  <a:gd name="connsiteY8" fmla="*/ 30869 h 137214"/>
                  <a:gd name="connsiteX9" fmla="*/ 931801 w 932958"/>
                  <a:gd name="connsiteY9" fmla="*/ 100409 h 137214"/>
                  <a:gd name="connsiteX10" fmla="*/ 893985 w 932958"/>
                  <a:gd name="connsiteY10" fmla="*/ 136676 h 137214"/>
                  <a:gd name="connsiteX11" fmla="*/ 842498 w 932958"/>
                  <a:gd name="connsiteY11" fmla="*/ 67369 h 137214"/>
                  <a:gd name="connsiteX12" fmla="*/ 842498 w 932958"/>
                  <a:gd name="connsiteY12" fmla="*/ 76851 h 137214"/>
                  <a:gd name="connsiteX13" fmla="*/ 842498 w 932958"/>
                  <a:gd name="connsiteY13" fmla="*/ 87902 h 137214"/>
                  <a:gd name="connsiteX14" fmla="*/ 859486 w 932958"/>
                  <a:gd name="connsiteY14" fmla="*/ 97617 h 137214"/>
                  <a:gd name="connsiteX15" fmla="*/ 888575 w 932958"/>
                  <a:gd name="connsiteY15" fmla="*/ 76880 h 137214"/>
                  <a:gd name="connsiteX16" fmla="*/ 888284 w 932958"/>
                  <a:gd name="connsiteY16" fmla="*/ 59604 h 137214"/>
                  <a:gd name="connsiteX17" fmla="*/ 859515 w 932958"/>
                  <a:gd name="connsiteY17" fmla="*/ 38576 h 137214"/>
                  <a:gd name="connsiteX18" fmla="*/ 842527 w 932958"/>
                  <a:gd name="connsiteY18" fmla="*/ 48436 h 137214"/>
                  <a:gd name="connsiteX19" fmla="*/ 842498 w 932958"/>
                  <a:gd name="connsiteY19" fmla="*/ 67369 h 137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2958" h="137214">
                    <a:moveTo>
                      <a:pt x="465420" y="136676"/>
                    </a:moveTo>
                    <a:lnTo>
                      <a:pt x="38337" y="136676"/>
                    </a:lnTo>
                    <a:cubicBezTo>
                      <a:pt x="8463" y="136676"/>
                      <a:pt x="-845" y="127224"/>
                      <a:pt x="-904" y="97151"/>
                    </a:cubicBezTo>
                    <a:cubicBezTo>
                      <a:pt x="-904" y="75542"/>
                      <a:pt x="-1165" y="53932"/>
                      <a:pt x="-729" y="32352"/>
                    </a:cubicBezTo>
                    <a:cubicBezTo>
                      <a:pt x="-293" y="11324"/>
                      <a:pt x="10354" y="680"/>
                      <a:pt x="31269" y="-396"/>
                    </a:cubicBezTo>
                    <a:cubicBezTo>
                      <a:pt x="37087" y="-716"/>
                      <a:pt x="42904" y="-396"/>
                      <a:pt x="48722" y="-396"/>
                    </a:cubicBezTo>
                    <a:lnTo>
                      <a:pt x="877521" y="-396"/>
                    </a:lnTo>
                    <a:cubicBezTo>
                      <a:pt x="885433" y="-396"/>
                      <a:pt x="893375" y="-745"/>
                      <a:pt x="901258" y="-193"/>
                    </a:cubicBezTo>
                    <a:cubicBezTo>
                      <a:pt x="920631" y="1203"/>
                      <a:pt x="931132" y="11441"/>
                      <a:pt x="931626" y="30869"/>
                    </a:cubicBezTo>
                    <a:cubicBezTo>
                      <a:pt x="932208" y="54136"/>
                      <a:pt x="931917" y="77229"/>
                      <a:pt x="931801" y="100409"/>
                    </a:cubicBezTo>
                    <a:cubicBezTo>
                      <a:pt x="931801" y="126584"/>
                      <a:pt x="921212" y="136676"/>
                      <a:pt x="893985" y="136676"/>
                    </a:cubicBezTo>
                    <a:close/>
                    <a:moveTo>
                      <a:pt x="842498" y="67369"/>
                    </a:moveTo>
                    <a:lnTo>
                      <a:pt x="842498" y="76851"/>
                    </a:lnTo>
                    <a:cubicBezTo>
                      <a:pt x="842498" y="80544"/>
                      <a:pt x="842498" y="84209"/>
                      <a:pt x="842498" y="87902"/>
                    </a:cubicBezTo>
                    <a:cubicBezTo>
                      <a:pt x="843051" y="100234"/>
                      <a:pt x="849188" y="104073"/>
                      <a:pt x="859486" y="97617"/>
                    </a:cubicBezTo>
                    <a:cubicBezTo>
                      <a:pt x="869784" y="91160"/>
                      <a:pt x="878888" y="83860"/>
                      <a:pt x="888575" y="76880"/>
                    </a:cubicBezTo>
                    <a:cubicBezTo>
                      <a:pt x="896662" y="71063"/>
                      <a:pt x="896342" y="65246"/>
                      <a:pt x="888284" y="59604"/>
                    </a:cubicBezTo>
                    <a:cubicBezTo>
                      <a:pt x="878626" y="52682"/>
                      <a:pt x="869463" y="45062"/>
                      <a:pt x="859515" y="38576"/>
                    </a:cubicBezTo>
                    <a:cubicBezTo>
                      <a:pt x="849567" y="32090"/>
                      <a:pt x="843051" y="36249"/>
                      <a:pt x="842527" y="48436"/>
                    </a:cubicBezTo>
                    <a:cubicBezTo>
                      <a:pt x="842265" y="54747"/>
                      <a:pt x="842498" y="61058"/>
                      <a:pt x="842498" y="67369"/>
                    </a:cubicBezTo>
                    <a:close/>
                  </a:path>
                </a:pathLst>
              </a:custGeom>
              <a:solidFill>
                <a:schemeClr val="accent6"/>
              </a:solidFill>
              <a:ln w="2907" cap="flat">
                <a:noFill/>
                <a:prstDash val="solid"/>
                <a:miter/>
              </a:ln>
            </p:spPr>
            <p:txBody>
              <a:bodyPr rtlCol="0" anchor="ctr"/>
              <a:lstStyle/>
              <a:p>
                <a:endParaRPr lang="en-US" sz="800"/>
              </a:p>
            </p:txBody>
          </p:sp>
          <p:sp>
            <p:nvSpPr>
              <p:cNvPr id="35" name="Graphic 38">
                <a:extLst>
                  <a:ext uri="{FF2B5EF4-FFF2-40B4-BE49-F238E27FC236}">
                    <a16:creationId xmlns:a16="http://schemas.microsoft.com/office/drawing/2014/main" id="{68959650-F387-B160-E566-8780E250C745}"/>
                  </a:ext>
                </a:extLst>
              </p:cNvPr>
              <p:cNvSpPr/>
              <p:nvPr/>
            </p:nvSpPr>
            <p:spPr>
              <a:xfrm>
                <a:off x="12981018" y="1708285"/>
                <a:ext cx="934188" cy="134920"/>
              </a:xfrm>
              <a:custGeom>
                <a:avLst/>
                <a:gdLst>
                  <a:gd name="connsiteX0" fmla="*/ 465575 w 934188"/>
                  <a:gd name="connsiteY0" fmla="*/ -539 h 134920"/>
                  <a:gd name="connsiteX1" fmla="*/ 894432 w 934188"/>
                  <a:gd name="connsiteY1" fmla="*/ -539 h 134920"/>
                  <a:gd name="connsiteX2" fmla="*/ 933207 w 934188"/>
                  <a:gd name="connsiteY2" fmla="*/ 38114 h 134920"/>
                  <a:gd name="connsiteX3" fmla="*/ 933207 w 934188"/>
                  <a:gd name="connsiteY3" fmla="*/ 98230 h 134920"/>
                  <a:gd name="connsiteX4" fmla="*/ 896439 w 934188"/>
                  <a:gd name="connsiteY4" fmla="*/ 134382 h 134920"/>
                  <a:gd name="connsiteX5" fmla="*/ 826800 w 934188"/>
                  <a:gd name="connsiteY5" fmla="*/ 134382 h 134920"/>
                  <a:gd name="connsiteX6" fmla="*/ 41838 w 934188"/>
                  <a:gd name="connsiteY6" fmla="*/ 134382 h 134920"/>
                  <a:gd name="connsiteX7" fmla="*/ -981 w 934188"/>
                  <a:gd name="connsiteY7" fmla="*/ 91512 h 134920"/>
                  <a:gd name="connsiteX8" fmla="*/ -981 w 934188"/>
                  <a:gd name="connsiteY8" fmla="*/ 40906 h 134920"/>
                  <a:gd name="connsiteX9" fmla="*/ 39744 w 934188"/>
                  <a:gd name="connsiteY9" fmla="*/ -539 h 134920"/>
                  <a:gd name="connsiteX10" fmla="*/ 853649 w 934188"/>
                  <a:gd name="connsiteY10" fmla="*/ 33228 h 134920"/>
                  <a:gd name="connsiteX11" fmla="*/ 843730 w 934188"/>
                  <a:gd name="connsiteY11" fmla="*/ 42156 h 134920"/>
                  <a:gd name="connsiteX12" fmla="*/ 843730 w 934188"/>
                  <a:gd name="connsiteY12" fmla="*/ 90843 h 134920"/>
                  <a:gd name="connsiteX13" fmla="*/ 857954 w 934188"/>
                  <a:gd name="connsiteY13" fmla="*/ 97678 h 134920"/>
                  <a:gd name="connsiteX14" fmla="*/ 891436 w 934188"/>
                  <a:gd name="connsiteY14" fmla="*/ 74410 h 134920"/>
                  <a:gd name="connsiteX15" fmla="*/ 894578 w 934188"/>
                  <a:gd name="connsiteY15" fmla="*/ 63591 h 134920"/>
                  <a:gd name="connsiteX16" fmla="*/ 853649 w 934188"/>
                  <a:gd name="connsiteY16" fmla="*/ 33228 h 13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4188" h="134920">
                    <a:moveTo>
                      <a:pt x="465575" y="-539"/>
                    </a:moveTo>
                    <a:cubicBezTo>
                      <a:pt x="608518" y="-539"/>
                      <a:pt x="751460" y="-539"/>
                      <a:pt x="894432" y="-539"/>
                    </a:cubicBezTo>
                    <a:cubicBezTo>
                      <a:pt x="924365" y="-539"/>
                      <a:pt x="933266" y="8506"/>
                      <a:pt x="933207" y="38114"/>
                    </a:cubicBezTo>
                    <a:cubicBezTo>
                      <a:pt x="933207" y="58153"/>
                      <a:pt x="933207" y="78191"/>
                      <a:pt x="933207" y="98230"/>
                    </a:cubicBezTo>
                    <a:cubicBezTo>
                      <a:pt x="933207" y="124028"/>
                      <a:pt x="922619" y="134295"/>
                      <a:pt x="896439" y="134382"/>
                    </a:cubicBezTo>
                    <a:cubicBezTo>
                      <a:pt x="873168" y="134382"/>
                      <a:pt x="849897" y="134382"/>
                      <a:pt x="826800" y="134382"/>
                    </a:cubicBezTo>
                    <a:lnTo>
                      <a:pt x="41838" y="134382"/>
                    </a:lnTo>
                    <a:cubicBezTo>
                      <a:pt x="6932" y="134382"/>
                      <a:pt x="-1068" y="126238"/>
                      <a:pt x="-981" y="91512"/>
                    </a:cubicBezTo>
                    <a:cubicBezTo>
                      <a:pt x="-981" y="74643"/>
                      <a:pt x="-981" y="57774"/>
                      <a:pt x="-981" y="40906"/>
                    </a:cubicBezTo>
                    <a:cubicBezTo>
                      <a:pt x="-981" y="7692"/>
                      <a:pt x="7135" y="-539"/>
                      <a:pt x="39744" y="-539"/>
                    </a:cubicBezTo>
                    <a:close/>
                    <a:moveTo>
                      <a:pt x="853649" y="33228"/>
                    </a:moveTo>
                    <a:cubicBezTo>
                      <a:pt x="847657" y="33984"/>
                      <a:pt x="843846" y="36747"/>
                      <a:pt x="843730" y="42156"/>
                    </a:cubicBezTo>
                    <a:cubicBezTo>
                      <a:pt x="843410" y="58385"/>
                      <a:pt x="843061" y="74643"/>
                      <a:pt x="843730" y="90843"/>
                    </a:cubicBezTo>
                    <a:cubicBezTo>
                      <a:pt x="844137" y="100092"/>
                      <a:pt x="850304" y="102477"/>
                      <a:pt x="857954" y="97678"/>
                    </a:cubicBezTo>
                    <a:cubicBezTo>
                      <a:pt x="869387" y="90320"/>
                      <a:pt x="880411" y="82351"/>
                      <a:pt x="891436" y="74410"/>
                    </a:cubicBezTo>
                    <a:cubicBezTo>
                      <a:pt x="894985" y="71822"/>
                      <a:pt x="897864" y="67256"/>
                      <a:pt x="894578" y="63591"/>
                    </a:cubicBezTo>
                    <a:cubicBezTo>
                      <a:pt x="882942" y="50649"/>
                      <a:pt x="867350" y="42825"/>
                      <a:pt x="853649" y="33228"/>
                    </a:cubicBezTo>
                    <a:close/>
                  </a:path>
                </a:pathLst>
              </a:custGeom>
              <a:solidFill>
                <a:schemeClr val="accent5">
                  <a:lumMod val="50000"/>
                </a:schemeClr>
              </a:solidFill>
              <a:ln w="2907" cap="flat">
                <a:noFill/>
                <a:prstDash val="solid"/>
                <a:miter/>
              </a:ln>
            </p:spPr>
            <p:txBody>
              <a:bodyPr rtlCol="0" anchor="ctr"/>
              <a:lstStyle/>
              <a:p>
                <a:endParaRPr lang="en-US" sz="800"/>
              </a:p>
            </p:txBody>
          </p:sp>
          <p:sp>
            <p:nvSpPr>
              <p:cNvPr id="36" name="Graphic 38">
                <a:extLst>
                  <a:ext uri="{FF2B5EF4-FFF2-40B4-BE49-F238E27FC236}">
                    <a16:creationId xmlns:a16="http://schemas.microsoft.com/office/drawing/2014/main" id="{7F63C1CE-ED5D-51EE-AE01-D8A5843328A9}"/>
                  </a:ext>
                </a:extLst>
              </p:cNvPr>
              <p:cNvSpPr/>
              <p:nvPr/>
            </p:nvSpPr>
            <p:spPr>
              <a:xfrm>
                <a:off x="12981090" y="1439229"/>
                <a:ext cx="934087" cy="135403"/>
              </a:xfrm>
              <a:custGeom>
                <a:avLst/>
                <a:gdLst>
                  <a:gd name="connsiteX0" fmla="*/ 465969 w 934087"/>
                  <a:gd name="connsiteY0" fmla="*/ 134847 h 135403"/>
                  <a:gd name="connsiteX1" fmla="*/ 40254 w 934087"/>
                  <a:gd name="connsiteY1" fmla="*/ 134847 h 135403"/>
                  <a:gd name="connsiteX2" fmla="*/ -878 w 934087"/>
                  <a:gd name="connsiteY2" fmla="*/ 93315 h 135403"/>
                  <a:gd name="connsiteX3" fmla="*/ -878 w 934087"/>
                  <a:gd name="connsiteY3" fmla="*/ 34798 h 135403"/>
                  <a:gd name="connsiteX4" fmla="*/ 34901 w 934087"/>
                  <a:gd name="connsiteY4" fmla="*/ -539 h 135403"/>
                  <a:gd name="connsiteX5" fmla="*/ 161496 w 934087"/>
                  <a:gd name="connsiteY5" fmla="*/ -539 h 135403"/>
                  <a:gd name="connsiteX6" fmla="*/ 892731 w 934087"/>
                  <a:gd name="connsiteY6" fmla="*/ -539 h 135403"/>
                  <a:gd name="connsiteX7" fmla="*/ 933106 w 934087"/>
                  <a:gd name="connsiteY7" fmla="*/ 39859 h 135403"/>
                  <a:gd name="connsiteX8" fmla="*/ 933106 w 934087"/>
                  <a:gd name="connsiteY8" fmla="*/ 95119 h 135403"/>
                  <a:gd name="connsiteX9" fmla="*/ 893313 w 934087"/>
                  <a:gd name="connsiteY9" fmla="*/ 134789 h 135403"/>
                  <a:gd name="connsiteX10" fmla="*/ 465969 w 934087"/>
                  <a:gd name="connsiteY10" fmla="*/ 134847 h 135403"/>
                  <a:gd name="connsiteX11" fmla="*/ 847963 w 934087"/>
                  <a:gd name="connsiteY11" fmla="*/ 34246 h 135403"/>
                  <a:gd name="connsiteX12" fmla="*/ 843309 w 934087"/>
                  <a:gd name="connsiteY12" fmla="*/ 44600 h 135403"/>
                  <a:gd name="connsiteX13" fmla="*/ 843309 w 934087"/>
                  <a:gd name="connsiteY13" fmla="*/ 88778 h 135403"/>
                  <a:gd name="connsiteX14" fmla="*/ 857679 w 934087"/>
                  <a:gd name="connsiteY14" fmla="*/ 97300 h 135403"/>
                  <a:gd name="connsiteX15" fmla="*/ 891276 w 934087"/>
                  <a:gd name="connsiteY15" fmla="*/ 74033 h 135403"/>
                  <a:gd name="connsiteX16" fmla="*/ 895058 w 934087"/>
                  <a:gd name="connsiteY16" fmla="*/ 64435 h 135403"/>
                  <a:gd name="connsiteX17" fmla="*/ 847963 w 934087"/>
                  <a:gd name="connsiteY17" fmla="*/ 34246 h 135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4087" h="135403">
                    <a:moveTo>
                      <a:pt x="465969" y="134847"/>
                    </a:moveTo>
                    <a:lnTo>
                      <a:pt x="40254" y="134847"/>
                    </a:lnTo>
                    <a:cubicBezTo>
                      <a:pt x="8256" y="134847"/>
                      <a:pt x="-791" y="125599"/>
                      <a:pt x="-878" y="93315"/>
                    </a:cubicBezTo>
                    <a:cubicBezTo>
                      <a:pt x="-878" y="73800"/>
                      <a:pt x="-1111" y="54285"/>
                      <a:pt x="-878" y="34798"/>
                    </a:cubicBezTo>
                    <a:cubicBezTo>
                      <a:pt x="-442" y="9205"/>
                      <a:pt x="9332" y="-451"/>
                      <a:pt x="34901" y="-539"/>
                    </a:cubicBezTo>
                    <a:cubicBezTo>
                      <a:pt x="77080" y="-539"/>
                      <a:pt x="119259" y="-539"/>
                      <a:pt x="161496" y="-539"/>
                    </a:cubicBezTo>
                    <a:lnTo>
                      <a:pt x="892731" y="-539"/>
                    </a:lnTo>
                    <a:cubicBezTo>
                      <a:pt x="924438" y="-539"/>
                      <a:pt x="933048" y="8187"/>
                      <a:pt x="933106" y="39859"/>
                    </a:cubicBezTo>
                    <a:cubicBezTo>
                      <a:pt x="933106" y="58298"/>
                      <a:pt x="933106" y="76767"/>
                      <a:pt x="933106" y="95119"/>
                    </a:cubicBezTo>
                    <a:cubicBezTo>
                      <a:pt x="932903" y="125337"/>
                      <a:pt x="923507" y="134789"/>
                      <a:pt x="893313" y="134789"/>
                    </a:cubicBezTo>
                    <a:cubicBezTo>
                      <a:pt x="750981" y="134876"/>
                      <a:pt x="608533" y="134876"/>
                      <a:pt x="465969" y="134847"/>
                    </a:cubicBezTo>
                    <a:close/>
                    <a:moveTo>
                      <a:pt x="847963" y="34246"/>
                    </a:moveTo>
                    <a:cubicBezTo>
                      <a:pt x="845374" y="34246"/>
                      <a:pt x="843309" y="38608"/>
                      <a:pt x="843309" y="44600"/>
                    </a:cubicBezTo>
                    <a:cubicBezTo>
                      <a:pt x="843309" y="59316"/>
                      <a:pt x="843309" y="74033"/>
                      <a:pt x="843309" y="88778"/>
                    </a:cubicBezTo>
                    <a:cubicBezTo>
                      <a:pt x="843309" y="99423"/>
                      <a:pt x="849301" y="102302"/>
                      <a:pt x="857679" y="97300"/>
                    </a:cubicBezTo>
                    <a:cubicBezTo>
                      <a:pt x="869315" y="90320"/>
                      <a:pt x="880194" y="82031"/>
                      <a:pt x="891276" y="74033"/>
                    </a:cubicBezTo>
                    <a:cubicBezTo>
                      <a:pt x="894563" y="72061"/>
                      <a:pt x="896105" y="68120"/>
                      <a:pt x="895058" y="64435"/>
                    </a:cubicBezTo>
                    <a:cubicBezTo>
                      <a:pt x="893749" y="59491"/>
                      <a:pt x="857853" y="34013"/>
                      <a:pt x="847963" y="34246"/>
                    </a:cubicBezTo>
                    <a:close/>
                  </a:path>
                </a:pathLst>
              </a:custGeom>
              <a:solidFill>
                <a:schemeClr val="accent5"/>
              </a:solidFill>
              <a:ln w="2907" cap="flat">
                <a:noFill/>
                <a:prstDash val="solid"/>
                <a:miter/>
              </a:ln>
            </p:spPr>
            <p:txBody>
              <a:bodyPr rtlCol="0" anchor="ctr"/>
              <a:lstStyle/>
              <a:p>
                <a:endParaRPr lang="en-US" sz="800"/>
              </a:p>
            </p:txBody>
          </p:sp>
          <p:sp>
            <p:nvSpPr>
              <p:cNvPr id="37" name="Graphic 38">
                <a:extLst>
                  <a:ext uri="{FF2B5EF4-FFF2-40B4-BE49-F238E27FC236}">
                    <a16:creationId xmlns:a16="http://schemas.microsoft.com/office/drawing/2014/main" id="{2B7303A2-CB67-0250-34EE-E6FBB7584D80}"/>
                  </a:ext>
                </a:extLst>
              </p:cNvPr>
              <p:cNvSpPr/>
              <p:nvPr/>
            </p:nvSpPr>
            <p:spPr>
              <a:xfrm>
                <a:off x="12980657" y="2246513"/>
                <a:ext cx="934835" cy="135147"/>
              </a:xfrm>
              <a:custGeom>
                <a:avLst/>
                <a:gdLst>
                  <a:gd name="connsiteX0" fmla="*/ 466489 w 934835"/>
                  <a:gd name="connsiteY0" fmla="*/ 134557 h 135147"/>
                  <a:gd name="connsiteX1" fmla="*/ 40832 w 934835"/>
                  <a:gd name="connsiteY1" fmla="*/ 134557 h 135147"/>
                  <a:gd name="connsiteX2" fmla="*/ -852 w 934835"/>
                  <a:gd name="connsiteY2" fmla="*/ 93403 h 135147"/>
                  <a:gd name="connsiteX3" fmla="*/ -852 w 934835"/>
                  <a:gd name="connsiteY3" fmla="*/ 33315 h 135147"/>
                  <a:gd name="connsiteX4" fmla="*/ 33735 w 934835"/>
                  <a:gd name="connsiteY4" fmla="*/ -539 h 135147"/>
                  <a:gd name="connsiteX5" fmla="*/ 899273 w 934835"/>
                  <a:gd name="connsiteY5" fmla="*/ -539 h 135147"/>
                  <a:gd name="connsiteX6" fmla="*/ 933656 w 934835"/>
                  <a:gd name="connsiteY6" fmla="*/ 33373 h 135147"/>
                  <a:gd name="connsiteX7" fmla="*/ 933656 w 934835"/>
                  <a:gd name="connsiteY7" fmla="*/ 98230 h 135147"/>
                  <a:gd name="connsiteX8" fmla="*/ 896713 w 934835"/>
                  <a:gd name="connsiteY8" fmla="*/ 134527 h 135147"/>
                  <a:gd name="connsiteX9" fmla="*/ 466489 w 934835"/>
                  <a:gd name="connsiteY9" fmla="*/ 134557 h 135147"/>
                  <a:gd name="connsiteX10" fmla="*/ 843829 w 934835"/>
                  <a:gd name="connsiteY10" fmla="*/ 63737 h 135147"/>
                  <a:gd name="connsiteX11" fmla="*/ 843829 w 934835"/>
                  <a:gd name="connsiteY11" fmla="*/ 68303 h 135147"/>
                  <a:gd name="connsiteX12" fmla="*/ 849647 w 934835"/>
                  <a:gd name="connsiteY12" fmla="*/ 98522 h 135147"/>
                  <a:gd name="connsiteX13" fmla="*/ 876409 w 934835"/>
                  <a:gd name="connsiteY13" fmla="*/ 85288 h 135147"/>
                  <a:gd name="connsiteX14" fmla="*/ 876758 w 934835"/>
                  <a:gd name="connsiteY14" fmla="*/ 48962 h 135147"/>
                  <a:gd name="connsiteX15" fmla="*/ 848629 w 934835"/>
                  <a:gd name="connsiteY15" fmla="*/ 35758 h 135147"/>
                  <a:gd name="connsiteX16" fmla="*/ 843829 w 934835"/>
                  <a:gd name="connsiteY16" fmla="*/ 63737 h 135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4835" h="135147">
                    <a:moveTo>
                      <a:pt x="466489" y="134557"/>
                    </a:moveTo>
                    <a:lnTo>
                      <a:pt x="40832" y="134557"/>
                    </a:lnTo>
                    <a:cubicBezTo>
                      <a:pt x="8834" y="134557"/>
                      <a:pt x="-794" y="125162"/>
                      <a:pt x="-852" y="93403"/>
                    </a:cubicBezTo>
                    <a:cubicBezTo>
                      <a:pt x="-852" y="73364"/>
                      <a:pt x="-1143" y="53325"/>
                      <a:pt x="-852" y="33315"/>
                    </a:cubicBezTo>
                    <a:cubicBezTo>
                      <a:pt x="-387" y="10659"/>
                      <a:pt x="10783" y="-539"/>
                      <a:pt x="33735" y="-539"/>
                    </a:cubicBezTo>
                    <a:cubicBezTo>
                      <a:pt x="322267" y="-539"/>
                      <a:pt x="610799" y="-539"/>
                      <a:pt x="899273" y="-539"/>
                    </a:cubicBezTo>
                    <a:cubicBezTo>
                      <a:pt x="922137" y="-539"/>
                      <a:pt x="933307" y="10629"/>
                      <a:pt x="933656" y="33373"/>
                    </a:cubicBezTo>
                    <a:cubicBezTo>
                      <a:pt x="933976" y="54983"/>
                      <a:pt x="933859" y="76592"/>
                      <a:pt x="933656" y="98230"/>
                    </a:cubicBezTo>
                    <a:cubicBezTo>
                      <a:pt x="933452" y="123766"/>
                      <a:pt x="922631" y="134527"/>
                      <a:pt x="896713" y="134527"/>
                    </a:cubicBezTo>
                    <a:cubicBezTo>
                      <a:pt x="753334" y="134614"/>
                      <a:pt x="609926" y="134644"/>
                      <a:pt x="466489" y="134557"/>
                    </a:cubicBezTo>
                    <a:close/>
                    <a:moveTo>
                      <a:pt x="843829" y="63737"/>
                    </a:moveTo>
                    <a:cubicBezTo>
                      <a:pt x="843713" y="65249"/>
                      <a:pt x="843713" y="66791"/>
                      <a:pt x="843829" y="68303"/>
                    </a:cubicBezTo>
                    <a:cubicBezTo>
                      <a:pt x="845895" y="78570"/>
                      <a:pt x="837633" y="92937"/>
                      <a:pt x="849647" y="98522"/>
                    </a:cubicBezTo>
                    <a:cubicBezTo>
                      <a:pt x="860003" y="103378"/>
                      <a:pt x="868060" y="90959"/>
                      <a:pt x="876409" y="85288"/>
                    </a:cubicBezTo>
                    <a:cubicBezTo>
                      <a:pt x="902938" y="67256"/>
                      <a:pt x="903025" y="66558"/>
                      <a:pt x="876758" y="48962"/>
                    </a:cubicBezTo>
                    <a:cubicBezTo>
                      <a:pt x="868032" y="43146"/>
                      <a:pt x="859741" y="29941"/>
                      <a:pt x="848629" y="35758"/>
                    </a:cubicBezTo>
                    <a:cubicBezTo>
                      <a:pt x="838302" y="41197"/>
                      <a:pt x="845749" y="55157"/>
                      <a:pt x="843829" y="63737"/>
                    </a:cubicBezTo>
                    <a:close/>
                  </a:path>
                </a:pathLst>
              </a:custGeom>
              <a:solidFill>
                <a:schemeClr val="tx2"/>
              </a:solidFill>
              <a:ln w="2907" cap="flat">
                <a:noFill/>
                <a:prstDash val="solid"/>
                <a:miter/>
              </a:ln>
            </p:spPr>
            <p:txBody>
              <a:bodyPr rtlCol="0" anchor="ctr"/>
              <a:lstStyle/>
              <a:p>
                <a:endParaRPr lang="en-US" sz="800"/>
              </a:p>
            </p:txBody>
          </p:sp>
          <p:sp>
            <p:nvSpPr>
              <p:cNvPr id="38" name="Graphic 38">
                <a:extLst>
                  <a:ext uri="{FF2B5EF4-FFF2-40B4-BE49-F238E27FC236}">
                    <a16:creationId xmlns:a16="http://schemas.microsoft.com/office/drawing/2014/main" id="{7BE9673B-305C-BC0E-08D2-AEA9F2DFC5ED}"/>
                  </a:ext>
                </a:extLst>
              </p:cNvPr>
              <p:cNvSpPr/>
              <p:nvPr/>
            </p:nvSpPr>
            <p:spPr>
              <a:xfrm>
                <a:off x="12980738" y="1977270"/>
                <a:ext cx="934701" cy="135427"/>
              </a:xfrm>
              <a:custGeom>
                <a:avLst/>
                <a:gdLst>
                  <a:gd name="connsiteX0" fmla="*/ 466641 w 934701"/>
                  <a:gd name="connsiteY0" fmla="*/ 134802 h 135427"/>
                  <a:gd name="connsiteX1" fmla="*/ 47325 w 934701"/>
                  <a:gd name="connsiteY1" fmla="*/ 134802 h 135427"/>
                  <a:gd name="connsiteX2" fmla="*/ -904 w 934701"/>
                  <a:gd name="connsiteY2" fmla="*/ 85766 h 135427"/>
                  <a:gd name="connsiteX3" fmla="*/ -904 w 934701"/>
                  <a:gd name="connsiteY3" fmla="*/ 33561 h 135427"/>
                  <a:gd name="connsiteX4" fmla="*/ 33450 w 934701"/>
                  <a:gd name="connsiteY4" fmla="*/ -409 h 135427"/>
                  <a:gd name="connsiteX5" fmla="*/ 82523 w 934701"/>
                  <a:gd name="connsiteY5" fmla="*/ -409 h 135427"/>
                  <a:gd name="connsiteX6" fmla="*/ 892792 w 934701"/>
                  <a:gd name="connsiteY6" fmla="*/ -409 h 135427"/>
                  <a:gd name="connsiteX7" fmla="*/ 933720 w 934701"/>
                  <a:gd name="connsiteY7" fmla="*/ 39785 h 135427"/>
                  <a:gd name="connsiteX8" fmla="*/ 933720 w 934701"/>
                  <a:gd name="connsiteY8" fmla="*/ 96702 h 135427"/>
                  <a:gd name="connsiteX9" fmla="*/ 895469 w 934701"/>
                  <a:gd name="connsiteY9" fmla="*/ 134889 h 135427"/>
                  <a:gd name="connsiteX10" fmla="*/ 843719 w 934701"/>
                  <a:gd name="connsiteY10" fmla="*/ 65000 h 135427"/>
                  <a:gd name="connsiteX11" fmla="*/ 843719 w 934701"/>
                  <a:gd name="connsiteY11" fmla="*/ 68142 h 135427"/>
                  <a:gd name="connsiteX12" fmla="*/ 849305 w 934701"/>
                  <a:gd name="connsiteY12" fmla="*/ 98563 h 135427"/>
                  <a:gd name="connsiteX13" fmla="*/ 876037 w 934701"/>
                  <a:gd name="connsiteY13" fmla="*/ 85476 h 135427"/>
                  <a:gd name="connsiteX14" fmla="*/ 876939 w 934701"/>
                  <a:gd name="connsiteY14" fmla="*/ 49150 h 135427"/>
                  <a:gd name="connsiteX15" fmla="*/ 848810 w 934701"/>
                  <a:gd name="connsiteY15" fmla="*/ 35742 h 135427"/>
                  <a:gd name="connsiteX16" fmla="*/ 843719 w 934701"/>
                  <a:gd name="connsiteY16" fmla="*/ 65030 h 13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4701" h="135427">
                    <a:moveTo>
                      <a:pt x="466641" y="134802"/>
                    </a:moveTo>
                    <a:lnTo>
                      <a:pt x="47325" y="134802"/>
                    </a:lnTo>
                    <a:cubicBezTo>
                      <a:pt x="5816" y="134802"/>
                      <a:pt x="-933" y="127909"/>
                      <a:pt x="-904" y="85766"/>
                    </a:cubicBezTo>
                    <a:cubicBezTo>
                      <a:pt x="-904" y="68316"/>
                      <a:pt x="-1078" y="50866"/>
                      <a:pt x="-904" y="33561"/>
                    </a:cubicBezTo>
                    <a:cubicBezTo>
                      <a:pt x="-497" y="10759"/>
                      <a:pt x="10412" y="-31"/>
                      <a:pt x="33450" y="-409"/>
                    </a:cubicBezTo>
                    <a:cubicBezTo>
                      <a:pt x="49798" y="-700"/>
                      <a:pt x="66146" y="-409"/>
                      <a:pt x="82523" y="-409"/>
                    </a:cubicBezTo>
                    <a:lnTo>
                      <a:pt x="892792" y="-409"/>
                    </a:lnTo>
                    <a:cubicBezTo>
                      <a:pt x="924034" y="-409"/>
                      <a:pt x="933691" y="9043"/>
                      <a:pt x="933720" y="39785"/>
                    </a:cubicBezTo>
                    <a:cubicBezTo>
                      <a:pt x="933720" y="58748"/>
                      <a:pt x="933720" y="77710"/>
                      <a:pt x="933720" y="96702"/>
                    </a:cubicBezTo>
                    <a:cubicBezTo>
                      <a:pt x="933720" y="124390"/>
                      <a:pt x="923277" y="134860"/>
                      <a:pt x="895469" y="134889"/>
                    </a:cubicBezTo>
                    <a:close/>
                    <a:moveTo>
                      <a:pt x="843719" y="65000"/>
                    </a:moveTo>
                    <a:cubicBezTo>
                      <a:pt x="843719" y="67095"/>
                      <a:pt x="843719" y="67647"/>
                      <a:pt x="843719" y="68142"/>
                    </a:cubicBezTo>
                    <a:cubicBezTo>
                      <a:pt x="845814" y="78495"/>
                      <a:pt x="837669" y="92834"/>
                      <a:pt x="849305" y="98563"/>
                    </a:cubicBezTo>
                    <a:cubicBezTo>
                      <a:pt x="859689" y="103711"/>
                      <a:pt x="867689" y="91031"/>
                      <a:pt x="876037" y="85476"/>
                    </a:cubicBezTo>
                    <a:cubicBezTo>
                      <a:pt x="902683" y="67676"/>
                      <a:pt x="902683" y="67007"/>
                      <a:pt x="876939" y="49150"/>
                    </a:cubicBezTo>
                    <a:cubicBezTo>
                      <a:pt x="868212" y="43130"/>
                      <a:pt x="859486" y="30100"/>
                      <a:pt x="848810" y="35742"/>
                    </a:cubicBezTo>
                    <a:cubicBezTo>
                      <a:pt x="838135" y="41384"/>
                      <a:pt x="845959" y="56159"/>
                      <a:pt x="843719" y="65030"/>
                    </a:cubicBezTo>
                    <a:close/>
                  </a:path>
                </a:pathLst>
              </a:custGeom>
              <a:solidFill>
                <a:schemeClr val="bg2"/>
              </a:solidFill>
              <a:ln w="2907" cap="flat">
                <a:noFill/>
                <a:prstDash val="solid"/>
                <a:miter/>
              </a:ln>
            </p:spPr>
            <p:txBody>
              <a:bodyPr rtlCol="0" anchor="ctr"/>
              <a:lstStyle/>
              <a:p>
                <a:endParaRPr lang="en-US" sz="800"/>
              </a:p>
            </p:txBody>
          </p:sp>
          <p:sp>
            <p:nvSpPr>
              <p:cNvPr id="39" name="Graphic 38">
                <a:extLst>
                  <a:ext uri="{FF2B5EF4-FFF2-40B4-BE49-F238E27FC236}">
                    <a16:creationId xmlns:a16="http://schemas.microsoft.com/office/drawing/2014/main" id="{644C520C-51AD-B0D4-1F6D-F07B8AB8B0F1}"/>
                  </a:ext>
                </a:extLst>
              </p:cNvPr>
              <p:cNvSpPr/>
              <p:nvPr/>
            </p:nvSpPr>
            <p:spPr>
              <a:xfrm>
                <a:off x="12980932" y="2515452"/>
                <a:ext cx="934464" cy="135280"/>
              </a:xfrm>
              <a:custGeom>
                <a:avLst/>
                <a:gdLst>
                  <a:gd name="connsiteX0" fmla="*/ 467756 w 934464"/>
                  <a:gd name="connsiteY0" fmla="*/ 134702 h 135280"/>
                  <a:gd name="connsiteX1" fmla="*/ 40557 w 934464"/>
                  <a:gd name="connsiteY1" fmla="*/ 134702 h 135280"/>
                  <a:gd name="connsiteX2" fmla="*/ -981 w 934464"/>
                  <a:gd name="connsiteY2" fmla="*/ 93461 h 135280"/>
                  <a:gd name="connsiteX3" fmla="*/ -981 w 934464"/>
                  <a:gd name="connsiteY3" fmla="*/ 44425 h 135280"/>
                  <a:gd name="connsiteX4" fmla="*/ 43204 w 934464"/>
                  <a:gd name="connsiteY4" fmla="*/ -539 h 135280"/>
                  <a:gd name="connsiteX5" fmla="*/ 771007 w 934464"/>
                  <a:gd name="connsiteY5" fmla="*/ -539 h 135280"/>
                  <a:gd name="connsiteX6" fmla="*/ 894431 w 934464"/>
                  <a:gd name="connsiteY6" fmla="*/ -539 h 135280"/>
                  <a:gd name="connsiteX7" fmla="*/ 933352 w 934464"/>
                  <a:gd name="connsiteY7" fmla="*/ 38376 h 135280"/>
                  <a:gd name="connsiteX8" fmla="*/ 933352 w 934464"/>
                  <a:gd name="connsiteY8" fmla="*/ 98463 h 135280"/>
                  <a:gd name="connsiteX9" fmla="*/ 896554 w 934464"/>
                  <a:gd name="connsiteY9" fmla="*/ 134557 h 135280"/>
                  <a:gd name="connsiteX10" fmla="*/ 467756 w 934464"/>
                  <a:gd name="connsiteY10" fmla="*/ 134702 h 135280"/>
                  <a:gd name="connsiteX11" fmla="*/ 843525 w 934464"/>
                  <a:gd name="connsiteY11" fmla="*/ 66122 h 135280"/>
                  <a:gd name="connsiteX12" fmla="*/ 843525 w 934464"/>
                  <a:gd name="connsiteY12" fmla="*/ 86626 h 135280"/>
                  <a:gd name="connsiteX13" fmla="*/ 861561 w 934464"/>
                  <a:gd name="connsiteY13" fmla="*/ 95962 h 135280"/>
                  <a:gd name="connsiteX14" fmla="*/ 889835 w 934464"/>
                  <a:gd name="connsiteY14" fmla="*/ 75952 h 135280"/>
                  <a:gd name="connsiteX15" fmla="*/ 889631 w 934464"/>
                  <a:gd name="connsiteY15" fmla="*/ 58502 h 135280"/>
                  <a:gd name="connsiteX16" fmla="*/ 858623 w 934464"/>
                  <a:gd name="connsiteY16" fmla="*/ 36892 h 135280"/>
                  <a:gd name="connsiteX17" fmla="*/ 843525 w 934464"/>
                  <a:gd name="connsiteY17" fmla="*/ 45792 h 135280"/>
                  <a:gd name="connsiteX18" fmla="*/ 843525 w 934464"/>
                  <a:gd name="connsiteY18" fmla="*/ 66122 h 13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4464" h="135280">
                    <a:moveTo>
                      <a:pt x="467756" y="134702"/>
                    </a:moveTo>
                    <a:lnTo>
                      <a:pt x="40557" y="134702"/>
                    </a:lnTo>
                    <a:cubicBezTo>
                      <a:pt x="8560" y="134702"/>
                      <a:pt x="-894" y="125366"/>
                      <a:pt x="-981" y="93461"/>
                    </a:cubicBezTo>
                    <a:cubicBezTo>
                      <a:pt x="-981" y="77116"/>
                      <a:pt x="-981" y="60771"/>
                      <a:pt x="-981" y="44425"/>
                    </a:cubicBezTo>
                    <a:cubicBezTo>
                      <a:pt x="-981" y="7518"/>
                      <a:pt x="6843" y="-539"/>
                      <a:pt x="43204" y="-539"/>
                    </a:cubicBezTo>
                    <a:lnTo>
                      <a:pt x="771007" y="-539"/>
                    </a:lnTo>
                    <a:cubicBezTo>
                      <a:pt x="812139" y="-539"/>
                      <a:pt x="853270" y="-539"/>
                      <a:pt x="894431" y="-539"/>
                    </a:cubicBezTo>
                    <a:cubicBezTo>
                      <a:pt x="924102" y="-539"/>
                      <a:pt x="933090" y="8710"/>
                      <a:pt x="933352" y="38376"/>
                    </a:cubicBezTo>
                    <a:cubicBezTo>
                      <a:pt x="933527" y="58385"/>
                      <a:pt x="933527" y="78424"/>
                      <a:pt x="933352" y="98463"/>
                    </a:cubicBezTo>
                    <a:cubicBezTo>
                      <a:pt x="933119" y="124086"/>
                      <a:pt x="922531" y="134557"/>
                      <a:pt x="896554" y="134557"/>
                    </a:cubicBezTo>
                    <a:cubicBezTo>
                      <a:pt x="753612" y="134731"/>
                      <a:pt x="610670" y="134789"/>
                      <a:pt x="467756" y="134702"/>
                    </a:cubicBezTo>
                    <a:close/>
                    <a:moveTo>
                      <a:pt x="843525" y="66122"/>
                    </a:moveTo>
                    <a:cubicBezTo>
                      <a:pt x="843525" y="72957"/>
                      <a:pt x="843293" y="79820"/>
                      <a:pt x="843525" y="86626"/>
                    </a:cubicBezTo>
                    <a:cubicBezTo>
                      <a:pt x="844107" y="100441"/>
                      <a:pt x="849751" y="103524"/>
                      <a:pt x="861561" y="95962"/>
                    </a:cubicBezTo>
                    <a:cubicBezTo>
                      <a:pt x="871276" y="89738"/>
                      <a:pt x="880497" y="82758"/>
                      <a:pt x="889835" y="75952"/>
                    </a:cubicBezTo>
                    <a:cubicBezTo>
                      <a:pt x="897864" y="70136"/>
                      <a:pt x="897515" y="63999"/>
                      <a:pt x="889631" y="58502"/>
                    </a:cubicBezTo>
                    <a:cubicBezTo>
                      <a:pt x="879421" y="51144"/>
                      <a:pt x="869269" y="43611"/>
                      <a:pt x="858623" y="36892"/>
                    </a:cubicBezTo>
                    <a:cubicBezTo>
                      <a:pt x="848703" y="30611"/>
                      <a:pt x="843904" y="35147"/>
                      <a:pt x="843525" y="45792"/>
                    </a:cubicBezTo>
                    <a:cubicBezTo>
                      <a:pt x="843322" y="52453"/>
                      <a:pt x="843525" y="59316"/>
                      <a:pt x="843525" y="66122"/>
                    </a:cubicBezTo>
                    <a:close/>
                  </a:path>
                </a:pathLst>
              </a:custGeom>
              <a:solidFill>
                <a:schemeClr val="bg1">
                  <a:lumMod val="50000"/>
                </a:schemeClr>
              </a:solidFill>
              <a:ln w="2907" cap="flat">
                <a:noFill/>
                <a:prstDash val="solid"/>
                <a:miter/>
              </a:ln>
            </p:spPr>
            <p:txBody>
              <a:bodyPr rtlCol="0" anchor="ctr"/>
              <a:lstStyle/>
              <a:p>
                <a:endParaRPr lang="en-US" sz="800"/>
              </a:p>
            </p:txBody>
          </p:sp>
          <p:sp>
            <p:nvSpPr>
              <p:cNvPr id="40" name="Graphic 38">
                <a:extLst>
                  <a:ext uri="{FF2B5EF4-FFF2-40B4-BE49-F238E27FC236}">
                    <a16:creationId xmlns:a16="http://schemas.microsoft.com/office/drawing/2014/main" id="{77ADF26C-0C8A-CD32-68AD-0BA6DF80DD73}"/>
                  </a:ext>
                </a:extLst>
              </p:cNvPr>
              <p:cNvSpPr/>
              <p:nvPr/>
            </p:nvSpPr>
            <p:spPr>
              <a:xfrm>
                <a:off x="12981950" y="1170203"/>
                <a:ext cx="932413" cy="133989"/>
              </a:xfrm>
              <a:custGeom>
                <a:avLst/>
                <a:gdLst>
                  <a:gd name="connsiteX0" fmla="*/ 465255 w 932413"/>
                  <a:gd name="connsiteY0" fmla="*/ 133451 h 133989"/>
                  <a:gd name="connsiteX1" fmla="*/ 39743 w 932413"/>
                  <a:gd name="connsiteY1" fmla="*/ 133451 h 133989"/>
                  <a:gd name="connsiteX2" fmla="*/ -981 w 932413"/>
                  <a:gd name="connsiteY2" fmla="*/ 93141 h 133989"/>
                  <a:gd name="connsiteX3" fmla="*/ -981 w 932413"/>
                  <a:gd name="connsiteY3" fmla="*/ 33053 h 133989"/>
                  <a:gd name="connsiteX4" fmla="*/ 32616 w 932413"/>
                  <a:gd name="connsiteY4" fmla="*/ -539 h 133989"/>
                  <a:gd name="connsiteX5" fmla="*/ 184460 w 932413"/>
                  <a:gd name="connsiteY5" fmla="*/ -539 h 133989"/>
                  <a:gd name="connsiteX6" fmla="*/ 891580 w 932413"/>
                  <a:gd name="connsiteY6" fmla="*/ -539 h 133989"/>
                  <a:gd name="connsiteX7" fmla="*/ 931432 w 932413"/>
                  <a:gd name="connsiteY7" fmla="*/ 39365 h 133989"/>
                  <a:gd name="connsiteX8" fmla="*/ 931432 w 932413"/>
                  <a:gd name="connsiteY8" fmla="*/ 99423 h 133989"/>
                  <a:gd name="connsiteX9" fmla="*/ 897165 w 932413"/>
                  <a:gd name="connsiteY9" fmla="*/ 133393 h 133989"/>
                  <a:gd name="connsiteX10" fmla="*/ 465313 w 932413"/>
                  <a:gd name="connsiteY10" fmla="*/ 133393 h 133989"/>
                  <a:gd name="connsiteX11" fmla="*/ 842420 w 932413"/>
                  <a:gd name="connsiteY11" fmla="*/ 64028 h 133989"/>
                  <a:gd name="connsiteX12" fmla="*/ 842420 w 932413"/>
                  <a:gd name="connsiteY12" fmla="*/ 68768 h 133989"/>
                  <a:gd name="connsiteX13" fmla="*/ 847016 w 932413"/>
                  <a:gd name="connsiteY13" fmla="*/ 98085 h 133989"/>
                  <a:gd name="connsiteX14" fmla="*/ 874796 w 932413"/>
                  <a:gd name="connsiteY14" fmla="*/ 85143 h 133989"/>
                  <a:gd name="connsiteX15" fmla="*/ 874796 w 932413"/>
                  <a:gd name="connsiteY15" fmla="*/ 48381 h 133989"/>
                  <a:gd name="connsiteX16" fmla="*/ 847453 w 932413"/>
                  <a:gd name="connsiteY16" fmla="*/ 34915 h 133989"/>
                  <a:gd name="connsiteX17" fmla="*/ 842420 w 932413"/>
                  <a:gd name="connsiteY17" fmla="*/ 64028 h 133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2413" h="133989">
                    <a:moveTo>
                      <a:pt x="465255" y="133451"/>
                    </a:moveTo>
                    <a:lnTo>
                      <a:pt x="39743" y="133451"/>
                    </a:lnTo>
                    <a:cubicBezTo>
                      <a:pt x="5476" y="133451"/>
                      <a:pt x="-981" y="127082"/>
                      <a:pt x="-981" y="93141"/>
                    </a:cubicBezTo>
                    <a:cubicBezTo>
                      <a:pt x="-981" y="73102"/>
                      <a:pt x="-981" y="53092"/>
                      <a:pt x="-981" y="33053"/>
                    </a:cubicBezTo>
                    <a:cubicBezTo>
                      <a:pt x="-720" y="9524"/>
                      <a:pt x="9171" y="-480"/>
                      <a:pt x="32616" y="-539"/>
                    </a:cubicBezTo>
                    <a:cubicBezTo>
                      <a:pt x="83231" y="-539"/>
                      <a:pt x="133845" y="-539"/>
                      <a:pt x="184460" y="-539"/>
                    </a:cubicBezTo>
                    <a:lnTo>
                      <a:pt x="891580" y="-539"/>
                    </a:lnTo>
                    <a:cubicBezTo>
                      <a:pt x="924363" y="-539"/>
                      <a:pt x="931257" y="6354"/>
                      <a:pt x="931432" y="39365"/>
                    </a:cubicBezTo>
                    <a:cubicBezTo>
                      <a:pt x="931432" y="59374"/>
                      <a:pt x="931432" y="79393"/>
                      <a:pt x="931432" y="99423"/>
                    </a:cubicBezTo>
                    <a:cubicBezTo>
                      <a:pt x="931257" y="124755"/>
                      <a:pt x="922706" y="133393"/>
                      <a:pt x="897165" y="133393"/>
                    </a:cubicBezTo>
                    <a:cubicBezTo>
                      <a:pt x="753205" y="133393"/>
                      <a:pt x="609244" y="133393"/>
                      <a:pt x="465313" y="133393"/>
                    </a:cubicBezTo>
                    <a:close/>
                    <a:moveTo>
                      <a:pt x="842420" y="64028"/>
                    </a:moveTo>
                    <a:cubicBezTo>
                      <a:pt x="842304" y="65607"/>
                      <a:pt x="842304" y="67189"/>
                      <a:pt x="842420" y="68768"/>
                    </a:cubicBezTo>
                    <a:cubicBezTo>
                      <a:pt x="844195" y="78715"/>
                      <a:pt x="836777" y="92356"/>
                      <a:pt x="847016" y="98085"/>
                    </a:cubicBezTo>
                    <a:cubicBezTo>
                      <a:pt x="858652" y="104542"/>
                      <a:pt x="866215" y="90843"/>
                      <a:pt x="874796" y="85143"/>
                    </a:cubicBezTo>
                    <a:cubicBezTo>
                      <a:pt x="902052" y="67053"/>
                      <a:pt x="902081" y="66209"/>
                      <a:pt x="874796" y="48381"/>
                    </a:cubicBezTo>
                    <a:cubicBezTo>
                      <a:pt x="866244" y="42797"/>
                      <a:pt x="859030" y="28604"/>
                      <a:pt x="847453" y="34915"/>
                    </a:cubicBezTo>
                    <a:cubicBezTo>
                      <a:pt x="835875" y="41226"/>
                      <a:pt x="845038" y="55303"/>
                      <a:pt x="842420" y="64028"/>
                    </a:cubicBezTo>
                    <a:close/>
                  </a:path>
                </a:pathLst>
              </a:custGeom>
              <a:solidFill>
                <a:schemeClr val="accent1"/>
              </a:solidFill>
              <a:ln w="2907" cap="flat">
                <a:noFill/>
                <a:prstDash val="solid"/>
                <a:miter/>
              </a:ln>
            </p:spPr>
            <p:txBody>
              <a:bodyPr rtlCol="0" anchor="ctr"/>
              <a:lstStyle/>
              <a:p>
                <a:endParaRPr lang="en-US" sz="800"/>
              </a:p>
            </p:txBody>
          </p:sp>
          <p:sp>
            <p:nvSpPr>
              <p:cNvPr id="41" name="Graphic 38">
                <a:extLst>
                  <a:ext uri="{FF2B5EF4-FFF2-40B4-BE49-F238E27FC236}">
                    <a16:creationId xmlns:a16="http://schemas.microsoft.com/office/drawing/2014/main" id="{7A065BA2-6BA9-1661-7094-DA26983170E4}"/>
                  </a:ext>
                </a:extLst>
              </p:cNvPr>
              <p:cNvSpPr/>
              <p:nvPr/>
            </p:nvSpPr>
            <p:spPr>
              <a:xfrm>
                <a:off x="14351794" y="2359115"/>
                <a:ext cx="433168" cy="551297"/>
              </a:xfrm>
              <a:custGeom>
                <a:avLst/>
                <a:gdLst>
                  <a:gd name="connsiteX0" fmla="*/ 402837 w 433168"/>
                  <a:gd name="connsiteY0" fmla="*/ 550759 h 551297"/>
                  <a:gd name="connsiteX1" fmla="*/ 25904 w 433168"/>
                  <a:gd name="connsiteY1" fmla="*/ 550556 h 551297"/>
                  <a:gd name="connsiteX2" fmla="*/ 10341 w 433168"/>
                  <a:gd name="connsiteY2" fmla="*/ 544361 h 551297"/>
                  <a:gd name="connsiteX3" fmla="*/ -800 w 433168"/>
                  <a:gd name="connsiteY3" fmla="*/ 506174 h 551297"/>
                  <a:gd name="connsiteX4" fmla="*/ -974 w 433168"/>
                  <a:gd name="connsiteY4" fmla="*/ 253637 h 551297"/>
                  <a:gd name="connsiteX5" fmla="*/ -247 w 433168"/>
                  <a:gd name="connsiteY5" fmla="*/ 32599 h 551297"/>
                  <a:gd name="connsiteX6" fmla="*/ 3709 w 433168"/>
                  <a:gd name="connsiteY6" fmla="*/ 12619 h 551297"/>
                  <a:gd name="connsiteX7" fmla="*/ 7752 w 433168"/>
                  <a:gd name="connsiteY7" fmla="*/ 7209 h 551297"/>
                  <a:gd name="connsiteX8" fmla="*/ 7752 w 433168"/>
                  <a:gd name="connsiteY8" fmla="*/ 7209 h 551297"/>
                  <a:gd name="connsiteX9" fmla="*/ 45568 w 433168"/>
                  <a:gd name="connsiteY9" fmla="*/ -527 h 551297"/>
                  <a:gd name="connsiteX10" fmla="*/ 388321 w 433168"/>
                  <a:gd name="connsiteY10" fmla="*/ -527 h 551297"/>
                  <a:gd name="connsiteX11" fmla="*/ 424537 w 433168"/>
                  <a:gd name="connsiteY11" fmla="*/ 6657 h 551297"/>
                  <a:gd name="connsiteX12" fmla="*/ 424537 w 433168"/>
                  <a:gd name="connsiteY12" fmla="*/ 6657 h 551297"/>
                  <a:gd name="connsiteX13" fmla="*/ 432187 w 433168"/>
                  <a:gd name="connsiteY13" fmla="*/ 35188 h 551297"/>
                  <a:gd name="connsiteX14" fmla="*/ 432187 w 433168"/>
                  <a:gd name="connsiteY14" fmla="*/ 509256 h 551297"/>
                  <a:gd name="connsiteX15" fmla="*/ 402837 w 433168"/>
                  <a:gd name="connsiteY15" fmla="*/ 550759 h 55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3168" h="551297">
                    <a:moveTo>
                      <a:pt x="402837" y="550759"/>
                    </a:moveTo>
                    <a:lnTo>
                      <a:pt x="25904" y="550556"/>
                    </a:lnTo>
                    <a:lnTo>
                      <a:pt x="10341" y="544361"/>
                    </a:lnTo>
                    <a:cubicBezTo>
                      <a:pt x="-800" y="533804"/>
                      <a:pt x="-887" y="519785"/>
                      <a:pt x="-800" y="506174"/>
                    </a:cubicBezTo>
                    <a:cubicBezTo>
                      <a:pt x="-305" y="421830"/>
                      <a:pt x="-1062" y="337807"/>
                      <a:pt x="-974" y="253637"/>
                    </a:cubicBezTo>
                    <a:cubicBezTo>
                      <a:pt x="-974" y="179997"/>
                      <a:pt x="-974" y="106298"/>
                      <a:pt x="-247" y="32599"/>
                    </a:cubicBezTo>
                    <a:cubicBezTo>
                      <a:pt x="-44" y="25765"/>
                      <a:pt x="1294" y="19017"/>
                      <a:pt x="3709" y="12619"/>
                    </a:cubicBezTo>
                    <a:cubicBezTo>
                      <a:pt x="6007" y="11775"/>
                      <a:pt x="7607" y="9652"/>
                      <a:pt x="7752" y="7209"/>
                    </a:cubicBezTo>
                    <a:lnTo>
                      <a:pt x="7752" y="7209"/>
                    </a:lnTo>
                    <a:cubicBezTo>
                      <a:pt x="19388" y="-178"/>
                      <a:pt x="32245" y="-557"/>
                      <a:pt x="45568" y="-527"/>
                    </a:cubicBezTo>
                    <a:cubicBezTo>
                      <a:pt x="159829" y="-324"/>
                      <a:pt x="274090" y="-324"/>
                      <a:pt x="388321" y="-527"/>
                    </a:cubicBezTo>
                    <a:cubicBezTo>
                      <a:pt x="400946" y="-527"/>
                      <a:pt x="413542" y="-1138"/>
                      <a:pt x="424537" y="6657"/>
                    </a:cubicBezTo>
                    <a:lnTo>
                      <a:pt x="424537" y="6657"/>
                    </a:lnTo>
                    <a:cubicBezTo>
                      <a:pt x="429366" y="15411"/>
                      <a:pt x="431984" y="25212"/>
                      <a:pt x="432187" y="35188"/>
                    </a:cubicBezTo>
                    <a:cubicBezTo>
                      <a:pt x="431984" y="193172"/>
                      <a:pt x="431984" y="351185"/>
                      <a:pt x="432187" y="509256"/>
                    </a:cubicBezTo>
                    <a:cubicBezTo>
                      <a:pt x="432158" y="536857"/>
                      <a:pt x="427853" y="542587"/>
                      <a:pt x="402837" y="550759"/>
                    </a:cubicBezTo>
                    <a:close/>
                  </a:path>
                </a:pathLst>
              </a:custGeom>
              <a:solidFill>
                <a:schemeClr val="accent5">
                  <a:lumMod val="50000"/>
                </a:schemeClr>
              </a:solidFill>
              <a:ln w="2907" cap="flat">
                <a:noFill/>
                <a:prstDash val="solid"/>
                <a:miter/>
              </a:ln>
            </p:spPr>
            <p:txBody>
              <a:bodyPr rtlCol="0" anchor="ctr"/>
              <a:lstStyle/>
              <a:p>
                <a:endParaRPr lang="en-US" sz="800"/>
              </a:p>
            </p:txBody>
          </p:sp>
          <p:sp>
            <p:nvSpPr>
              <p:cNvPr id="42" name="Graphic 38">
                <a:extLst>
                  <a:ext uri="{FF2B5EF4-FFF2-40B4-BE49-F238E27FC236}">
                    <a16:creationId xmlns:a16="http://schemas.microsoft.com/office/drawing/2014/main" id="{EC9E4A00-6854-8C45-9234-CC406EE44CF2}"/>
                  </a:ext>
                </a:extLst>
              </p:cNvPr>
              <p:cNvSpPr/>
              <p:nvPr/>
            </p:nvSpPr>
            <p:spPr>
              <a:xfrm>
                <a:off x="14351619" y="1726957"/>
                <a:ext cx="435583" cy="405866"/>
              </a:xfrm>
              <a:custGeom>
                <a:avLst/>
                <a:gdLst>
                  <a:gd name="connsiteX0" fmla="*/ 10313 w 435583"/>
                  <a:gd name="connsiteY0" fmla="*/ 5714 h 405866"/>
                  <a:gd name="connsiteX1" fmla="*/ 50252 w 435583"/>
                  <a:gd name="connsiteY1" fmla="*/ -306 h 405866"/>
                  <a:gd name="connsiteX2" fmla="*/ 390940 w 435583"/>
                  <a:gd name="connsiteY2" fmla="*/ -539 h 405866"/>
                  <a:gd name="connsiteX3" fmla="*/ 431665 w 435583"/>
                  <a:gd name="connsiteY3" fmla="*/ 18046 h 405866"/>
                  <a:gd name="connsiteX4" fmla="*/ 432159 w 435583"/>
                  <a:gd name="connsiteY4" fmla="*/ 18686 h 405866"/>
                  <a:gd name="connsiteX5" fmla="*/ 432392 w 435583"/>
                  <a:gd name="connsiteY5" fmla="*/ 354460 h 405866"/>
                  <a:gd name="connsiteX6" fmla="*/ 434603 w 435583"/>
                  <a:gd name="connsiteY6" fmla="*/ 372870 h 405866"/>
                  <a:gd name="connsiteX7" fmla="*/ 434603 w 435583"/>
                  <a:gd name="connsiteY7" fmla="*/ 372870 h 405866"/>
                  <a:gd name="connsiteX8" fmla="*/ 425294 w 435583"/>
                  <a:gd name="connsiteY8" fmla="*/ 397999 h 405866"/>
                  <a:gd name="connsiteX9" fmla="*/ 396904 w 435583"/>
                  <a:gd name="connsiteY9" fmla="*/ 405328 h 405866"/>
                  <a:gd name="connsiteX10" fmla="*/ 36202 w 435583"/>
                  <a:gd name="connsiteY10" fmla="*/ 405328 h 405866"/>
                  <a:gd name="connsiteX11" fmla="*/ -974 w 435583"/>
                  <a:gd name="connsiteY11" fmla="*/ 366530 h 405866"/>
                  <a:gd name="connsiteX12" fmla="*/ -974 w 435583"/>
                  <a:gd name="connsiteY12" fmla="*/ 42360 h 405866"/>
                  <a:gd name="connsiteX13" fmla="*/ 10313 w 435583"/>
                  <a:gd name="connsiteY13" fmla="*/ 5714 h 40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583" h="405866">
                    <a:moveTo>
                      <a:pt x="10313" y="5714"/>
                    </a:moveTo>
                    <a:cubicBezTo>
                      <a:pt x="23083" y="72"/>
                      <a:pt x="36493" y="-335"/>
                      <a:pt x="50252" y="-306"/>
                    </a:cubicBezTo>
                    <a:cubicBezTo>
                      <a:pt x="163698" y="-102"/>
                      <a:pt x="277378" y="101"/>
                      <a:pt x="390940" y="-539"/>
                    </a:cubicBezTo>
                    <a:cubicBezTo>
                      <a:pt x="408393" y="-539"/>
                      <a:pt x="421396" y="4493"/>
                      <a:pt x="431665" y="18046"/>
                    </a:cubicBezTo>
                    <a:lnTo>
                      <a:pt x="432159" y="18686"/>
                    </a:lnTo>
                    <a:cubicBezTo>
                      <a:pt x="432159" y="130630"/>
                      <a:pt x="432247" y="242545"/>
                      <a:pt x="432392" y="354460"/>
                    </a:cubicBezTo>
                    <a:cubicBezTo>
                      <a:pt x="432392" y="360626"/>
                      <a:pt x="430734" y="367141"/>
                      <a:pt x="434603" y="372870"/>
                    </a:cubicBezTo>
                    <a:lnTo>
                      <a:pt x="434603" y="372870"/>
                    </a:lnTo>
                    <a:cubicBezTo>
                      <a:pt x="431490" y="381247"/>
                      <a:pt x="428407" y="389623"/>
                      <a:pt x="425294" y="397999"/>
                    </a:cubicBezTo>
                    <a:cubicBezTo>
                      <a:pt x="416771" y="404078"/>
                      <a:pt x="407230" y="405328"/>
                      <a:pt x="396904" y="405328"/>
                    </a:cubicBezTo>
                    <a:cubicBezTo>
                      <a:pt x="276679" y="405125"/>
                      <a:pt x="156426" y="405125"/>
                      <a:pt x="36202" y="405328"/>
                    </a:cubicBezTo>
                    <a:cubicBezTo>
                      <a:pt x="9527" y="405328"/>
                      <a:pt x="-1061" y="393346"/>
                      <a:pt x="-974" y="366530"/>
                    </a:cubicBezTo>
                    <a:cubicBezTo>
                      <a:pt x="-654" y="258483"/>
                      <a:pt x="-654" y="150436"/>
                      <a:pt x="-974" y="42360"/>
                    </a:cubicBezTo>
                    <a:cubicBezTo>
                      <a:pt x="-1148" y="28545"/>
                      <a:pt x="1586" y="16330"/>
                      <a:pt x="10313" y="5714"/>
                    </a:cubicBezTo>
                    <a:close/>
                  </a:path>
                </a:pathLst>
              </a:custGeom>
              <a:solidFill>
                <a:schemeClr val="accent5"/>
              </a:solidFill>
              <a:ln w="2907" cap="flat">
                <a:noFill/>
                <a:prstDash val="solid"/>
                <a:miter/>
              </a:ln>
            </p:spPr>
            <p:txBody>
              <a:bodyPr rtlCol="0" anchor="ctr"/>
              <a:lstStyle/>
              <a:p>
                <a:endParaRPr lang="en-US" sz="800"/>
              </a:p>
            </p:txBody>
          </p:sp>
          <p:sp>
            <p:nvSpPr>
              <p:cNvPr id="43" name="Graphic 38">
                <a:extLst>
                  <a:ext uri="{FF2B5EF4-FFF2-40B4-BE49-F238E27FC236}">
                    <a16:creationId xmlns:a16="http://schemas.microsoft.com/office/drawing/2014/main" id="{07F14EF5-D4A6-B6A2-BC0D-B6E3E7139D13}"/>
                  </a:ext>
                </a:extLst>
              </p:cNvPr>
              <p:cNvSpPr/>
              <p:nvPr/>
            </p:nvSpPr>
            <p:spPr>
              <a:xfrm>
                <a:off x="17122949" y="1681931"/>
                <a:ext cx="434691" cy="392608"/>
              </a:xfrm>
              <a:custGeom>
                <a:avLst/>
                <a:gdLst>
                  <a:gd name="connsiteX0" fmla="*/ -981 w 434691"/>
                  <a:gd name="connsiteY0" fmla="*/ 297838 h 392608"/>
                  <a:gd name="connsiteX1" fmla="*/ -981 w 434691"/>
                  <a:gd name="connsiteY1" fmla="*/ 291469 h 392608"/>
                  <a:gd name="connsiteX2" fmla="*/ -981 w 434691"/>
                  <a:gd name="connsiteY2" fmla="*/ 171236 h 392608"/>
                  <a:gd name="connsiteX3" fmla="*/ -981 w 434691"/>
                  <a:gd name="connsiteY3" fmla="*/ 164925 h 392608"/>
                  <a:gd name="connsiteX4" fmla="*/ -981 w 434691"/>
                  <a:gd name="connsiteY4" fmla="*/ 44633 h 392608"/>
                  <a:gd name="connsiteX5" fmla="*/ -981 w 434691"/>
                  <a:gd name="connsiteY5" fmla="*/ 38322 h 392608"/>
                  <a:gd name="connsiteX6" fmla="*/ 40615 w 434691"/>
                  <a:gd name="connsiteY6" fmla="*/ -98 h 392608"/>
                  <a:gd name="connsiteX7" fmla="*/ 391747 w 434691"/>
                  <a:gd name="connsiteY7" fmla="*/ -534 h 392608"/>
                  <a:gd name="connsiteX8" fmla="*/ 433460 w 434691"/>
                  <a:gd name="connsiteY8" fmla="*/ 43092 h 392608"/>
                  <a:gd name="connsiteX9" fmla="*/ 433606 w 434691"/>
                  <a:gd name="connsiteY9" fmla="*/ 292487 h 392608"/>
                  <a:gd name="connsiteX10" fmla="*/ 432413 w 434691"/>
                  <a:gd name="connsiteY10" fmla="*/ 361910 h 392608"/>
                  <a:gd name="connsiteX11" fmla="*/ 399920 w 434691"/>
                  <a:gd name="connsiteY11" fmla="*/ 392070 h 392608"/>
                  <a:gd name="connsiteX12" fmla="*/ 32965 w 434691"/>
                  <a:gd name="connsiteY12" fmla="*/ 392070 h 392608"/>
                  <a:gd name="connsiteX13" fmla="*/ -371 w 434691"/>
                  <a:gd name="connsiteY13" fmla="*/ 357780 h 392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691" h="392608">
                    <a:moveTo>
                      <a:pt x="-981" y="297838"/>
                    </a:moveTo>
                    <a:cubicBezTo>
                      <a:pt x="-981" y="295715"/>
                      <a:pt x="-981" y="293592"/>
                      <a:pt x="-981" y="291469"/>
                    </a:cubicBezTo>
                    <a:cubicBezTo>
                      <a:pt x="-981" y="251391"/>
                      <a:pt x="-981" y="211313"/>
                      <a:pt x="-981" y="171236"/>
                    </a:cubicBezTo>
                    <a:cubicBezTo>
                      <a:pt x="-981" y="169142"/>
                      <a:pt x="-981" y="167018"/>
                      <a:pt x="-981" y="164925"/>
                    </a:cubicBezTo>
                    <a:lnTo>
                      <a:pt x="-981" y="44633"/>
                    </a:lnTo>
                    <a:cubicBezTo>
                      <a:pt x="-981" y="42510"/>
                      <a:pt x="-981" y="40416"/>
                      <a:pt x="-981" y="38322"/>
                    </a:cubicBezTo>
                    <a:cubicBezTo>
                      <a:pt x="1229" y="6330"/>
                      <a:pt x="8007" y="-98"/>
                      <a:pt x="40615" y="-98"/>
                    </a:cubicBezTo>
                    <a:cubicBezTo>
                      <a:pt x="157669" y="-98"/>
                      <a:pt x="274694" y="455"/>
                      <a:pt x="391747" y="-534"/>
                    </a:cubicBezTo>
                    <a:cubicBezTo>
                      <a:pt x="431191" y="-854"/>
                      <a:pt x="433751" y="16247"/>
                      <a:pt x="433460" y="43092"/>
                    </a:cubicBezTo>
                    <a:cubicBezTo>
                      <a:pt x="432616" y="126214"/>
                      <a:pt x="432355" y="209336"/>
                      <a:pt x="433606" y="292487"/>
                    </a:cubicBezTo>
                    <a:cubicBezTo>
                      <a:pt x="433955" y="315609"/>
                      <a:pt x="433402" y="338789"/>
                      <a:pt x="432413" y="361910"/>
                    </a:cubicBezTo>
                    <a:cubicBezTo>
                      <a:pt x="431569" y="381629"/>
                      <a:pt x="420080" y="392041"/>
                      <a:pt x="399920" y="392070"/>
                    </a:cubicBezTo>
                    <a:cubicBezTo>
                      <a:pt x="277602" y="392070"/>
                      <a:pt x="155284" y="392070"/>
                      <a:pt x="32965" y="392070"/>
                    </a:cubicBezTo>
                    <a:cubicBezTo>
                      <a:pt x="11119" y="392070"/>
                      <a:pt x="-138" y="380088"/>
                      <a:pt x="-371" y="357780"/>
                    </a:cubicBezTo>
                    <a:close/>
                  </a:path>
                </a:pathLst>
              </a:custGeom>
              <a:solidFill>
                <a:schemeClr val="accent6"/>
              </a:solidFill>
              <a:ln w="2907" cap="flat">
                <a:noFill/>
                <a:prstDash val="solid"/>
                <a:miter/>
              </a:ln>
            </p:spPr>
            <p:txBody>
              <a:bodyPr rtlCol="0" anchor="ctr"/>
              <a:lstStyle/>
              <a:p>
                <a:endParaRPr lang="en-US" sz="800"/>
              </a:p>
            </p:txBody>
          </p:sp>
          <p:sp>
            <p:nvSpPr>
              <p:cNvPr id="44" name="Graphic 38">
                <a:extLst>
                  <a:ext uri="{FF2B5EF4-FFF2-40B4-BE49-F238E27FC236}">
                    <a16:creationId xmlns:a16="http://schemas.microsoft.com/office/drawing/2014/main" id="{733BD618-B98E-AF7D-0BA8-0B4FF6BBC8E7}"/>
                  </a:ext>
                </a:extLst>
              </p:cNvPr>
              <p:cNvSpPr/>
              <p:nvPr/>
            </p:nvSpPr>
            <p:spPr>
              <a:xfrm>
                <a:off x="14353459" y="2924974"/>
                <a:ext cx="431154" cy="348990"/>
              </a:xfrm>
              <a:custGeom>
                <a:avLst/>
                <a:gdLst>
                  <a:gd name="connsiteX0" fmla="*/ 429621 w 431154"/>
                  <a:gd name="connsiteY0" fmla="*/ 16544 h 348990"/>
                  <a:gd name="connsiteX1" fmla="*/ 430173 w 431154"/>
                  <a:gd name="connsiteY1" fmla="*/ 317853 h 348990"/>
                  <a:gd name="connsiteX2" fmla="*/ 426595 w 431154"/>
                  <a:gd name="connsiteY2" fmla="*/ 336264 h 348990"/>
                  <a:gd name="connsiteX3" fmla="*/ 426595 w 431154"/>
                  <a:gd name="connsiteY3" fmla="*/ 336438 h 348990"/>
                  <a:gd name="connsiteX4" fmla="*/ 424268 w 431154"/>
                  <a:gd name="connsiteY4" fmla="*/ 339579 h 348990"/>
                  <a:gd name="connsiteX5" fmla="*/ 423628 w 431154"/>
                  <a:gd name="connsiteY5" fmla="*/ 340161 h 348990"/>
                  <a:gd name="connsiteX6" fmla="*/ 420719 w 431154"/>
                  <a:gd name="connsiteY6" fmla="*/ 342749 h 348990"/>
                  <a:gd name="connsiteX7" fmla="*/ 420370 w 431154"/>
                  <a:gd name="connsiteY7" fmla="*/ 343040 h 348990"/>
                  <a:gd name="connsiteX8" fmla="*/ 416822 w 431154"/>
                  <a:gd name="connsiteY8" fmla="*/ 345483 h 348990"/>
                  <a:gd name="connsiteX9" fmla="*/ 416822 w 431154"/>
                  <a:gd name="connsiteY9" fmla="*/ 345483 h 348990"/>
                  <a:gd name="connsiteX10" fmla="*/ 383980 w 431154"/>
                  <a:gd name="connsiteY10" fmla="*/ 348392 h 348990"/>
                  <a:gd name="connsiteX11" fmla="*/ 49662 w 431154"/>
                  <a:gd name="connsiteY11" fmla="*/ 348392 h 348990"/>
                  <a:gd name="connsiteX12" fmla="*/ 12050 w 431154"/>
                  <a:gd name="connsiteY12" fmla="*/ 345192 h 348990"/>
                  <a:gd name="connsiteX13" fmla="*/ 12050 w 431154"/>
                  <a:gd name="connsiteY13" fmla="*/ 345192 h 348990"/>
                  <a:gd name="connsiteX14" fmla="*/ 8414 w 431154"/>
                  <a:gd name="connsiteY14" fmla="*/ 342517 h 348990"/>
                  <a:gd name="connsiteX15" fmla="*/ 8414 w 431154"/>
                  <a:gd name="connsiteY15" fmla="*/ 342517 h 348990"/>
                  <a:gd name="connsiteX16" fmla="*/ 5215 w 431154"/>
                  <a:gd name="connsiteY16" fmla="*/ 339608 h 348990"/>
                  <a:gd name="connsiteX17" fmla="*/ 5040 w 431154"/>
                  <a:gd name="connsiteY17" fmla="*/ 339434 h 348990"/>
                  <a:gd name="connsiteX18" fmla="*/ 2364 w 431154"/>
                  <a:gd name="connsiteY18" fmla="*/ 335973 h 348990"/>
                  <a:gd name="connsiteX19" fmla="*/ 2364 w 431154"/>
                  <a:gd name="connsiteY19" fmla="*/ 335973 h 348990"/>
                  <a:gd name="connsiteX20" fmla="*/ -981 w 431154"/>
                  <a:gd name="connsiteY20" fmla="*/ 317534 h 348990"/>
                  <a:gd name="connsiteX21" fmla="*/ -458 w 431154"/>
                  <a:gd name="connsiteY21" fmla="*/ 16805 h 348990"/>
                  <a:gd name="connsiteX22" fmla="*/ -458 w 431154"/>
                  <a:gd name="connsiteY22" fmla="*/ 17067 h 348990"/>
                  <a:gd name="connsiteX23" fmla="*/ 1637 w 431154"/>
                  <a:gd name="connsiteY23" fmla="*/ 13403 h 348990"/>
                  <a:gd name="connsiteX24" fmla="*/ 2858 w 431154"/>
                  <a:gd name="connsiteY24" fmla="*/ 10814 h 348990"/>
                  <a:gd name="connsiteX25" fmla="*/ 10683 w 431154"/>
                  <a:gd name="connsiteY25" fmla="*/ 3456 h 348990"/>
                  <a:gd name="connsiteX26" fmla="*/ 11469 w 431154"/>
                  <a:gd name="connsiteY26" fmla="*/ 2903 h 348990"/>
                  <a:gd name="connsiteX27" fmla="*/ 14872 w 431154"/>
                  <a:gd name="connsiteY27" fmla="*/ 722 h 348990"/>
                  <a:gd name="connsiteX28" fmla="*/ 14872 w 431154"/>
                  <a:gd name="connsiteY28" fmla="*/ 722 h 348990"/>
                  <a:gd name="connsiteX29" fmla="*/ 413913 w 431154"/>
                  <a:gd name="connsiteY29" fmla="*/ 431 h 348990"/>
                  <a:gd name="connsiteX30" fmla="*/ 414145 w 431154"/>
                  <a:gd name="connsiteY30" fmla="*/ 431 h 348990"/>
                  <a:gd name="connsiteX31" fmla="*/ 423396 w 431154"/>
                  <a:gd name="connsiteY31" fmla="*/ 6888 h 348990"/>
                  <a:gd name="connsiteX32" fmla="*/ 423396 w 431154"/>
                  <a:gd name="connsiteY32" fmla="*/ 6888 h 348990"/>
                  <a:gd name="connsiteX33" fmla="*/ 429679 w 431154"/>
                  <a:gd name="connsiteY33" fmla="*/ 16369 h 34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1154" h="348990">
                    <a:moveTo>
                      <a:pt x="429621" y="16544"/>
                    </a:moveTo>
                    <a:cubicBezTo>
                      <a:pt x="429853" y="116971"/>
                      <a:pt x="430028" y="217426"/>
                      <a:pt x="430173" y="317853"/>
                    </a:cubicBezTo>
                    <a:cubicBezTo>
                      <a:pt x="430173" y="323990"/>
                      <a:pt x="427846" y="330127"/>
                      <a:pt x="426595" y="336264"/>
                    </a:cubicBezTo>
                    <a:lnTo>
                      <a:pt x="426595" y="336438"/>
                    </a:lnTo>
                    <a:lnTo>
                      <a:pt x="424268" y="339579"/>
                    </a:lnTo>
                    <a:lnTo>
                      <a:pt x="423628" y="340161"/>
                    </a:lnTo>
                    <a:lnTo>
                      <a:pt x="420719" y="342749"/>
                    </a:lnTo>
                    <a:lnTo>
                      <a:pt x="420370" y="343040"/>
                    </a:lnTo>
                    <a:lnTo>
                      <a:pt x="416822" y="345483"/>
                    </a:lnTo>
                    <a:lnTo>
                      <a:pt x="416822" y="345483"/>
                    </a:lnTo>
                    <a:cubicBezTo>
                      <a:pt x="406030" y="347752"/>
                      <a:pt x="395005" y="348711"/>
                      <a:pt x="383980" y="348392"/>
                    </a:cubicBezTo>
                    <a:cubicBezTo>
                      <a:pt x="272541" y="348392"/>
                      <a:pt x="161102" y="348392"/>
                      <a:pt x="49662" y="348392"/>
                    </a:cubicBezTo>
                    <a:cubicBezTo>
                      <a:pt x="37038" y="348625"/>
                      <a:pt x="24442" y="347548"/>
                      <a:pt x="12050" y="345192"/>
                    </a:cubicBezTo>
                    <a:lnTo>
                      <a:pt x="12050" y="345192"/>
                    </a:lnTo>
                    <a:lnTo>
                      <a:pt x="8414" y="342517"/>
                    </a:lnTo>
                    <a:lnTo>
                      <a:pt x="8414" y="342517"/>
                    </a:lnTo>
                    <a:lnTo>
                      <a:pt x="5215" y="339608"/>
                    </a:lnTo>
                    <a:lnTo>
                      <a:pt x="5040" y="339434"/>
                    </a:lnTo>
                    <a:cubicBezTo>
                      <a:pt x="4138" y="338300"/>
                      <a:pt x="3266" y="337136"/>
                      <a:pt x="2364" y="335973"/>
                    </a:cubicBezTo>
                    <a:lnTo>
                      <a:pt x="2364" y="335973"/>
                    </a:lnTo>
                    <a:cubicBezTo>
                      <a:pt x="1200" y="329836"/>
                      <a:pt x="-981" y="323699"/>
                      <a:pt x="-981" y="317534"/>
                    </a:cubicBezTo>
                    <a:cubicBezTo>
                      <a:pt x="-981" y="217310"/>
                      <a:pt x="-807" y="117058"/>
                      <a:pt x="-458" y="16805"/>
                    </a:cubicBezTo>
                    <a:lnTo>
                      <a:pt x="-458" y="17067"/>
                    </a:lnTo>
                    <a:lnTo>
                      <a:pt x="1637" y="13403"/>
                    </a:lnTo>
                    <a:cubicBezTo>
                      <a:pt x="2218" y="12617"/>
                      <a:pt x="2626" y="11745"/>
                      <a:pt x="2858" y="10814"/>
                    </a:cubicBezTo>
                    <a:cubicBezTo>
                      <a:pt x="6466" y="9738"/>
                      <a:pt x="9374" y="7004"/>
                      <a:pt x="10683" y="3456"/>
                    </a:cubicBezTo>
                    <a:lnTo>
                      <a:pt x="11469" y="2903"/>
                    </a:lnTo>
                    <a:lnTo>
                      <a:pt x="14872" y="722"/>
                    </a:lnTo>
                    <a:lnTo>
                      <a:pt x="14872" y="722"/>
                    </a:lnTo>
                    <a:cubicBezTo>
                      <a:pt x="147895" y="-1198"/>
                      <a:pt x="280890" y="-616"/>
                      <a:pt x="413913" y="431"/>
                    </a:cubicBezTo>
                    <a:lnTo>
                      <a:pt x="414145" y="431"/>
                    </a:lnTo>
                    <a:lnTo>
                      <a:pt x="423396" y="6888"/>
                    </a:lnTo>
                    <a:lnTo>
                      <a:pt x="423396" y="6888"/>
                    </a:lnTo>
                    <a:lnTo>
                      <a:pt x="429679" y="16369"/>
                    </a:lnTo>
                    <a:close/>
                  </a:path>
                </a:pathLst>
              </a:custGeom>
              <a:solidFill>
                <a:schemeClr val="bg2"/>
              </a:solidFill>
              <a:ln w="2907" cap="flat">
                <a:noFill/>
                <a:prstDash val="solid"/>
                <a:miter/>
              </a:ln>
            </p:spPr>
            <p:txBody>
              <a:bodyPr rtlCol="0" anchor="ctr"/>
              <a:lstStyle/>
              <a:p>
                <a:endParaRPr lang="en-US" sz="800"/>
              </a:p>
            </p:txBody>
          </p:sp>
          <p:sp>
            <p:nvSpPr>
              <p:cNvPr id="45" name="Graphic 38">
                <a:extLst>
                  <a:ext uri="{FF2B5EF4-FFF2-40B4-BE49-F238E27FC236}">
                    <a16:creationId xmlns:a16="http://schemas.microsoft.com/office/drawing/2014/main" id="{C1A0AACE-0AB8-B341-B5BD-793E939CB098}"/>
                  </a:ext>
                </a:extLst>
              </p:cNvPr>
              <p:cNvSpPr/>
              <p:nvPr/>
            </p:nvSpPr>
            <p:spPr>
              <a:xfrm>
                <a:off x="14353041" y="1151269"/>
                <a:ext cx="432385" cy="317598"/>
              </a:xfrm>
              <a:custGeom>
                <a:avLst/>
                <a:gdLst>
                  <a:gd name="connsiteX0" fmla="*/ 426199 w 432385"/>
                  <a:gd name="connsiteY0" fmla="*/ 9728 h 317598"/>
                  <a:gd name="connsiteX1" fmla="*/ 431057 w 432385"/>
                  <a:gd name="connsiteY1" fmla="*/ 65744 h 317598"/>
                  <a:gd name="connsiteX2" fmla="*/ 431057 w 432385"/>
                  <a:gd name="connsiteY2" fmla="*/ 273549 h 317598"/>
                  <a:gd name="connsiteX3" fmla="*/ 426199 w 432385"/>
                  <a:gd name="connsiteY3" fmla="*/ 305948 h 317598"/>
                  <a:gd name="connsiteX4" fmla="*/ 426199 w 432385"/>
                  <a:gd name="connsiteY4" fmla="*/ 305948 h 317598"/>
                  <a:gd name="connsiteX5" fmla="*/ 391613 w 432385"/>
                  <a:gd name="connsiteY5" fmla="*/ 317058 h 317598"/>
                  <a:gd name="connsiteX6" fmla="*/ 40976 w 432385"/>
                  <a:gd name="connsiteY6" fmla="*/ 317058 h 317598"/>
                  <a:gd name="connsiteX7" fmla="*/ 3161 w 432385"/>
                  <a:gd name="connsiteY7" fmla="*/ 306181 h 317598"/>
                  <a:gd name="connsiteX8" fmla="*/ 3161 w 432385"/>
                  <a:gd name="connsiteY8" fmla="*/ 306181 h 317598"/>
                  <a:gd name="connsiteX9" fmla="*/ -737 w 432385"/>
                  <a:gd name="connsiteY9" fmla="*/ 262555 h 317598"/>
                  <a:gd name="connsiteX10" fmla="*/ -737 w 432385"/>
                  <a:gd name="connsiteY10" fmla="*/ 76737 h 317598"/>
                  <a:gd name="connsiteX11" fmla="*/ 2521 w 432385"/>
                  <a:gd name="connsiteY11" fmla="*/ 12520 h 317598"/>
                  <a:gd name="connsiteX12" fmla="*/ 30039 w 432385"/>
                  <a:gd name="connsiteY12" fmla="*/ -539 h 317598"/>
                  <a:gd name="connsiteX13" fmla="*/ 411277 w 432385"/>
                  <a:gd name="connsiteY13" fmla="*/ -131 h 317598"/>
                  <a:gd name="connsiteX14" fmla="*/ 423261 w 432385"/>
                  <a:gd name="connsiteY14" fmla="*/ 6558 h 317598"/>
                  <a:gd name="connsiteX15" fmla="*/ 423261 w 432385"/>
                  <a:gd name="connsiteY15" fmla="*/ 6558 h 317598"/>
                  <a:gd name="connsiteX16" fmla="*/ 426170 w 432385"/>
                  <a:gd name="connsiteY16" fmla="*/ 9728 h 317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2385" h="317598">
                    <a:moveTo>
                      <a:pt x="426199" y="9728"/>
                    </a:moveTo>
                    <a:cubicBezTo>
                      <a:pt x="433472" y="27905"/>
                      <a:pt x="430970" y="46985"/>
                      <a:pt x="431057" y="65744"/>
                    </a:cubicBezTo>
                    <a:cubicBezTo>
                      <a:pt x="431319" y="134993"/>
                      <a:pt x="431057" y="204271"/>
                      <a:pt x="431057" y="273549"/>
                    </a:cubicBezTo>
                    <a:cubicBezTo>
                      <a:pt x="431436" y="284554"/>
                      <a:pt x="429777" y="295533"/>
                      <a:pt x="426199" y="305948"/>
                    </a:cubicBezTo>
                    <a:lnTo>
                      <a:pt x="426199" y="305948"/>
                    </a:lnTo>
                    <a:cubicBezTo>
                      <a:pt x="416513" y="315430"/>
                      <a:pt x="404819" y="317117"/>
                      <a:pt x="391613" y="317058"/>
                    </a:cubicBezTo>
                    <a:cubicBezTo>
                      <a:pt x="274734" y="316671"/>
                      <a:pt x="157855" y="316671"/>
                      <a:pt x="40976" y="317058"/>
                    </a:cubicBezTo>
                    <a:cubicBezTo>
                      <a:pt x="27043" y="317058"/>
                      <a:pt x="13720" y="316768"/>
                      <a:pt x="3161" y="306181"/>
                    </a:cubicBezTo>
                    <a:lnTo>
                      <a:pt x="3161" y="306181"/>
                    </a:lnTo>
                    <a:cubicBezTo>
                      <a:pt x="-1057" y="291872"/>
                      <a:pt x="-766" y="277097"/>
                      <a:pt x="-737" y="262555"/>
                    </a:cubicBezTo>
                    <a:cubicBezTo>
                      <a:pt x="-737" y="200606"/>
                      <a:pt x="-737" y="138657"/>
                      <a:pt x="-737" y="76737"/>
                    </a:cubicBezTo>
                    <a:cubicBezTo>
                      <a:pt x="-737" y="55274"/>
                      <a:pt x="-2308" y="33751"/>
                      <a:pt x="2521" y="12520"/>
                    </a:cubicBezTo>
                    <a:cubicBezTo>
                      <a:pt x="9997" y="4638"/>
                      <a:pt x="18316" y="-568"/>
                      <a:pt x="30039" y="-539"/>
                    </a:cubicBezTo>
                    <a:cubicBezTo>
                      <a:pt x="157128" y="-248"/>
                      <a:pt x="284217" y="-111"/>
                      <a:pt x="411277" y="-131"/>
                    </a:cubicBezTo>
                    <a:cubicBezTo>
                      <a:pt x="414099" y="3737"/>
                      <a:pt x="418491" y="6180"/>
                      <a:pt x="423261" y="6558"/>
                    </a:cubicBezTo>
                    <a:lnTo>
                      <a:pt x="423261" y="6558"/>
                    </a:lnTo>
                    <a:lnTo>
                      <a:pt x="426170" y="9728"/>
                    </a:lnTo>
                    <a:close/>
                  </a:path>
                </a:pathLst>
              </a:custGeom>
              <a:solidFill>
                <a:schemeClr val="accent1"/>
              </a:solidFill>
              <a:ln w="2907" cap="flat">
                <a:noFill/>
                <a:prstDash val="solid"/>
                <a:miter/>
              </a:ln>
            </p:spPr>
            <p:txBody>
              <a:bodyPr rtlCol="0" anchor="ctr"/>
              <a:lstStyle/>
              <a:p>
                <a:endParaRPr lang="en-US" sz="800"/>
              </a:p>
            </p:txBody>
          </p:sp>
          <p:sp>
            <p:nvSpPr>
              <p:cNvPr id="46" name="Graphic 38">
                <a:extLst>
                  <a:ext uri="{FF2B5EF4-FFF2-40B4-BE49-F238E27FC236}">
                    <a16:creationId xmlns:a16="http://schemas.microsoft.com/office/drawing/2014/main" id="{20EF026B-D78F-B276-BE79-12626F261A98}"/>
                  </a:ext>
                </a:extLst>
              </p:cNvPr>
              <p:cNvSpPr/>
              <p:nvPr/>
            </p:nvSpPr>
            <p:spPr>
              <a:xfrm>
                <a:off x="14351683" y="3289115"/>
                <a:ext cx="435577" cy="242640"/>
              </a:xfrm>
              <a:custGeom>
                <a:avLst/>
                <a:gdLst>
                  <a:gd name="connsiteX0" fmla="*/ 434596 w 435577"/>
                  <a:gd name="connsiteY0" fmla="*/ 82758 h 242640"/>
                  <a:gd name="connsiteX1" fmla="*/ 434393 w 435577"/>
                  <a:gd name="connsiteY1" fmla="*/ 88865 h 242640"/>
                  <a:gd name="connsiteX2" fmla="*/ 434393 w 435577"/>
                  <a:gd name="connsiteY2" fmla="*/ 89098 h 242640"/>
                  <a:gd name="connsiteX3" fmla="*/ 432531 w 435577"/>
                  <a:gd name="connsiteY3" fmla="*/ 164280 h 242640"/>
                  <a:gd name="connsiteX4" fmla="*/ 432531 w 435577"/>
                  <a:gd name="connsiteY4" fmla="*/ 202089 h 242640"/>
                  <a:gd name="connsiteX5" fmla="*/ 417783 w 435577"/>
                  <a:gd name="connsiteY5" fmla="*/ 240160 h 242640"/>
                  <a:gd name="connsiteX6" fmla="*/ 392592 w 435577"/>
                  <a:gd name="connsiteY6" fmla="*/ 241993 h 242640"/>
                  <a:gd name="connsiteX7" fmla="*/ 38174 w 435577"/>
                  <a:gd name="connsiteY7" fmla="*/ 241993 h 242640"/>
                  <a:gd name="connsiteX8" fmla="*/ -980 w 435577"/>
                  <a:gd name="connsiteY8" fmla="*/ 202031 h 242640"/>
                  <a:gd name="connsiteX9" fmla="*/ -980 w 435577"/>
                  <a:gd name="connsiteY9" fmla="*/ 39161 h 242640"/>
                  <a:gd name="connsiteX10" fmla="*/ 38435 w 435577"/>
                  <a:gd name="connsiteY10" fmla="*/ -539 h 242640"/>
                  <a:gd name="connsiteX11" fmla="*/ 396025 w 435577"/>
                  <a:gd name="connsiteY11" fmla="*/ -539 h 242640"/>
                  <a:gd name="connsiteX12" fmla="*/ 427731 w 435577"/>
                  <a:gd name="connsiteY12" fmla="*/ 10223 h 242640"/>
                  <a:gd name="connsiteX13" fmla="*/ 432386 w 435577"/>
                  <a:gd name="connsiteY13" fmla="*/ 47130 h 242640"/>
                  <a:gd name="connsiteX14" fmla="*/ 434364 w 435577"/>
                  <a:gd name="connsiteY14" fmla="*/ 82642 h 24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577" h="242640">
                    <a:moveTo>
                      <a:pt x="434596" y="82758"/>
                    </a:moveTo>
                    <a:lnTo>
                      <a:pt x="434393" y="88865"/>
                    </a:lnTo>
                    <a:lnTo>
                      <a:pt x="434393" y="89098"/>
                    </a:lnTo>
                    <a:cubicBezTo>
                      <a:pt x="430175" y="114081"/>
                      <a:pt x="433345" y="139239"/>
                      <a:pt x="432531" y="164280"/>
                    </a:cubicBezTo>
                    <a:cubicBezTo>
                      <a:pt x="431688" y="176874"/>
                      <a:pt x="431688" y="189496"/>
                      <a:pt x="432531" y="202089"/>
                    </a:cubicBezTo>
                    <a:cubicBezTo>
                      <a:pt x="434044" y="217708"/>
                      <a:pt x="428022" y="229545"/>
                      <a:pt x="417783" y="240160"/>
                    </a:cubicBezTo>
                    <a:cubicBezTo>
                      <a:pt x="409376" y="240800"/>
                      <a:pt x="400999" y="241993"/>
                      <a:pt x="392592" y="241993"/>
                    </a:cubicBezTo>
                    <a:cubicBezTo>
                      <a:pt x="274462" y="242138"/>
                      <a:pt x="156303" y="242138"/>
                      <a:pt x="38174" y="241993"/>
                    </a:cubicBezTo>
                    <a:cubicBezTo>
                      <a:pt x="8648" y="241993"/>
                      <a:pt x="-1125" y="231522"/>
                      <a:pt x="-980" y="202031"/>
                    </a:cubicBezTo>
                    <a:cubicBezTo>
                      <a:pt x="-718" y="147760"/>
                      <a:pt x="-980" y="93461"/>
                      <a:pt x="-980" y="39161"/>
                    </a:cubicBezTo>
                    <a:cubicBezTo>
                      <a:pt x="-980" y="8827"/>
                      <a:pt x="8329" y="-539"/>
                      <a:pt x="38435" y="-539"/>
                    </a:cubicBezTo>
                    <a:cubicBezTo>
                      <a:pt x="157642" y="-539"/>
                      <a:pt x="276848" y="-539"/>
                      <a:pt x="396025" y="-539"/>
                    </a:cubicBezTo>
                    <a:cubicBezTo>
                      <a:pt x="408067" y="-539"/>
                      <a:pt x="419296" y="683"/>
                      <a:pt x="427731" y="10223"/>
                    </a:cubicBezTo>
                    <a:cubicBezTo>
                      <a:pt x="432037" y="22176"/>
                      <a:pt x="432182" y="34566"/>
                      <a:pt x="432386" y="47130"/>
                    </a:cubicBezTo>
                    <a:cubicBezTo>
                      <a:pt x="432589" y="58967"/>
                      <a:pt x="429884" y="71037"/>
                      <a:pt x="434364" y="82642"/>
                    </a:cubicBezTo>
                    <a:close/>
                  </a:path>
                </a:pathLst>
              </a:custGeom>
              <a:solidFill>
                <a:schemeClr val="accent1"/>
              </a:solidFill>
              <a:ln w="2907" cap="flat">
                <a:noFill/>
                <a:prstDash val="solid"/>
                <a:miter/>
              </a:ln>
            </p:spPr>
            <p:txBody>
              <a:bodyPr rtlCol="0" anchor="ctr"/>
              <a:lstStyle/>
              <a:p>
                <a:endParaRPr lang="en-US" sz="800"/>
              </a:p>
            </p:txBody>
          </p:sp>
          <p:sp>
            <p:nvSpPr>
              <p:cNvPr id="47" name="Graphic 38">
                <a:extLst>
                  <a:ext uri="{FF2B5EF4-FFF2-40B4-BE49-F238E27FC236}">
                    <a16:creationId xmlns:a16="http://schemas.microsoft.com/office/drawing/2014/main" id="{2F64C59F-BDB9-1788-1AA0-B3AF5DE92AA8}"/>
                  </a:ext>
                </a:extLst>
              </p:cNvPr>
              <p:cNvSpPr/>
              <p:nvPr/>
            </p:nvSpPr>
            <p:spPr>
              <a:xfrm>
                <a:off x="14351539" y="1482536"/>
                <a:ext cx="435721" cy="231246"/>
              </a:xfrm>
              <a:custGeom>
                <a:avLst/>
                <a:gdLst>
                  <a:gd name="connsiteX0" fmla="*/ 434740 w 435721"/>
                  <a:gd name="connsiteY0" fmla="*/ 108176 h 231246"/>
                  <a:gd name="connsiteX1" fmla="*/ 434740 w 435721"/>
                  <a:gd name="connsiteY1" fmla="*/ 120304 h 231246"/>
                  <a:gd name="connsiteX2" fmla="*/ 433955 w 435721"/>
                  <a:gd name="connsiteY2" fmla="*/ 196156 h 231246"/>
                  <a:gd name="connsiteX3" fmla="*/ 398758 w 435721"/>
                  <a:gd name="connsiteY3" fmla="*/ 230707 h 231246"/>
                  <a:gd name="connsiteX4" fmla="*/ 36485 w 435721"/>
                  <a:gd name="connsiteY4" fmla="*/ 230707 h 231246"/>
                  <a:gd name="connsiteX5" fmla="*/ -894 w 435721"/>
                  <a:gd name="connsiteY5" fmla="*/ 193102 h 231246"/>
                  <a:gd name="connsiteX6" fmla="*/ -894 w 435721"/>
                  <a:gd name="connsiteY6" fmla="*/ 36630 h 231246"/>
                  <a:gd name="connsiteX7" fmla="*/ 35758 w 435721"/>
                  <a:gd name="connsiteY7" fmla="*/ -423 h 231246"/>
                  <a:gd name="connsiteX8" fmla="*/ 398001 w 435721"/>
                  <a:gd name="connsiteY8" fmla="*/ -423 h 231246"/>
                  <a:gd name="connsiteX9" fmla="*/ 434013 w 435721"/>
                  <a:gd name="connsiteY9" fmla="*/ 35437 h 231246"/>
                  <a:gd name="connsiteX10" fmla="*/ 434740 w 435721"/>
                  <a:gd name="connsiteY10" fmla="*/ 108176 h 23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5721" h="231246">
                    <a:moveTo>
                      <a:pt x="434740" y="108176"/>
                    </a:moveTo>
                    <a:cubicBezTo>
                      <a:pt x="434740" y="112219"/>
                      <a:pt x="434740" y="116291"/>
                      <a:pt x="434740" y="120304"/>
                    </a:cubicBezTo>
                    <a:cubicBezTo>
                      <a:pt x="434479" y="145578"/>
                      <a:pt x="434304" y="170882"/>
                      <a:pt x="433955" y="196156"/>
                    </a:cubicBezTo>
                    <a:cubicBezTo>
                      <a:pt x="433664" y="218608"/>
                      <a:pt x="421505" y="230678"/>
                      <a:pt x="398758" y="230707"/>
                    </a:cubicBezTo>
                    <a:cubicBezTo>
                      <a:pt x="277981" y="230707"/>
                      <a:pt x="157233" y="230707"/>
                      <a:pt x="36485" y="230707"/>
                    </a:cubicBezTo>
                    <a:cubicBezTo>
                      <a:pt x="11527" y="230707"/>
                      <a:pt x="-836" y="218114"/>
                      <a:pt x="-894" y="193102"/>
                    </a:cubicBezTo>
                    <a:cubicBezTo>
                      <a:pt x="-1010" y="140954"/>
                      <a:pt x="-1010" y="88778"/>
                      <a:pt x="-894" y="36630"/>
                    </a:cubicBezTo>
                    <a:cubicBezTo>
                      <a:pt x="-894" y="12926"/>
                      <a:pt x="11963" y="-365"/>
                      <a:pt x="35758" y="-423"/>
                    </a:cubicBezTo>
                    <a:cubicBezTo>
                      <a:pt x="156506" y="-577"/>
                      <a:pt x="277253" y="-577"/>
                      <a:pt x="398001" y="-423"/>
                    </a:cubicBezTo>
                    <a:cubicBezTo>
                      <a:pt x="421709" y="-423"/>
                      <a:pt x="433693" y="12112"/>
                      <a:pt x="434013" y="35437"/>
                    </a:cubicBezTo>
                    <a:cubicBezTo>
                      <a:pt x="434275" y="59752"/>
                      <a:pt x="434479" y="83979"/>
                      <a:pt x="434740" y="108176"/>
                    </a:cubicBezTo>
                    <a:close/>
                  </a:path>
                </a:pathLst>
              </a:custGeom>
              <a:solidFill>
                <a:schemeClr val="accent6"/>
              </a:solidFill>
              <a:ln w="2907" cap="flat">
                <a:noFill/>
                <a:prstDash val="solid"/>
                <a:miter/>
              </a:ln>
            </p:spPr>
            <p:txBody>
              <a:bodyPr rtlCol="0" anchor="ctr"/>
              <a:lstStyle/>
              <a:p>
                <a:endParaRPr lang="en-US" sz="800"/>
              </a:p>
            </p:txBody>
          </p:sp>
          <p:sp>
            <p:nvSpPr>
              <p:cNvPr id="48" name="Graphic 38">
                <a:extLst>
                  <a:ext uri="{FF2B5EF4-FFF2-40B4-BE49-F238E27FC236}">
                    <a16:creationId xmlns:a16="http://schemas.microsoft.com/office/drawing/2014/main" id="{F5DCE564-E0CF-7394-54B4-6ABBF0521B1D}"/>
                  </a:ext>
                </a:extLst>
              </p:cNvPr>
              <p:cNvSpPr/>
              <p:nvPr/>
            </p:nvSpPr>
            <p:spPr>
              <a:xfrm>
                <a:off x="17122920" y="1477875"/>
                <a:ext cx="432346" cy="189401"/>
              </a:xfrm>
              <a:custGeom>
                <a:avLst/>
                <a:gdLst>
                  <a:gd name="connsiteX0" fmla="*/ -981 w 432346"/>
                  <a:gd name="connsiteY0" fmla="*/ 122319 h 189401"/>
                  <a:gd name="connsiteX1" fmla="*/ -981 w 432346"/>
                  <a:gd name="connsiteY1" fmla="*/ 115629 h 189401"/>
                  <a:gd name="connsiteX2" fmla="*/ -341 w 432346"/>
                  <a:gd name="connsiteY2" fmla="*/ 23666 h 189401"/>
                  <a:gd name="connsiteX3" fmla="*/ 1928 w 432346"/>
                  <a:gd name="connsiteY3" fmla="*/ 14592 h 189401"/>
                  <a:gd name="connsiteX4" fmla="*/ 2626 w 432346"/>
                  <a:gd name="connsiteY4" fmla="*/ 13923 h 189401"/>
                  <a:gd name="connsiteX5" fmla="*/ 4720 w 432346"/>
                  <a:gd name="connsiteY5" fmla="*/ 11218 h 189401"/>
                  <a:gd name="connsiteX6" fmla="*/ 5389 w 432346"/>
                  <a:gd name="connsiteY6" fmla="*/ 9415 h 189401"/>
                  <a:gd name="connsiteX7" fmla="*/ 14261 w 432346"/>
                  <a:gd name="connsiteY7" fmla="*/ 1533 h 189401"/>
                  <a:gd name="connsiteX8" fmla="*/ 15570 w 432346"/>
                  <a:gd name="connsiteY8" fmla="*/ 1155 h 189401"/>
                  <a:gd name="connsiteX9" fmla="*/ 107113 w 432346"/>
                  <a:gd name="connsiteY9" fmla="*/ 370 h 189401"/>
                  <a:gd name="connsiteX10" fmla="*/ 388780 w 432346"/>
                  <a:gd name="connsiteY10" fmla="*/ 370 h 189401"/>
                  <a:gd name="connsiteX11" fmla="*/ 420253 w 432346"/>
                  <a:gd name="connsiteY11" fmla="*/ 2318 h 189401"/>
                  <a:gd name="connsiteX12" fmla="*/ 420545 w 432346"/>
                  <a:gd name="connsiteY12" fmla="*/ 2318 h 189401"/>
                  <a:gd name="connsiteX13" fmla="*/ 429592 w 432346"/>
                  <a:gd name="connsiteY13" fmla="*/ 11916 h 189401"/>
                  <a:gd name="connsiteX14" fmla="*/ 430638 w 432346"/>
                  <a:gd name="connsiteY14" fmla="*/ 14592 h 189401"/>
                  <a:gd name="connsiteX15" fmla="*/ 431366 w 432346"/>
                  <a:gd name="connsiteY15" fmla="*/ 169667 h 189401"/>
                  <a:gd name="connsiteX16" fmla="*/ 400241 w 432346"/>
                  <a:gd name="connsiteY16" fmla="*/ 188863 h 189401"/>
                  <a:gd name="connsiteX17" fmla="*/ 30813 w 432346"/>
                  <a:gd name="connsiteY17" fmla="*/ 188863 h 189401"/>
                  <a:gd name="connsiteX18" fmla="*/ -283 w 432346"/>
                  <a:gd name="connsiteY18" fmla="*/ 157103 h 189401"/>
                  <a:gd name="connsiteX19" fmla="*/ -981 w 432346"/>
                  <a:gd name="connsiteY19" fmla="*/ 122319 h 18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2346" h="189401">
                    <a:moveTo>
                      <a:pt x="-981" y="122319"/>
                    </a:moveTo>
                    <a:lnTo>
                      <a:pt x="-981" y="115629"/>
                    </a:lnTo>
                    <a:cubicBezTo>
                      <a:pt x="-778" y="84975"/>
                      <a:pt x="-545" y="54320"/>
                      <a:pt x="-341" y="23666"/>
                    </a:cubicBezTo>
                    <a:lnTo>
                      <a:pt x="1928" y="14592"/>
                    </a:lnTo>
                    <a:lnTo>
                      <a:pt x="2626" y="13923"/>
                    </a:lnTo>
                    <a:cubicBezTo>
                      <a:pt x="4371" y="13923"/>
                      <a:pt x="5040" y="12905"/>
                      <a:pt x="4720" y="11218"/>
                    </a:cubicBezTo>
                    <a:cubicBezTo>
                      <a:pt x="5272" y="10787"/>
                      <a:pt x="5505" y="10093"/>
                      <a:pt x="5389" y="9415"/>
                    </a:cubicBezTo>
                    <a:cubicBezTo>
                      <a:pt x="9432" y="8356"/>
                      <a:pt x="12719" y="5427"/>
                      <a:pt x="14261" y="1533"/>
                    </a:cubicBezTo>
                    <a:lnTo>
                      <a:pt x="15570" y="1155"/>
                    </a:lnTo>
                    <a:cubicBezTo>
                      <a:pt x="46055" y="-2219"/>
                      <a:pt x="76657" y="515"/>
                      <a:pt x="107113" y="370"/>
                    </a:cubicBezTo>
                    <a:cubicBezTo>
                      <a:pt x="201011" y="-96"/>
                      <a:pt x="294881" y="137"/>
                      <a:pt x="388780" y="370"/>
                    </a:cubicBezTo>
                    <a:cubicBezTo>
                      <a:pt x="399281" y="370"/>
                      <a:pt x="409753" y="1620"/>
                      <a:pt x="420253" y="2318"/>
                    </a:cubicBezTo>
                    <a:lnTo>
                      <a:pt x="420545" y="2318"/>
                    </a:lnTo>
                    <a:cubicBezTo>
                      <a:pt x="422145" y="6602"/>
                      <a:pt x="425402" y="10060"/>
                      <a:pt x="429592" y="11916"/>
                    </a:cubicBezTo>
                    <a:cubicBezTo>
                      <a:pt x="429475" y="12925"/>
                      <a:pt x="429882" y="13920"/>
                      <a:pt x="430638" y="14592"/>
                    </a:cubicBezTo>
                    <a:cubicBezTo>
                      <a:pt x="430871" y="66265"/>
                      <a:pt x="431104" y="117956"/>
                      <a:pt x="431366" y="169667"/>
                    </a:cubicBezTo>
                    <a:cubicBezTo>
                      <a:pt x="425781" y="183831"/>
                      <a:pt x="414552" y="188863"/>
                      <a:pt x="400241" y="188863"/>
                    </a:cubicBezTo>
                    <a:cubicBezTo>
                      <a:pt x="277137" y="188863"/>
                      <a:pt x="154004" y="188863"/>
                      <a:pt x="30813" y="188863"/>
                    </a:cubicBezTo>
                    <a:cubicBezTo>
                      <a:pt x="10916" y="188863"/>
                      <a:pt x="124" y="176938"/>
                      <a:pt x="-283" y="157103"/>
                    </a:cubicBezTo>
                    <a:cubicBezTo>
                      <a:pt x="-400" y="145499"/>
                      <a:pt x="-633" y="133894"/>
                      <a:pt x="-981" y="122319"/>
                    </a:cubicBezTo>
                    <a:close/>
                  </a:path>
                </a:pathLst>
              </a:custGeom>
              <a:solidFill>
                <a:schemeClr val="accent1"/>
              </a:solidFill>
              <a:ln w="2907" cap="flat">
                <a:noFill/>
                <a:prstDash val="solid"/>
                <a:miter/>
              </a:ln>
            </p:spPr>
            <p:txBody>
              <a:bodyPr rtlCol="0" anchor="ctr"/>
              <a:lstStyle/>
              <a:p>
                <a:endParaRPr lang="en-US" sz="800"/>
              </a:p>
            </p:txBody>
          </p:sp>
          <p:sp>
            <p:nvSpPr>
              <p:cNvPr id="49" name="Graphic 38">
                <a:extLst>
                  <a:ext uri="{FF2B5EF4-FFF2-40B4-BE49-F238E27FC236}">
                    <a16:creationId xmlns:a16="http://schemas.microsoft.com/office/drawing/2014/main" id="{BF927D43-F542-D587-E275-DCFA7B7732E5}"/>
                  </a:ext>
                </a:extLst>
              </p:cNvPr>
              <p:cNvSpPr/>
              <p:nvPr/>
            </p:nvSpPr>
            <p:spPr>
              <a:xfrm>
                <a:off x="17122978" y="1294646"/>
                <a:ext cx="434223" cy="167007"/>
              </a:xfrm>
              <a:custGeom>
                <a:avLst/>
                <a:gdLst>
                  <a:gd name="connsiteX0" fmla="*/ -981 w 434223"/>
                  <a:gd name="connsiteY0" fmla="*/ 49202 h 167007"/>
                  <a:gd name="connsiteX1" fmla="*/ -981 w 434223"/>
                  <a:gd name="connsiteY1" fmla="*/ 45770 h 167007"/>
                  <a:gd name="connsiteX2" fmla="*/ -80 w 434223"/>
                  <a:gd name="connsiteY2" fmla="*/ 28320 h 167007"/>
                  <a:gd name="connsiteX3" fmla="*/ 26537 w 434223"/>
                  <a:gd name="connsiteY3" fmla="*/ 21 h 167007"/>
                  <a:gd name="connsiteX4" fmla="*/ 42332 w 434223"/>
                  <a:gd name="connsiteY4" fmla="*/ -473 h 167007"/>
                  <a:gd name="connsiteX5" fmla="*/ 391979 w 434223"/>
                  <a:gd name="connsiteY5" fmla="*/ -473 h 167007"/>
                  <a:gd name="connsiteX6" fmla="*/ 433111 w 434223"/>
                  <a:gd name="connsiteY6" fmla="*/ 39168 h 167007"/>
                  <a:gd name="connsiteX7" fmla="*/ 433111 w 434223"/>
                  <a:gd name="connsiteY7" fmla="*/ 132441 h 167007"/>
                  <a:gd name="connsiteX8" fmla="*/ 413883 w 434223"/>
                  <a:gd name="connsiteY8" fmla="*/ 165742 h 167007"/>
                  <a:gd name="connsiteX9" fmla="*/ 29678 w 434223"/>
                  <a:gd name="connsiteY9" fmla="*/ 166236 h 167007"/>
                  <a:gd name="connsiteX10" fmla="*/ 21824 w 434223"/>
                  <a:gd name="connsiteY10" fmla="*/ 166469 h 167007"/>
                  <a:gd name="connsiteX11" fmla="*/ -371 w 434223"/>
                  <a:gd name="connsiteY11" fmla="*/ 132353 h 167007"/>
                  <a:gd name="connsiteX12" fmla="*/ -981 w 434223"/>
                  <a:gd name="connsiteY12" fmla="*/ 49202 h 167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223" h="167007">
                    <a:moveTo>
                      <a:pt x="-981" y="49202"/>
                    </a:moveTo>
                    <a:lnTo>
                      <a:pt x="-981" y="45770"/>
                    </a:lnTo>
                    <a:cubicBezTo>
                      <a:pt x="-691" y="39954"/>
                      <a:pt x="-487" y="34137"/>
                      <a:pt x="-80" y="28320"/>
                    </a:cubicBezTo>
                    <a:cubicBezTo>
                      <a:pt x="1055" y="12237"/>
                      <a:pt x="10479" y="2144"/>
                      <a:pt x="26537" y="21"/>
                    </a:cubicBezTo>
                    <a:cubicBezTo>
                      <a:pt x="31773" y="-479"/>
                      <a:pt x="37066" y="-645"/>
                      <a:pt x="42332" y="-473"/>
                    </a:cubicBezTo>
                    <a:lnTo>
                      <a:pt x="391979" y="-473"/>
                    </a:lnTo>
                    <a:cubicBezTo>
                      <a:pt x="423977" y="-473"/>
                      <a:pt x="432704" y="7845"/>
                      <a:pt x="433111" y="39168"/>
                    </a:cubicBezTo>
                    <a:cubicBezTo>
                      <a:pt x="433518" y="70492"/>
                      <a:pt x="432820" y="101350"/>
                      <a:pt x="433111" y="132441"/>
                    </a:cubicBezTo>
                    <a:cubicBezTo>
                      <a:pt x="433314" y="147739"/>
                      <a:pt x="427759" y="158936"/>
                      <a:pt x="413883" y="165742"/>
                    </a:cubicBezTo>
                    <a:lnTo>
                      <a:pt x="29678" y="166236"/>
                    </a:lnTo>
                    <a:cubicBezTo>
                      <a:pt x="27060" y="166236"/>
                      <a:pt x="24442" y="166236"/>
                      <a:pt x="21824" y="166469"/>
                    </a:cubicBezTo>
                    <a:cubicBezTo>
                      <a:pt x="6145" y="160478"/>
                      <a:pt x="-545" y="149018"/>
                      <a:pt x="-371" y="132353"/>
                    </a:cubicBezTo>
                    <a:cubicBezTo>
                      <a:pt x="-80" y="104724"/>
                      <a:pt x="-720" y="76948"/>
                      <a:pt x="-981" y="49202"/>
                    </a:cubicBezTo>
                    <a:close/>
                  </a:path>
                </a:pathLst>
              </a:custGeom>
              <a:solidFill>
                <a:schemeClr val="tx2"/>
              </a:solidFill>
              <a:ln w="2907" cap="flat">
                <a:noFill/>
                <a:prstDash val="solid"/>
                <a:miter/>
              </a:ln>
            </p:spPr>
            <p:txBody>
              <a:bodyPr rtlCol="0" anchor="ctr"/>
              <a:lstStyle/>
              <a:p>
                <a:endParaRPr lang="en-US" sz="800"/>
              </a:p>
            </p:txBody>
          </p:sp>
          <p:sp>
            <p:nvSpPr>
              <p:cNvPr id="50" name="Graphic 38">
                <a:extLst>
                  <a:ext uri="{FF2B5EF4-FFF2-40B4-BE49-F238E27FC236}">
                    <a16:creationId xmlns:a16="http://schemas.microsoft.com/office/drawing/2014/main" id="{EDDA8AB2-B365-41F5-CAA5-5D6DEF9AC7A2}"/>
                  </a:ext>
                </a:extLst>
              </p:cNvPr>
              <p:cNvSpPr/>
              <p:nvPr/>
            </p:nvSpPr>
            <p:spPr>
              <a:xfrm>
                <a:off x="15277481" y="901263"/>
                <a:ext cx="430906" cy="136387"/>
              </a:xfrm>
              <a:custGeom>
                <a:avLst/>
                <a:gdLst>
                  <a:gd name="connsiteX0" fmla="*/ 212515 w 430906"/>
                  <a:gd name="connsiteY0" fmla="*/ -452 h 136387"/>
                  <a:gd name="connsiteX1" fmla="*/ 386438 w 430906"/>
                  <a:gd name="connsiteY1" fmla="*/ -452 h 136387"/>
                  <a:gd name="connsiteX2" fmla="*/ 429925 w 430906"/>
                  <a:gd name="connsiteY2" fmla="*/ 42040 h 136387"/>
                  <a:gd name="connsiteX3" fmla="*/ 429925 w 430906"/>
                  <a:gd name="connsiteY3" fmla="*/ 100528 h 136387"/>
                  <a:gd name="connsiteX4" fmla="*/ 393419 w 430906"/>
                  <a:gd name="connsiteY4" fmla="*/ 135429 h 136387"/>
                  <a:gd name="connsiteX5" fmla="*/ 156257 w 430906"/>
                  <a:gd name="connsiteY5" fmla="*/ 135429 h 136387"/>
                  <a:gd name="connsiteX6" fmla="*/ 36120 w 430906"/>
                  <a:gd name="connsiteY6" fmla="*/ 135807 h 136387"/>
                  <a:gd name="connsiteX7" fmla="*/ -299 w 430906"/>
                  <a:gd name="connsiteY7" fmla="*/ 102564 h 136387"/>
                  <a:gd name="connsiteX8" fmla="*/ -299 w 430906"/>
                  <a:gd name="connsiteY8" fmla="*/ 23572 h 136387"/>
                  <a:gd name="connsiteX9" fmla="*/ 29198 w 430906"/>
                  <a:gd name="connsiteY9" fmla="*/ -539 h 136387"/>
                  <a:gd name="connsiteX10" fmla="*/ 212515 w 430906"/>
                  <a:gd name="connsiteY10" fmla="*/ -452 h 13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906" h="136387">
                    <a:moveTo>
                      <a:pt x="212515" y="-452"/>
                    </a:moveTo>
                    <a:lnTo>
                      <a:pt x="386438" y="-452"/>
                    </a:lnTo>
                    <a:cubicBezTo>
                      <a:pt x="420035" y="-452"/>
                      <a:pt x="429925" y="9204"/>
                      <a:pt x="429925" y="42040"/>
                    </a:cubicBezTo>
                    <a:cubicBezTo>
                      <a:pt x="429925" y="61527"/>
                      <a:pt x="429925" y="81042"/>
                      <a:pt x="429925" y="100528"/>
                    </a:cubicBezTo>
                    <a:cubicBezTo>
                      <a:pt x="429925" y="124464"/>
                      <a:pt x="418580" y="135429"/>
                      <a:pt x="393419" y="135429"/>
                    </a:cubicBezTo>
                    <a:cubicBezTo>
                      <a:pt x="314385" y="135566"/>
                      <a:pt x="235350" y="135566"/>
                      <a:pt x="156257" y="135429"/>
                    </a:cubicBezTo>
                    <a:cubicBezTo>
                      <a:pt x="116202" y="135429"/>
                      <a:pt x="76117" y="134382"/>
                      <a:pt x="36120" y="135807"/>
                    </a:cubicBezTo>
                    <a:cubicBezTo>
                      <a:pt x="11977" y="136679"/>
                      <a:pt x="603" y="123999"/>
                      <a:pt x="-299" y="102564"/>
                    </a:cubicBezTo>
                    <a:cubicBezTo>
                      <a:pt x="-1375" y="76388"/>
                      <a:pt x="-1026" y="49893"/>
                      <a:pt x="-299" y="23572"/>
                    </a:cubicBezTo>
                    <a:cubicBezTo>
                      <a:pt x="21" y="9030"/>
                      <a:pt x="12471" y="-510"/>
                      <a:pt x="29198" y="-539"/>
                    </a:cubicBezTo>
                    <a:cubicBezTo>
                      <a:pt x="90284" y="-539"/>
                      <a:pt x="151400" y="-510"/>
                      <a:pt x="212515" y="-452"/>
                    </a:cubicBezTo>
                    <a:close/>
                  </a:path>
                </a:pathLst>
              </a:custGeom>
              <a:solidFill>
                <a:srgbClr val="EBECF1"/>
              </a:solidFill>
              <a:ln w="2907" cap="flat">
                <a:noFill/>
                <a:prstDash val="solid"/>
                <a:miter/>
              </a:ln>
            </p:spPr>
            <p:txBody>
              <a:bodyPr rtlCol="0" anchor="ctr"/>
              <a:lstStyle/>
              <a:p>
                <a:endParaRPr lang="en-US" sz="800"/>
              </a:p>
            </p:txBody>
          </p:sp>
          <p:sp>
            <p:nvSpPr>
              <p:cNvPr id="51" name="Graphic 38">
                <a:extLst>
                  <a:ext uri="{FF2B5EF4-FFF2-40B4-BE49-F238E27FC236}">
                    <a16:creationId xmlns:a16="http://schemas.microsoft.com/office/drawing/2014/main" id="{C3845ED4-F29C-11E8-E145-22695F68F1AD}"/>
                  </a:ext>
                </a:extLst>
              </p:cNvPr>
              <p:cNvSpPr/>
              <p:nvPr/>
            </p:nvSpPr>
            <p:spPr>
              <a:xfrm>
                <a:off x="14815207" y="901270"/>
                <a:ext cx="430988" cy="136194"/>
              </a:xfrm>
              <a:custGeom>
                <a:avLst/>
                <a:gdLst>
                  <a:gd name="connsiteX0" fmla="*/ 215361 w 430988"/>
                  <a:gd name="connsiteY0" fmla="*/ -487 h 136194"/>
                  <a:gd name="connsiteX1" fmla="*/ 394025 w 430988"/>
                  <a:gd name="connsiteY1" fmla="*/ -487 h 136194"/>
                  <a:gd name="connsiteX2" fmla="*/ 430007 w 430988"/>
                  <a:gd name="connsiteY2" fmla="*/ 35752 h 136194"/>
                  <a:gd name="connsiteX3" fmla="*/ 430007 w 430988"/>
                  <a:gd name="connsiteY3" fmla="*/ 100551 h 136194"/>
                  <a:gd name="connsiteX4" fmla="*/ 395101 w 430988"/>
                  <a:gd name="connsiteY4" fmla="*/ 135452 h 136194"/>
                  <a:gd name="connsiteX5" fmla="*/ 323950 w 430988"/>
                  <a:gd name="connsiteY5" fmla="*/ 135452 h 136194"/>
                  <a:gd name="connsiteX6" fmla="*/ 39315 w 430988"/>
                  <a:gd name="connsiteY6" fmla="*/ 135655 h 136194"/>
                  <a:gd name="connsiteX7" fmla="*/ -856 w 430988"/>
                  <a:gd name="connsiteY7" fmla="*/ 95228 h 136194"/>
                  <a:gd name="connsiteX8" fmla="*/ -565 w 430988"/>
                  <a:gd name="connsiteY8" fmla="*/ 32029 h 136194"/>
                  <a:gd name="connsiteX9" fmla="*/ 31927 w 430988"/>
                  <a:gd name="connsiteY9" fmla="*/ -487 h 136194"/>
                  <a:gd name="connsiteX10" fmla="*/ 215361 w 430988"/>
                  <a:gd name="connsiteY10" fmla="*/ -487 h 13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988" h="136194">
                    <a:moveTo>
                      <a:pt x="215361" y="-487"/>
                    </a:moveTo>
                    <a:cubicBezTo>
                      <a:pt x="274906" y="-487"/>
                      <a:pt x="334480" y="-487"/>
                      <a:pt x="394025" y="-487"/>
                    </a:cubicBezTo>
                    <a:cubicBezTo>
                      <a:pt x="420903" y="-487"/>
                      <a:pt x="429949" y="8704"/>
                      <a:pt x="430007" y="35752"/>
                    </a:cubicBezTo>
                    <a:cubicBezTo>
                      <a:pt x="430007" y="57332"/>
                      <a:pt x="430007" y="78933"/>
                      <a:pt x="430007" y="100551"/>
                    </a:cubicBezTo>
                    <a:cubicBezTo>
                      <a:pt x="430007" y="123818"/>
                      <a:pt x="418750" y="135161"/>
                      <a:pt x="395101" y="135452"/>
                    </a:cubicBezTo>
                    <a:cubicBezTo>
                      <a:pt x="371452" y="135742"/>
                      <a:pt x="347657" y="135452"/>
                      <a:pt x="323950" y="135452"/>
                    </a:cubicBezTo>
                    <a:cubicBezTo>
                      <a:pt x="229062" y="135452"/>
                      <a:pt x="134174" y="135161"/>
                      <a:pt x="39315" y="135655"/>
                    </a:cubicBezTo>
                    <a:cubicBezTo>
                      <a:pt x="11827" y="135801"/>
                      <a:pt x="-2485" y="119543"/>
                      <a:pt x="-856" y="95228"/>
                    </a:cubicBezTo>
                    <a:cubicBezTo>
                      <a:pt x="540" y="74259"/>
                      <a:pt x="-594" y="53086"/>
                      <a:pt x="-565" y="32029"/>
                    </a:cubicBezTo>
                    <a:cubicBezTo>
                      <a:pt x="-565" y="8529"/>
                      <a:pt x="8161" y="-400"/>
                      <a:pt x="31927" y="-487"/>
                    </a:cubicBezTo>
                    <a:cubicBezTo>
                      <a:pt x="93072" y="-603"/>
                      <a:pt x="154216" y="-487"/>
                      <a:pt x="215361" y="-487"/>
                    </a:cubicBezTo>
                    <a:close/>
                  </a:path>
                </a:pathLst>
              </a:custGeom>
              <a:solidFill>
                <a:srgbClr val="EBECF1"/>
              </a:solidFill>
              <a:ln w="2907" cap="flat">
                <a:noFill/>
                <a:prstDash val="solid"/>
                <a:miter/>
              </a:ln>
            </p:spPr>
            <p:txBody>
              <a:bodyPr rtlCol="0" anchor="ctr"/>
              <a:lstStyle/>
              <a:p>
                <a:endParaRPr lang="en-US" sz="800"/>
              </a:p>
            </p:txBody>
          </p:sp>
          <p:sp>
            <p:nvSpPr>
              <p:cNvPr id="52" name="Graphic 38">
                <a:extLst>
                  <a:ext uri="{FF2B5EF4-FFF2-40B4-BE49-F238E27FC236}">
                    <a16:creationId xmlns:a16="http://schemas.microsoft.com/office/drawing/2014/main" id="{33AA70B7-3EF5-6DEA-C43A-37B1BE113D18}"/>
                  </a:ext>
                </a:extLst>
              </p:cNvPr>
              <p:cNvSpPr/>
              <p:nvPr/>
            </p:nvSpPr>
            <p:spPr>
              <a:xfrm>
                <a:off x="14353517" y="901261"/>
                <a:ext cx="431158" cy="136562"/>
              </a:xfrm>
              <a:custGeom>
                <a:avLst/>
                <a:gdLst>
                  <a:gd name="connsiteX0" fmla="*/ 214014 w 431158"/>
                  <a:gd name="connsiteY0" fmla="*/ -478 h 136562"/>
                  <a:gd name="connsiteX1" fmla="*/ 394365 w 431158"/>
                  <a:gd name="connsiteY1" fmla="*/ -478 h 136562"/>
                  <a:gd name="connsiteX2" fmla="*/ 429970 w 431158"/>
                  <a:gd name="connsiteY2" fmla="*/ 34132 h 136562"/>
                  <a:gd name="connsiteX3" fmla="*/ 429970 w 431158"/>
                  <a:gd name="connsiteY3" fmla="*/ 95703 h 136562"/>
                  <a:gd name="connsiteX4" fmla="*/ 389856 w 431158"/>
                  <a:gd name="connsiteY4" fmla="*/ 134879 h 136562"/>
                  <a:gd name="connsiteX5" fmla="*/ 209505 w 431158"/>
                  <a:gd name="connsiteY5" fmla="*/ 135489 h 136562"/>
                  <a:gd name="connsiteX6" fmla="*/ 48208 w 431158"/>
                  <a:gd name="connsiteY6" fmla="*/ 135489 h 136562"/>
                  <a:gd name="connsiteX7" fmla="*/ -981 w 431158"/>
                  <a:gd name="connsiteY7" fmla="*/ 87355 h 136562"/>
                  <a:gd name="connsiteX8" fmla="*/ -981 w 431158"/>
                  <a:gd name="connsiteY8" fmla="*/ 32096 h 136562"/>
                  <a:gd name="connsiteX9" fmla="*/ 32238 w 431158"/>
                  <a:gd name="connsiteY9" fmla="*/ -420 h 136562"/>
                  <a:gd name="connsiteX10" fmla="*/ 214014 w 431158"/>
                  <a:gd name="connsiteY10" fmla="*/ -478 h 13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1158" h="136562">
                    <a:moveTo>
                      <a:pt x="214014" y="-478"/>
                    </a:moveTo>
                    <a:cubicBezTo>
                      <a:pt x="274112" y="-478"/>
                      <a:pt x="334209" y="-478"/>
                      <a:pt x="394365" y="-478"/>
                    </a:cubicBezTo>
                    <a:cubicBezTo>
                      <a:pt x="419730" y="-478"/>
                      <a:pt x="431948" y="11359"/>
                      <a:pt x="429970" y="34132"/>
                    </a:cubicBezTo>
                    <a:cubicBezTo>
                      <a:pt x="428486" y="54627"/>
                      <a:pt x="428486" y="75207"/>
                      <a:pt x="429970" y="95703"/>
                    </a:cubicBezTo>
                    <a:cubicBezTo>
                      <a:pt x="431686" y="123739"/>
                      <a:pt x="422319" y="133715"/>
                      <a:pt x="389856" y="134879"/>
                    </a:cubicBezTo>
                    <a:cubicBezTo>
                      <a:pt x="329846" y="137031"/>
                      <a:pt x="269690" y="135489"/>
                      <a:pt x="209505" y="135489"/>
                    </a:cubicBezTo>
                    <a:lnTo>
                      <a:pt x="48208" y="135489"/>
                    </a:lnTo>
                    <a:cubicBezTo>
                      <a:pt x="6116" y="135489"/>
                      <a:pt x="-981" y="128567"/>
                      <a:pt x="-981" y="87355"/>
                    </a:cubicBezTo>
                    <a:cubicBezTo>
                      <a:pt x="-981" y="68916"/>
                      <a:pt x="-981" y="50477"/>
                      <a:pt x="-981" y="32096"/>
                    </a:cubicBezTo>
                    <a:cubicBezTo>
                      <a:pt x="-720" y="9410"/>
                      <a:pt x="9142" y="-362"/>
                      <a:pt x="32238" y="-420"/>
                    </a:cubicBezTo>
                    <a:cubicBezTo>
                      <a:pt x="92801" y="-557"/>
                      <a:pt x="153393" y="-574"/>
                      <a:pt x="214014" y="-478"/>
                    </a:cubicBezTo>
                    <a:close/>
                  </a:path>
                </a:pathLst>
              </a:custGeom>
              <a:solidFill>
                <a:srgbClr val="EBECF1"/>
              </a:solidFill>
              <a:ln w="2907" cap="flat">
                <a:noFill/>
                <a:prstDash val="solid"/>
                <a:miter/>
              </a:ln>
            </p:spPr>
            <p:txBody>
              <a:bodyPr rtlCol="0" anchor="ctr"/>
              <a:lstStyle/>
              <a:p>
                <a:endParaRPr lang="en-US" sz="800"/>
              </a:p>
            </p:txBody>
          </p:sp>
          <p:sp>
            <p:nvSpPr>
              <p:cNvPr id="53" name="Graphic 38">
                <a:extLst>
                  <a:ext uri="{FF2B5EF4-FFF2-40B4-BE49-F238E27FC236}">
                    <a16:creationId xmlns:a16="http://schemas.microsoft.com/office/drawing/2014/main" id="{F0F5018F-5441-CE40-1894-EEC9BB5DD2FE}"/>
                  </a:ext>
                </a:extLst>
              </p:cNvPr>
              <p:cNvSpPr/>
              <p:nvPr/>
            </p:nvSpPr>
            <p:spPr>
              <a:xfrm>
                <a:off x="15740095" y="901599"/>
                <a:ext cx="431330" cy="135893"/>
              </a:xfrm>
              <a:custGeom>
                <a:avLst/>
                <a:gdLst>
                  <a:gd name="connsiteX0" fmla="*/ 214655 w 431330"/>
                  <a:gd name="connsiteY0" fmla="*/ 135209 h 135893"/>
                  <a:gd name="connsiteX1" fmla="*/ 34304 w 431330"/>
                  <a:gd name="connsiteY1" fmla="*/ 135209 h 135893"/>
                  <a:gd name="connsiteX2" fmla="*/ -981 w 431330"/>
                  <a:gd name="connsiteY2" fmla="*/ 99756 h 135893"/>
                  <a:gd name="connsiteX3" fmla="*/ -981 w 431330"/>
                  <a:gd name="connsiteY3" fmla="*/ 33299 h 135893"/>
                  <a:gd name="connsiteX4" fmla="*/ 30842 w 431330"/>
                  <a:gd name="connsiteY4" fmla="*/ -438 h 135893"/>
                  <a:gd name="connsiteX5" fmla="*/ 106473 w 431330"/>
                  <a:gd name="connsiteY5" fmla="*/ 492 h 135893"/>
                  <a:gd name="connsiteX6" fmla="*/ 170468 w 431330"/>
                  <a:gd name="connsiteY6" fmla="*/ 56 h 135893"/>
                  <a:gd name="connsiteX7" fmla="*/ 252062 w 431330"/>
                  <a:gd name="connsiteY7" fmla="*/ -206 h 135893"/>
                  <a:gd name="connsiteX8" fmla="*/ 322050 w 431330"/>
                  <a:gd name="connsiteY8" fmla="*/ -206 h 135893"/>
                  <a:gd name="connsiteX9" fmla="*/ 409869 w 431330"/>
                  <a:gd name="connsiteY9" fmla="*/ 3226 h 135893"/>
                  <a:gd name="connsiteX10" fmla="*/ 428835 w 431330"/>
                  <a:gd name="connsiteY10" fmla="*/ 23847 h 135893"/>
                  <a:gd name="connsiteX11" fmla="*/ 427585 w 431330"/>
                  <a:gd name="connsiteY11" fmla="*/ 110575 h 135893"/>
                  <a:gd name="connsiteX12" fmla="*/ 396779 w 431330"/>
                  <a:gd name="connsiteY12" fmla="*/ 135355 h 135893"/>
                  <a:gd name="connsiteX13" fmla="*/ 214655 w 431330"/>
                  <a:gd name="connsiteY13" fmla="*/ 135209 h 13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1330" h="135893">
                    <a:moveTo>
                      <a:pt x="214655" y="135209"/>
                    </a:moveTo>
                    <a:cubicBezTo>
                      <a:pt x="154527" y="135209"/>
                      <a:pt x="94430" y="135209"/>
                      <a:pt x="34304" y="135209"/>
                    </a:cubicBezTo>
                    <a:cubicBezTo>
                      <a:pt x="9811" y="135209"/>
                      <a:pt x="-981" y="124245"/>
                      <a:pt x="-981" y="99756"/>
                    </a:cubicBezTo>
                    <a:cubicBezTo>
                      <a:pt x="-981" y="77594"/>
                      <a:pt x="-981" y="55441"/>
                      <a:pt x="-981" y="33299"/>
                    </a:cubicBezTo>
                    <a:cubicBezTo>
                      <a:pt x="-981" y="11166"/>
                      <a:pt x="8705" y="-322"/>
                      <a:pt x="30842" y="-438"/>
                    </a:cubicBezTo>
                    <a:cubicBezTo>
                      <a:pt x="56062" y="-584"/>
                      <a:pt x="81398" y="260"/>
                      <a:pt x="106473" y="492"/>
                    </a:cubicBezTo>
                    <a:cubicBezTo>
                      <a:pt x="127591" y="667"/>
                      <a:pt x="149088" y="958"/>
                      <a:pt x="170468" y="56"/>
                    </a:cubicBezTo>
                    <a:cubicBezTo>
                      <a:pt x="197608" y="-1107"/>
                      <a:pt x="224865" y="-206"/>
                      <a:pt x="252062" y="-206"/>
                    </a:cubicBezTo>
                    <a:cubicBezTo>
                      <a:pt x="275333" y="-206"/>
                      <a:pt x="298605" y="551"/>
                      <a:pt x="322050" y="-206"/>
                    </a:cubicBezTo>
                    <a:cubicBezTo>
                      <a:pt x="351459" y="-1369"/>
                      <a:pt x="380693" y="842"/>
                      <a:pt x="409869" y="3226"/>
                    </a:cubicBezTo>
                    <a:cubicBezTo>
                      <a:pt x="420487" y="4337"/>
                      <a:pt x="428603" y="13176"/>
                      <a:pt x="428835" y="23847"/>
                    </a:cubicBezTo>
                    <a:cubicBezTo>
                      <a:pt x="429795" y="52727"/>
                      <a:pt x="432268" y="81840"/>
                      <a:pt x="427585" y="110575"/>
                    </a:cubicBezTo>
                    <a:cubicBezTo>
                      <a:pt x="424676" y="128229"/>
                      <a:pt x="414814" y="135326"/>
                      <a:pt x="396779" y="135355"/>
                    </a:cubicBezTo>
                    <a:cubicBezTo>
                      <a:pt x="336042" y="135355"/>
                      <a:pt x="275333" y="135305"/>
                      <a:pt x="214655" y="135209"/>
                    </a:cubicBezTo>
                    <a:close/>
                  </a:path>
                </a:pathLst>
              </a:custGeom>
              <a:solidFill>
                <a:srgbClr val="EBECF1"/>
              </a:solidFill>
              <a:ln w="2907" cap="flat">
                <a:noFill/>
                <a:prstDash val="solid"/>
                <a:miter/>
              </a:ln>
            </p:spPr>
            <p:txBody>
              <a:bodyPr rtlCol="0" anchor="ctr"/>
              <a:lstStyle/>
              <a:p>
                <a:endParaRPr lang="en-US" sz="800"/>
              </a:p>
            </p:txBody>
          </p:sp>
          <p:sp>
            <p:nvSpPr>
              <p:cNvPr id="54" name="Graphic 38">
                <a:extLst>
                  <a:ext uri="{FF2B5EF4-FFF2-40B4-BE49-F238E27FC236}">
                    <a16:creationId xmlns:a16="http://schemas.microsoft.com/office/drawing/2014/main" id="{664963A3-9A42-2255-3A04-DEC07FC4B641}"/>
                  </a:ext>
                </a:extLst>
              </p:cNvPr>
              <p:cNvSpPr/>
              <p:nvPr/>
            </p:nvSpPr>
            <p:spPr>
              <a:xfrm>
                <a:off x="16661170" y="904418"/>
                <a:ext cx="434709" cy="133249"/>
              </a:xfrm>
              <a:custGeom>
                <a:avLst/>
                <a:gdLst>
                  <a:gd name="connsiteX0" fmla="*/ 215666 w 434709"/>
                  <a:gd name="connsiteY0" fmla="*/ 132419 h 133249"/>
                  <a:gd name="connsiteX1" fmla="*/ 30631 w 434709"/>
                  <a:gd name="connsiteY1" fmla="*/ 132419 h 133249"/>
                  <a:gd name="connsiteX2" fmla="*/ -785 w 434709"/>
                  <a:gd name="connsiteY2" fmla="*/ 101125 h 133249"/>
                  <a:gd name="connsiteX3" fmla="*/ -785 w 434709"/>
                  <a:gd name="connsiteY3" fmla="*/ 31556 h 133249"/>
                  <a:gd name="connsiteX4" fmla="*/ 30690 w 434709"/>
                  <a:gd name="connsiteY4" fmla="*/ -436 h 133249"/>
                  <a:gd name="connsiteX5" fmla="*/ 403929 w 434709"/>
                  <a:gd name="connsiteY5" fmla="*/ -436 h 133249"/>
                  <a:gd name="connsiteX6" fmla="*/ 429701 w 434709"/>
                  <a:gd name="connsiteY6" fmla="*/ 19923 h 133249"/>
                  <a:gd name="connsiteX7" fmla="*/ 430050 w 434709"/>
                  <a:gd name="connsiteY7" fmla="*/ 110810 h 133249"/>
                  <a:gd name="connsiteX8" fmla="*/ 402329 w 434709"/>
                  <a:gd name="connsiteY8" fmla="*/ 132710 h 133249"/>
                  <a:gd name="connsiteX9" fmla="*/ 215666 w 434709"/>
                  <a:gd name="connsiteY9" fmla="*/ 132419 h 133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709" h="133249">
                    <a:moveTo>
                      <a:pt x="215666" y="132419"/>
                    </a:moveTo>
                    <a:cubicBezTo>
                      <a:pt x="153998" y="132419"/>
                      <a:pt x="92329" y="132419"/>
                      <a:pt x="30631" y="132419"/>
                    </a:cubicBezTo>
                    <a:cubicBezTo>
                      <a:pt x="11607" y="132419"/>
                      <a:pt x="-523" y="120466"/>
                      <a:pt x="-785" y="101125"/>
                    </a:cubicBezTo>
                    <a:cubicBezTo>
                      <a:pt x="-1075" y="77858"/>
                      <a:pt x="-1017" y="54765"/>
                      <a:pt x="-785" y="31556"/>
                    </a:cubicBezTo>
                    <a:cubicBezTo>
                      <a:pt x="-610" y="12942"/>
                      <a:pt x="12247" y="-436"/>
                      <a:pt x="30690" y="-436"/>
                    </a:cubicBezTo>
                    <a:cubicBezTo>
                      <a:pt x="155103" y="-573"/>
                      <a:pt x="279516" y="-573"/>
                      <a:pt x="403929" y="-436"/>
                    </a:cubicBezTo>
                    <a:cubicBezTo>
                      <a:pt x="418473" y="-436"/>
                      <a:pt x="427200" y="6544"/>
                      <a:pt x="429701" y="19923"/>
                    </a:cubicBezTo>
                    <a:cubicBezTo>
                      <a:pt x="434937" y="49981"/>
                      <a:pt x="435083" y="80711"/>
                      <a:pt x="430050" y="110810"/>
                    </a:cubicBezTo>
                    <a:cubicBezTo>
                      <a:pt x="427694" y="125992"/>
                      <a:pt x="418065" y="132798"/>
                      <a:pt x="402329" y="132710"/>
                    </a:cubicBezTo>
                    <a:cubicBezTo>
                      <a:pt x="340079" y="132216"/>
                      <a:pt x="278032" y="132390"/>
                      <a:pt x="215666" y="132419"/>
                    </a:cubicBezTo>
                    <a:close/>
                  </a:path>
                </a:pathLst>
              </a:custGeom>
              <a:solidFill>
                <a:srgbClr val="EBECF1"/>
              </a:solidFill>
              <a:ln w="2907" cap="flat">
                <a:noFill/>
                <a:prstDash val="solid"/>
                <a:miter/>
              </a:ln>
            </p:spPr>
            <p:txBody>
              <a:bodyPr rtlCol="0" anchor="ctr"/>
              <a:lstStyle/>
              <a:p>
                <a:endParaRPr lang="en-US" sz="800"/>
              </a:p>
            </p:txBody>
          </p:sp>
          <p:sp>
            <p:nvSpPr>
              <p:cNvPr id="55" name="Graphic 38">
                <a:extLst>
                  <a:ext uri="{FF2B5EF4-FFF2-40B4-BE49-F238E27FC236}">
                    <a16:creationId xmlns:a16="http://schemas.microsoft.com/office/drawing/2014/main" id="{03F18272-42A6-3447-84F4-13EF601679EE}"/>
                  </a:ext>
                </a:extLst>
              </p:cNvPr>
              <p:cNvSpPr/>
              <p:nvPr/>
            </p:nvSpPr>
            <p:spPr>
              <a:xfrm>
                <a:off x="17123167" y="904521"/>
                <a:ext cx="434213" cy="132907"/>
              </a:xfrm>
              <a:custGeom>
                <a:avLst/>
                <a:gdLst>
                  <a:gd name="connsiteX0" fmla="*/ 214930 w 434213"/>
                  <a:gd name="connsiteY0" fmla="*/ 132317 h 132907"/>
                  <a:gd name="connsiteX1" fmla="*/ 33038 w 434213"/>
                  <a:gd name="connsiteY1" fmla="*/ 132317 h 132907"/>
                  <a:gd name="connsiteX2" fmla="*/ -414 w 434213"/>
                  <a:gd name="connsiteY2" fmla="*/ 101255 h 132907"/>
                  <a:gd name="connsiteX3" fmla="*/ -414 w 434213"/>
                  <a:gd name="connsiteY3" fmla="*/ 30145 h 132907"/>
                  <a:gd name="connsiteX4" fmla="*/ 32456 w 434213"/>
                  <a:gd name="connsiteY4" fmla="*/ -539 h 132907"/>
                  <a:gd name="connsiteX5" fmla="*/ 399412 w 434213"/>
                  <a:gd name="connsiteY5" fmla="*/ -539 h 132907"/>
                  <a:gd name="connsiteX6" fmla="*/ 432893 w 434213"/>
                  <a:gd name="connsiteY6" fmla="*/ 32268 h 132907"/>
                  <a:gd name="connsiteX7" fmla="*/ 432893 w 434213"/>
                  <a:gd name="connsiteY7" fmla="*/ 98667 h 132907"/>
                  <a:gd name="connsiteX8" fmla="*/ 398364 w 434213"/>
                  <a:gd name="connsiteY8" fmla="*/ 132346 h 132907"/>
                  <a:gd name="connsiteX9" fmla="*/ 214930 w 434213"/>
                  <a:gd name="connsiteY9" fmla="*/ 132317 h 13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213" h="132907">
                    <a:moveTo>
                      <a:pt x="214930" y="132317"/>
                    </a:moveTo>
                    <a:lnTo>
                      <a:pt x="33038" y="132317"/>
                    </a:lnTo>
                    <a:cubicBezTo>
                      <a:pt x="12472" y="132317"/>
                      <a:pt x="226" y="121614"/>
                      <a:pt x="-414" y="101255"/>
                    </a:cubicBezTo>
                    <a:cubicBezTo>
                      <a:pt x="-1170" y="77581"/>
                      <a:pt x="-1170" y="53819"/>
                      <a:pt x="-414" y="30145"/>
                    </a:cubicBezTo>
                    <a:cubicBezTo>
                      <a:pt x="197" y="11357"/>
                      <a:pt x="13519" y="-539"/>
                      <a:pt x="32456" y="-539"/>
                    </a:cubicBezTo>
                    <a:cubicBezTo>
                      <a:pt x="154774" y="-539"/>
                      <a:pt x="277093" y="-539"/>
                      <a:pt x="399412" y="-539"/>
                    </a:cubicBezTo>
                    <a:cubicBezTo>
                      <a:pt x="420850" y="-539"/>
                      <a:pt x="432398" y="10630"/>
                      <a:pt x="432893" y="32268"/>
                    </a:cubicBezTo>
                    <a:cubicBezTo>
                      <a:pt x="433387" y="54401"/>
                      <a:pt x="433300" y="76534"/>
                      <a:pt x="432893" y="98667"/>
                    </a:cubicBezTo>
                    <a:cubicBezTo>
                      <a:pt x="432485" y="120800"/>
                      <a:pt x="420908" y="132317"/>
                      <a:pt x="398364" y="132346"/>
                    </a:cubicBezTo>
                    <a:cubicBezTo>
                      <a:pt x="337249" y="132384"/>
                      <a:pt x="276104" y="132375"/>
                      <a:pt x="214930" y="132317"/>
                    </a:cubicBezTo>
                    <a:close/>
                  </a:path>
                </a:pathLst>
              </a:custGeom>
              <a:solidFill>
                <a:srgbClr val="EBECF1"/>
              </a:solidFill>
              <a:ln w="2907" cap="flat">
                <a:noFill/>
                <a:prstDash val="solid"/>
                <a:miter/>
              </a:ln>
            </p:spPr>
            <p:txBody>
              <a:bodyPr rtlCol="0" anchor="ctr"/>
              <a:lstStyle/>
              <a:p>
                <a:endParaRPr lang="en-US" sz="800"/>
              </a:p>
            </p:txBody>
          </p:sp>
          <p:sp>
            <p:nvSpPr>
              <p:cNvPr id="56" name="Graphic 38">
                <a:extLst>
                  <a:ext uri="{FF2B5EF4-FFF2-40B4-BE49-F238E27FC236}">
                    <a16:creationId xmlns:a16="http://schemas.microsoft.com/office/drawing/2014/main" id="{6035DA22-2E1D-4E35-7743-45AC6656ECE3}"/>
                  </a:ext>
                </a:extLst>
              </p:cNvPr>
              <p:cNvSpPr/>
              <p:nvPr/>
            </p:nvSpPr>
            <p:spPr>
              <a:xfrm>
                <a:off x="16202375" y="904374"/>
                <a:ext cx="430612" cy="132914"/>
              </a:xfrm>
              <a:custGeom>
                <a:avLst/>
                <a:gdLst>
                  <a:gd name="connsiteX0" fmla="*/ 214101 w 430612"/>
                  <a:gd name="connsiteY0" fmla="*/ -480 h 132914"/>
                  <a:gd name="connsiteX1" fmla="*/ 395965 w 430612"/>
                  <a:gd name="connsiteY1" fmla="*/ -480 h 132914"/>
                  <a:gd name="connsiteX2" fmla="*/ 429388 w 430612"/>
                  <a:gd name="connsiteY2" fmla="*/ 33199 h 132914"/>
                  <a:gd name="connsiteX3" fmla="*/ 429388 w 430612"/>
                  <a:gd name="connsiteY3" fmla="*/ 96428 h 132914"/>
                  <a:gd name="connsiteX4" fmla="*/ 392008 w 430612"/>
                  <a:gd name="connsiteY4" fmla="*/ 132376 h 132914"/>
                  <a:gd name="connsiteX5" fmla="*/ 251248 w 430612"/>
                  <a:gd name="connsiteY5" fmla="*/ 132376 h 132914"/>
                  <a:gd name="connsiteX6" fmla="*/ 33082 w 430612"/>
                  <a:gd name="connsiteY6" fmla="*/ 132376 h 132914"/>
                  <a:gd name="connsiteX7" fmla="*/ -981 w 430612"/>
                  <a:gd name="connsiteY7" fmla="*/ 97969 h 132914"/>
                  <a:gd name="connsiteX8" fmla="*/ -981 w 430612"/>
                  <a:gd name="connsiteY8" fmla="*/ 30000 h 132914"/>
                  <a:gd name="connsiteX9" fmla="*/ 29213 w 430612"/>
                  <a:gd name="connsiteY9" fmla="*/ -480 h 132914"/>
                  <a:gd name="connsiteX10" fmla="*/ 214101 w 430612"/>
                  <a:gd name="connsiteY10" fmla="*/ -480 h 132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612" h="132914">
                    <a:moveTo>
                      <a:pt x="214101" y="-480"/>
                    </a:moveTo>
                    <a:lnTo>
                      <a:pt x="395965" y="-480"/>
                    </a:lnTo>
                    <a:cubicBezTo>
                      <a:pt x="419236" y="-480"/>
                      <a:pt x="429213" y="9583"/>
                      <a:pt x="429388" y="33199"/>
                    </a:cubicBezTo>
                    <a:cubicBezTo>
                      <a:pt x="429533" y="54256"/>
                      <a:pt x="429853" y="75342"/>
                      <a:pt x="429388" y="96428"/>
                    </a:cubicBezTo>
                    <a:cubicBezTo>
                      <a:pt x="428719" y="121935"/>
                      <a:pt x="417752" y="132318"/>
                      <a:pt x="392008" y="132376"/>
                    </a:cubicBezTo>
                    <a:cubicBezTo>
                      <a:pt x="345088" y="132376"/>
                      <a:pt x="298168" y="132376"/>
                      <a:pt x="251248" y="132376"/>
                    </a:cubicBezTo>
                    <a:lnTo>
                      <a:pt x="33082" y="132376"/>
                    </a:lnTo>
                    <a:cubicBezTo>
                      <a:pt x="8269" y="132376"/>
                      <a:pt x="-866" y="123156"/>
                      <a:pt x="-981" y="97969"/>
                    </a:cubicBezTo>
                    <a:cubicBezTo>
                      <a:pt x="-981" y="75322"/>
                      <a:pt x="-981" y="52665"/>
                      <a:pt x="-981" y="30000"/>
                    </a:cubicBezTo>
                    <a:cubicBezTo>
                      <a:pt x="-836" y="6937"/>
                      <a:pt x="6348" y="-422"/>
                      <a:pt x="29213" y="-480"/>
                    </a:cubicBezTo>
                    <a:cubicBezTo>
                      <a:pt x="90822" y="-558"/>
                      <a:pt x="152462" y="-558"/>
                      <a:pt x="214101" y="-480"/>
                    </a:cubicBezTo>
                    <a:close/>
                  </a:path>
                </a:pathLst>
              </a:custGeom>
              <a:solidFill>
                <a:srgbClr val="EBECF1"/>
              </a:solidFill>
              <a:ln w="2907" cap="flat">
                <a:noFill/>
                <a:prstDash val="solid"/>
                <a:miter/>
              </a:ln>
            </p:spPr>
            <p:txBody>
              <a:bodyPr rtlCol="0" anchor="ctr"/>
              <a:lstStyle/>
              <a:p>
                <a:endParaRPr lang="en-US" sz="800"/>
              </a:p>
            </p:txBody>
          </p:sp>
          <p:sp>
            <p:nvSpPr>
              <p:cNvPr id="57" name="Graphic 38">
                <a:extLst>
                  <a:ext uri="{FF2B5EF4-FFF2-40B4-BE49-F238E27FC236}">
                    <a16:creationId xmlns:a16="http://schemas.microsoft.com/office/drawing/2014/main" id="{3CB2774B-3302-E18A-E42F-3B0F62BFE431}"/>
                  </a:ext>
                </a:extLst>
              </p:cNvPr>
              <p:cNvSpPr/>
              <p:nvPr/>
            </p:nvSpPr>
            <p:spPr>
              <a:xfrm>
                <a:off x="17459562" y="714467"/>
                <a:ext cx="68706" cy="53634"/>
              </a:xfrm>
              <a:custGeom>
                <a:avLst/>
                <a:gdLst>
                  <a:gd name="connsiteX0" fmla="*/ 33637 w 68706"/>
                  <a:gd name="connsiteY0" fmla="*/ -461 h 53634"/>
                  <a:gd name="connsiteX1" fmla="*/ 55774 w 68706"/>
                  <a:gd name="connsiteY1" fmla="*/ -461 h 53634"/>
                  <a:gd name="connsiteX2" fmla="*/ 64500 w 68706"/>
                  <a:gd name="connsiteY2" fmla="*/ 16059 h 53634"/>
                  <a:gd name="connsiteX3" fmla="*/ 42538 w 68706"/>
                  <a:gd name="connsiteY3" fmla="*/ 46859 h 53634"/>
                  <a:gd name="connsiteX4" fmla="*/ 22758 w 68706"/>
                  <a:gd name="connsiteY4" fmla="*/ 45259 h 53634"/>
                  <a:gd name="connsiteX5" fmla="*/ 4373 w 68706"/>
                  <a:gd name="connsiteY5" fmla="*/ 17775 h 53634"/>
                  <a:gd name="connsiteX6" fmla="*/ 359 w 68706"/>
                  <a:gd name="connsiteY6" fmla="*/ 3785 h 53634"/>
                  <a:gd name="connsiteX7" fmla="*/ 14729 w 68706"/>
                  <a:gd name="connsiteY7" fmla="*/ -490 h 53634"/>
                  <a:gd name="connsiteX8" fmla="*/ 33637 w 68706"/>
                  <a:gd name="connsiteY8" fmla="*/ -461 h 5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06" h="53634">
                    <a:moveTo>
                      <a:pt x="33637" y="-461"/>
                    </a:moveTo>
                    <a:cubicBezTo>
                      <a:pt x="41026" y="-461"/>
                      <a:pt x="48385" y="-636"/>
                      <a:pt x="55774" y="-461"/>
                    </a:cubicBezTo>
                    <a:cubicBezTo>
                      <a:pt x="68224" y="-83"/>
                      <a:pt x="70609" y="6403"/>
                      <a:pt x="64500" y="16059"/>
                    </a:cubicBezTo>
                    <a:cubicBezTo>
                      <a:pt x="57781" y="26738"/>
                      <a:pt x="50450" y="37022"/>
                      <a:pt x="42538" y="46859"/>
                    </a:cubicBezTo>
                    <a:cubicBezTo>
                      <a:pt x="35935" y="54973"/>
                      <a:pt x="28983" y="55904"/>
                      <a:pt x="22758" y="45259"/>
                    </a:cubicBezTo>
                    <a:cubicBezTo>
                      <a:pt x="17202" y="35778"/>
                      <a:pt x="10395" y="26994"/>
                      <a:pt x="4373" y="17775"/>
                    </a:cubicBezTo>
                    <a:cubicBezTo>
                      <a:pt x="1639" y="13587"/>
                      <a:pt x="-3393" y="9689"/>
                      <a:pt x="359" y="3785"/>
                    </a:cubicBezTo>
                    <a:cubicBezTo>
                      <a:pt x="3763" y="-1624"/>
                      <a:pt x="9580" y="-374"/>
                      <a:pt x="14729" y="-490"/>
                    </a:cubicBezTo>
                    <a:cubicBezTo>
                      <a:pt x="21013" y="-577"/>
                      <a:pt x="27325" y="-461"/>
                      <a:pt x="33637" y="-461"/>
                    </a:cubicBezTo>
                    <a:close/>
                  </a:path>
                </a:pathLst>
              </a:custGeom>
              <a:solidFill>
                <a:srgbClr val="DBDEE5"/>
              </a:solidFill>
              <a:ln w="2907" cap="flat">
                <a:noFill/>
                <a:prstDash val="solid"/>
                <a:miter/>
              </a:ln>
            </p:spPr>
            <p:txBody>
              <a:bodyPr rtlCol="0" anchor="ctr"/>
              <a:lstStyle/>
              <a:p>
                <a:endParaRPr lang="en-US" sz="800"/>
              </a:p>
            </p:txBody>
          </p:sp>
          <p:sp>
            <p:nvSpPr>
              <p:cNvPr id="58" name="Graphic 38">
                <a:extLst>
                  <a:ext uri="{FF2B5EF4-FFF2-40B4-BE49-F238E27FC236}">
                    <a16:creationId xmlns:a16="http://schemas.microsoft.com/office/drawing/2014/main" id="{E9D0C82F-4066-79EC-238F-85A16AFAC338}"/>
                  </a:ext>
                </a:extLst>
              </p:cNvPr>
              <p:cNvSpPr/>
              <p:nvPr/>
            </p:nvSpPr>
            <p:spPr>
              <a:xfrm>
                <a:off x="17028003" y="2230546"/>
                <a:ext cx="634020" cy="2384"/>
              </a:xfrm>
              <a:custGeom>
                <a:avLst/>
                <a:gdLst>
                  <a:gd name="connsiteX0" fmla="*/ 634020 w 634020"/>
                  <a:gd name="connsiteY0" fmla="*/ 1192 h 2384"/>
                  <a:gd name="connsiteX1" fmla="*/ 317010 w 634020"/>
                  <a:gd name="connsiteY1" fmla="*/ 2385 h 2384"/>
                  <a:gd name="connsiteX2" fmla="*/ 0 w 634020"/>
                  <a:gd name="connsiteY2" fmla="*/ 1192 h 2384"/>
                  <a:gd name="connsiteX3" fmla="*/ 317010 w 634020"/>
                  <a:gd name="connsiteY3" fmla="*/ 0 h 2384"/>
                  <a:gd name="connsiteX4" fmla="*/ 634020 w 634020"/>
                  <a:gd name="connsiteY4" fmla="*/ 1192 h 2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020" h="2384">
                    <a:moveTo>
                      <a:pt x="634020" y="1192"/>
                    </a:moveTo>
                    <a:cubicBezTo>
                      <a:pt x="634020" y="1851"/>
                      <a:pt x="492090" y="2385"/>
                      <a:pt x="317010" y="2385"/>
                    </a:cubicBezTo>
                    <a:cubicBezTo>
                      <a:pt x="141930" y="2385"/>
                      <a:pt x="0" y="1851"/>
                      <a:pt x="0" y="1192"/>
                    </a:cubicBezTo>
                    <a:cubicBezTo>
                      <a:pt x="0" y="534"/>
                      <a:pt x="141930" y="0"/>
                      <a:pt x="317010" y="0"/>
                    </a:cubicBezTo>
                    <a:cubicBezTo>
                      <a:pt x="492090" y="0"/>
                      <a:pt x="634020" y="534"/>
                      <a:pt x="634020" y="1192"/>
                    </a:cubicBezTo>
                    <a:close/>
                  </a:path>
                </a:pathLst>
              </a:custGeom>
              <a:solidFill>
                <a:srgbClr val="DBDEE5"/>
              </a:solidFill>
              <a:ln w="2907" cap="flat">
                <a:noFill/>
                <a:prstDash val="solid"/>
                <a:miter/>
              </a:ln>
            </p:spPr>
            <p:txBody>
              <a:bodyPr rtlCol="0" anchor="ctr"/>
              <a:lstStyle/>
              <a:p>
                <a:endParaRPr lang="en-US" sz="800"/>
              </a:p>
            </p:txBody>
          </p:sp>
          <p:sp>
            <p:nvSpPr>
              <p:cNvPr id="59" name="Graphic 38">
                <a:extLst>
                  <a:ext uri="{FF2B5EF4-FFF2-40B4-BE49-F238E27FC236}">
                    <a16:creationId xmlns:a16="http://schemas.microsoft.com/office/drawing/2014/main" id="{828F462C-8565-2701-E8C4-AEC21B19097E}"/>
                  </a:ext>
                </a:extLst>
              </p:cNvPr>
              <p:cNvSpPr/>
              <p:nvPr/>
            </p:nvSpPr>
            <p:spPr>
              <a:xfrm>
                <a:off x="14335886" y="2942318"/>
                <a:ext cx="20947" cy="319167"/>
              </a:xfrm>
              <a:custGeom>
                <a:avLst/>
                <a:gdLst>
                  <a:gd name="connsiteX0" fmla="*/ 17145 w 20947"/>
                  <a:gd name="connsiteY0" fmla="*/ -539 h 319167"/>
                  <a:gd name="connsiteX1" fmla="*/ 16621 w 20947"/>
                  <a:gd name="connsiteY1" fmla="*/ 300190 h 319167"/>
                  <a:gd name="connsiteX2" fmla="*/ 19967 w 20947"/>
                  <a:gd name="connsiteY2" fmla="*/ 318629 h 319167"/>
                  <a:gd name="connsiteX3" fmla="*/ 12345 w 20947"/>
                  <a:gd name="connsiteY3" fmla="*/ 293500 h 319167"/>
                  <a:gd name="connsiteX4" fmla="*/ 13305 w 20947"/>
                  <a:gd name="connsiteY4" fmla="*/ 267325 h 319167"/>
                  <a:gd name="connsiteX5" fmla="*/ 13305 w 20947"/>
                  <a:gd name="connsiteY5" fmla="*/ 199414 h 319167"/>
                  <a:gd name="connsiteX6" fmla="*/ 3182 w 20947"/>
                  <a:gd name="connsiteY6" fmla="*/ 181498 h 319167"/>
                  <a:gd name="connsiteX7" fmla="*/ 3910 w 20947"/>
                  <a:gd name="connsiteY7" fmla="*/ 173616 h 319167"/>
                  <a:gd name="connsiteX8" fmla="*/ 13276 w 20947"/>
                  <a:gd name="connsiteY8" fmla="*/ 158085 h 319167"/>
                  <a:gd name="connsiteX9" fmla="*/ 11996 w 20947"/>
                  <a:gd name="connsiteY9" fmla="*/ 69874 h 319167"/>
                  <a:gd name="connsiteX10" fmla="*/ 13422 w 20947"/>
                  <a:gd name="connsiteY10" fmla="*/ 12549 h 319167"/>
                  <a:gd name="connsiteX11" fmla="*/ 17145 w 20947"/>
                  <a:gd name="connsiteY11" fmla="*/ -539 h 319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47" h="319167">
                    <a:moveTo>
                      <a:pt x="17145" y="-539"/>
                    </a:moveTo>
                    <a:cubicBezTo>
                      <a:pt x="16912" y="99714"/>
                      <a:pt x="16738" y="199966"/>
                      <a:pt x="16621" y="300190"/>
                    </a:cubicBezTo>
                    <a:cubicBezTo>
                      <a:pt x="16621" y="306355"/>
                      <a:pt x="18803" y="312492"/>
                      <a:pt x="19967" y="318629"/>
                    </a:cubicBezTo>
                    <a:cubicBezTo>
                      <a:pt x="11560" y="312143"/>
                      <a:pt x="1873" y="307490"/>
                      <a:pt x="12345" y="293500"/>
                    </a:cubicBezTo>
                    <a:cubicBezTo>
                      <a:pt x="16650" y="287683"/>
                      <a:pt x="13305" y="276050"/>
                      <a:pt x="13305" y="267325"/>
                    </a:cubicBezTo>
                    <a:cubicBezTo>
                      <a:pt x="13305" y="244698"/>
                      <a:pt x="13305" y="222041"/>
                      <a:pt x="13305" y="199414"/>
                    </a:cubicBezTo>
                    <a:cubicBezTo>
                      <a:pt x="13305" y="191474"/>
                      <a:pt x="14498" y="183825"/>
                      <a:pt x="3182" y="181498"/>
                    </a:cubicBezTo>
                    <a:cubicBezTo>
                      <a:pt x="-2025" y="180422"/>
                      <a:pt x="-2955" y="174983"/>
                      <a:pt x="3910" y="173616"/>
                    </a:cubicBezTo>
                    <a:cubicBezTo>
                      <a:pt x="13276" y="171726"/>
                      <a:pt x="13276" y="165182"/>
                      <a:pt x="13276" y="158085"/>
                    </a:cubicBezTo>
                    <a:cubicBezTo>
                      <a:pt x="13276" y="128594"/>
                      <a:pt x="16941" y="98492"/>
                      <a:pt x="11996" y="69874"/>
                    </a:cubicBezTo>
                    <a:cubicBezTo>
                      <a:pt x="8535" y="49719"/>
                      <a:pt x="16854" y="31657"/>
                      <a:pt x="13422" y="12549"/>
                    </a:cubicBezTo>
                    <a:cubicBezTo>
                      <a:pt x="12694" y="7983"/>
                      <a:pt x="12404" y="2777"/>
                      <a:pt x="17145" y="-539"/>
                    </a:cubicBezTo>
                    <a:close/>
                  </a:path>
                </a:pathLst>
              </a:custGeom>
              <a:solidFill>
                <a:srgbClr val="DBDEE5"/>
              </a:solidFill>
              <a:ln w="2907" cap="flat">
                <a:noFill/>
                <a:prstDash val="solid"/>
                <a:miter/>
              </a:ln>
            </p:spPr>
            <p:txBody>
              <a:bodyPr rtlCol="0" anchor="ctr"/>
              <a:lstStyle/>
              <a:p>
                <a:endParaRPr lang="en-US" sz="800"/>
              </a:p>
            </p:txBody>
          </p:sp>
          <p:sp>
            <p:nvSpPr>
              <p:cNvPr id="60" name="Graphic 38">
                <a:extLst>
                  <a:ext uri="{FF2B5EF4-FFF2-40B4-BE49-F238E27FC236}">
                    <a16:creationId xmlns:a16="http://schemas.microsoft.com/office/drawing/2014/main" id="{8FE02EA1-2C2E-CCCD-6872-D03B9FF635CC}"/>
                  </a:ext>
                </a:extLst>
              </p:cNvPr>
              <p:cNvSpPr/>
              <p:nvPr/>
            </p:nvSpPr>
            <p:spPr>
              <a:xfrm>
                <a:off x="14366404" y="3270676"/>
                <a:ext cx="404771" cy="6787"/>
              </a:xfrm>
              <a:custGeom>
                <a:avLst/>
                <a:gdLst>
                  <a:gd name="connsiteX0" fmla="*/ -981 w 404771"/>
                  <a:gd name="connsiteY0" fmla="*/ -539 h 6787"/>
                  <a:gd name="connsiteX1" fmla="*/ 36631 w 404771"/>
                  <a:gd name="connsiteY1" fmla="*/ 2661 h 6787"/>
                  <a:gd name="connsiteX2" fmla="*/ 370949 w 404771"/>
                  <a:gd name="connsiteY2" fmla="*/ 2661 h 6787"/>
                  <a:gd name="connsiteX3" fmla="*/ 403790 w 404771"/>
                  <a:gd name="connsiteY3" fmla="*/ -248 h 6787"/>
                  <a:gd name="connsiteX4" fmla="*/ 387384 w 404771"/>
                  <a:gd name="connsiteY4" fmla="*/ 6209 h 6787"/>
                  <a:gd name="connsiteX5" fmla="*/ 17287 w 404771"/>
                  <a:gd name="connsiteY5" fmla="*/ 6209 h 6787"/>
                  <a:gd name="connsiteX6" fmla="*/ -981 w 404771"/>
                  <a:gd name="connsiteY6" fmla="*/ -539 h 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771" h="6787">
                    <a:moveTo>
                      <a:pt x="-981" y="-539"/>
                    </a:moveTo>
                    <a:cubicBezTo>
                      <a:pt x="11411" y="1817"/>
                      <a:pt x="24006" y="2893"/>
                      <a:pt x="36631" y="2661"/>
                    </a:cubicBezTo>
                    <a:cubicBezTo>
                      <a:pt x="148070" y="2544"/>
                      <a:pt x="259509" y="2544"/>
                      <a:pt x="370949" y="2661"/>
                    </a:cubicBezTo>
                    <a:cubicBezTo>
                      <a:pt x="381973" y="2980"/>
                      <a:pt x="392998" y="2021"/>
                      <a:pt x="403790" y="-248"/>
                    </a:cubicBezTo>
                    <a:cubicBezTo>
                      <a:pt x="400415" y="7169"/>
                      <a:pt x="393638" y="6209"/>
                      <a:pt x="387384" y="6209"/>
                    </a:cubicBezTo>
                    <a:cubicBezTo>
                      <a:pt x="264018" y="6209"/>
                      <a:pt x="140652" y="6209"/>
                      <a:pt x="17287" y="6209"/>
                    </a:cubicBezTo>
                    <a:cubicBezTo>
                      <a:pt x="10422" y="6238"/>
                      <a:pt x="3411" y="6296"/>
                      <a:pt x="-981" y="-539"/>
                    </a:cubicBezTo>
                    <a:close/>
                  </a:path>
                </a:pathLst>
              </a:custGeom>
              <a:solidFill>
                <a:srgbClr val="DBDEE5"/>
              </a:solidFill>
              <a:ln w="2907" cap="flat">
                <a:noFill/>
                <a:prstDash val="solid"/>
                <a:miter/>
              </a:ln>
            </p:spPr>
            <p:txBody>
              <a:bodyPr rtlCol="0" anchor="ctr"/>
              <a:lstStyle/>
              <a:p>
                <a:endParaRPr lang="en-US" sz="800"/>
              </a:p>
            </p:txBody>
          </p:sp>
          <p:sp>
            <p:nvSpPr>
              <p:cNvPr id="61" name="Graphic 38">
                <a:extLst>
                  <a:ext uri="{FF2B5EF4-FFF2-40B4-BE49-F238E27FC236}">
                    <a16:creationId xmlns:a16="http://schemas.microsoft.com/office/drawing/2014/main" id="{76182B99-7394-19B3-78F4-249FC94428EF}"/>
                  </a:ext>
                </a:extLst>
              </p:cNvPr>
              <p:cNvSpPr/>
              <p:nvPr/>
            </p:nvSpPr>
            <p:spPr>
              <a:xfrm>
                <a:off x="14369225" y="2922556"/>
                <a:ext cx="399040" cy="3650"/>
              </a:xfrm>
              <a:custGeom>
                <a:avLst/>
                <a:gdLst>
                  <a:gd name="connsiteX0" fmla="*/ 398059 w 399040"/>
                  <a:gd name="connsiteY0" fmla="*/ 2820 h 3650"/>
                  <a:gd name="connsiteX1" fmla="*/ -981 w 399040"/>
                  <a:gd name="connsiteY1" fmla="*/ 3111 h 3650"/>
                  <a:gd name="connsiteX2" fmla="*/ 17054 w 399040"/>
                  <a:gd name="connsiteY2" fmla="*/ -291 h 3650"/>
                  <a:gd name="connsiteX3" fmla="*/ 381508 w 399040"/>
                  <a:gd name="connsiteY3" fmla="*/ -291 h 3650"/>
                  <a:gd name="connsiteX4" fmla="*/ 398059 w 399040"/>
                  <a:gd name="connsiteY4" fmla="*/ 2820 h 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040" h="3650">
                    <a:moveTo>
                      <a:pt x="398059" y="2820"/>
                    </a:moveTo>
                    <a:cubicBezTo>
                      <a:pt x="265036" y="1773"/>
                      <a:pt x="132042" y="1192"/>
                      <a:pt x="-981" y="3111"/>
                    </a:cubicBezTo>
                    <a:cubicBezTo>
                      <a:pt x="4284" y="-1949"/>
                      <a:pt x="10916" y="-262"/>
                      <a:pt x="17054" y="-291"/>
                    </a:cubicBezTo>
                    <a:cubicBezTo>
                      <a:pt x="138529" y="-291"/>
                      <a:pt x="260004" y="-291"/>
                      <a:pt x="381508" y="-291"/>
                    </a:cubicBezTo>
                    <a:cubicBezTo>
                      <a:pt x="387151" y="-321"/>
                      <a:pt x="393201" y="-1658"/>
                      <a:pt x="398059" y="2820"/>
                    </a:cubicBezTo>
                    <a:close/>
                  </a:path>
                </a:pathLst>
              </a:custGeom>
              <a:solidFill>
                <a:srgbClr val="DBDEE5"/>
              </a:solidFill>
              <a:ln w="2907" cap="flat">
                <a:noFill/>
                <a:prstDash val="solid"/>
                <a:miter/>
              </a:ln>
            </p:spPr>
            <p:txBody>
              <a:bodyPr rtlCol="0" anchor="ctr"/>
              <a:lstStyle/>
              <a:p>
                <a:endParaRPr lang="en-US" sz="800"/>
              </a:p>
            </p:txBody>
          </p:sp>
          <p:sp>
            <p:nvSpPr>
              <p:cNvPr id="62" name="Graphic 38">
                <a:extLst>
                  <a:ext uri="{FF2B5EF4-FFF2-40B4-BE49-F238E27FC236}">
                    <a16:creationId xmlns:a16="http://schemas.microsoft.com/office/drawing/2014/main" id="{86809C88-D430-C39B-E6AF-613F4A9A4E5E}"/>
                  </a:ext>
                </a:extLst>
              </p:cNvPr>
              <p:cNvSpPr/>
              <p:nvPr/>
            </p:nvSpPr>
            <p:spPr>
              <a:xfrm>
                <a:off x="14341461" y="1163921"/>
                <a:ext cx="15663" cy="293660"/>
              </a:xfrm>
              <a:custGeom>
                <a:avLst/>
                <a:gdLst>
                  <a:gd name="connsiteX0" fmla="*/ 14042 w 15663"/>
                  <a:gd name="connsiteY0" fmla="*/ -539 h 293660"/>
                  <a:gd name="connsiteX1" fmla="*/ 10784 w 15663"/>
                  <a:gd name="connsiteY1" fmla="*/ 63679 h 293660"/>
                  <a:gd name="connsiteX2" fmla="*/ 10784 w 15663"/>
                  <a:gd name="connsiteY2" fmla="*/ 249496 h 293660"/>
                  <a:gd name="connsiteX3" fmla="*/ 14682 w 15663"/>
                  <a:gd name="connsiteY3" fmla="*/ 293122 h 293660"/>
                  <a:gd name="connsiteX4" fmla="*/ 7759 w 15663"/>
                  <a:gd name="connsiteY4" fmla="*/ 277155 h 293660"/>
                  <a:gd name="connsiteX5" fmla="*/ 7584 w 15663"/>
                  <a:gd name="connsiteY5" fmla="*/ 199675 h 293660"/>
                  <a:gd name="connsiteX6" fmla="*/ 1534 w 15663"/>
                  <a:gd name="connsiteY6" fmla="*/ 181760 h 293660"/>
                  <a:gd name="connsiteX7" fmla="*/ 661 w 15663"/>
                  <a:gd name="connsiteY7" fmla="*/ 175332 h 293660"/>
                  <a:gd name="connsiteX8" fmla="*/ 7497 w 15663"/>
                  <a:gd name="connsiteY8" fmla="*/ 151425 h 293660"/>
                  <a:gd name="connsiteX9" fmla="*/ 8515 w 15663"/>
                  <a:gd name="connsiteY9" fmla="*/ 77203 h 293660"/>
                  <a:gd name="connsiteX10" fmla="*/ 2145 w 15663"/>
                  <a:gd name="connsiteY10" fmla="*/ 47421 h 293660"/>
                  <a:gd name="connsiteX11" fmla="*/ 7613 w 15663"/>
                  <a:gd name="connsiteY11" fmla="*/ 13625 h 293660"/>
                  <a:gd name="connsiteX12" fmla="*/ 14042 w 15663"/>
                  <a:gd name="connsiteY12" fmla="*/ -539 h 29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663" h="293660">
                    <a:moveTo>
                      <a:pt x="14042" y="-539"/>
                    </a:moveTo>
                    <a:cubicBezTo>
                      <a:pt x="9213" y="20693"/>
                      <a:pt x="10784" y="42215"/>
                      <a:pt x="10784" y="63679"/>
                    </a:cubicBezTo>
                    <a:cubicBezTo>
                      <a:pt x="10784" y="125599"/>
                      <a:pt x="10784" y="187547"/>
                      <a:pt x="10784" y="249496"/>
                    </a:cubicBezTo>
                    <a:cubicBezTo>
                      <a:pt x="10784" y="264038"/>
                      <a:pt x="10464" y="278842"/>
                      <a:pt x="14682" y="293122"/>
                    </a:cubicBezTo>
                    <a:cubicBezTo>
                      <a:pt x="6741" y="290214"/>
                      <a:pt x="7759" y="283379"/>
                      <a:pt x="7759" y="277155"/>
                    </a:cubicBezTo>
                    <a:cubicBezTo>
                      <a:pt x="7759" y="251328"/>
                      <a:pt x="7759" y="225502"/>
                      <a:pt x="7584" y="199675"/>
                    </a:cubicBezTo>
                    <a:cubicBezTo>
                      <a:pt x="7584" y="193248"/>
                      <a:pt x="10173" y="185657"/>
                      <a:pt x="1534" y="181760"/>
                    </a:cubicBezTo>
                    <a:cubicBezTo>
                      <a:pt x="-1084" y="180567"/>
                      <a:pt x="-2102" y="176786"/>
                      <a:pt x="661" y="175332"/>
                    </a:cubicBezTo>
                    <a:cubicBezTo>
                      <a:pt x="11541" y="169515"/>
                      <a:pt x="7352" y="159685"/>
                      <a:pt x="7497" y="151425"/>
                    </a:cubicBezTo>
                    <a:cubicBezTo>
                      <a:pt x="7992" y="126675"/>
                      <a:pt x="5694" y="101662"/>
                      <a:pt x="8515" y="77203"/>
                    </a:cubicBezTo>
                    <a:cubicBezTo>
                      <a:pt x="9941" y="64871"/>
                      <a:pt x="-5273" y="55739"/>
                      <a:pt x="2145" y="47421"/>
                    </a:cubicBezTo>
                    <a:cubicBezTo>
                      <a:pt x="12297" y="35991"/>
                      <a:pt x="4821" y="24561"/>
                      <a:pt x="7613" y="13625"/>
                    </a:cubicBezTo>
                    <a:cubicBezTo>
                      <a:pt x="8835" y="8565"/>
                      <a:pt x="5926" y="1584"/>
                      <a:pt x="14042" y="-539"/>
                    </a:cubicBezTo>
                    <a:close/>
                  </a:path>
                </a:pathLst>
              </a:custGeom>
              <a:solidFill>
                <a:srgbClr val="DBDEE5"/>
              </a:solidFill>
              <a:ln w="2907" cap="flat">
                <a:noFill/>
                <a:prstDash val="solid"/>
                <a:miter/>
              </a:ln>
            </p:spPr>
            <p:txBody>
              <a:bodyPr rtlCol="0" anchor="ctr"/>
              <a:lstStyle/>
              <a:p>
                <a:endParaRPr lang="en-US" sz="800"/>
              </a:p>
            </p:txBody>
          </p:sp>
          <p:sp>
            <p:nvSpPr>
              <p:cNvPr id="63" name="Graphic 38">
                <a:extLst>
                  <a:ext uri="{FF2B5EF4-FFF2-40B4-BE49-F238E27FC236}">
                    <a16:creationId xmlns:a16="http://schemas.microsoft.com/office/drawing/2014/main" id="{9F7B02B2-E72C-2144-596B-A956FE38841C}"/>
                  </a:ext>
                </a:extLst>
              </p:cNvPr>
              <p:cNvSpPr/>
              <p:nvPr/>
            </p:nvSpPr>
            <p:spPr>
              <a:xfrm>
                <a:off x="17554452" y="1493035"/>
                <a:ext cx="17628" cy="155075"/>
              </a:xfrm>
              <a:custGeom>
                <a:avLst/>
                <a:gdLst>
                  <a:gd name="connsiteX0" fmla="*/ -254 w 17628"/>
                  <a:gd name="connsiteY0" fmla="*/ 154537 h 155075"/>
                  <a:gd name="connsiteX1" fmla="*/ -981 w 17628"/>
                  <a:gd name="connsiteY1" fmla="*/ -539 h 155075"/>
                  <a:gd name="connsiteX2" fmla="*/ 4836 w 17628"/>
                  <a:gd name="connsiteY2" fmla="*/ 14003 h 155075"/>
                  <a:gd name="connsiteX3" fmla="*/ 5011 w 17628"/>
                  <a:gd name="connsiteY3" fmla="*/ 69030 h 155075"/>
                  <a:gd name="connsiteX4" fmla="*/ 16647 w 17628"/>
                  <a:gd name="connsiteY4" fmla="*/ 103611 h 155075"/>
                  <a:gd name="connsiteX5" fmla="*/ 5011 w 17628"/>
                  <a:gd name="connsiteY5" fmla="*/ 137436 h 155075"/>
                  <a:gd name="connsiteX6" fmla="*/ -254 w 17628"/>
                  <a:gd name="connsiteY6" fmla="*/ 154537 h 15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28" h="155075">
                    <a:moveTo>
                      <a:pt x="-254" y="154537"/>
                    </a:moveTo>
                    <a:cubicBezTo>
                      <a:pt x="-486" y="102855"/>
                      <a:pt x="-719" y="51173"/>
                      <a:pt x="-981" y="-539"/>
                    </a:cubicBezTo>
                    <a:cubicBezTo>
                      <a:pt x="7076" y="1788"/>
                      <a:pt x="4662" y="8594"/>
                      <a:pt x="4836" y="14003"/>
                    </a:cubicBezTo>
                    <a:cubicBezTo>
                      <a:pt x="5128" y="32326"/>
                      <a:pt x="4836" y="50678"/>
                      <a:pt x="5011" y="69030"/>
                    </a:cubicBezTo>
                    <a:cubicBezTo>
                      <a:pt x="5011" y="81798"/>
                      <a:pt x="2102" y="95729"/>
                      <a:pt x="16647" y="103611"/>
                    </a:cubicBezTo>
                    <a:cubicBezTo>
                      <a:pt x="2102" y="111144"/>
                      <a:pt x="5011" y="124872"/>
                      <a:pt x="5011" y="137436"/>
                    </a:cubicBezTo>
                    <a:cubicBezTo>
                      <a:pt x="4778" y="143543"/>
                      <a:pt x="5942" y="150233"/>
                      <a:pt x="-254" y="154537"/>
                    </a:cubicBezTo>
                    <a:close/>
                  </a:path>
                </a:pathLst>
              </a:custGeom>
              <a:solidFill>
                <a:srgbClr val="DBDEE5"/>
              </a:solidFill>
              <a:ln w="2907" cap="flat">
                <a:noFill/>
                <a:prstDash val="solid"/>
                <a:miter/>
              </a:ln>
            </p:spPr>
            <p:txBody>
              <a:bodyPr rtlCol="0" anchor="ctr"/>
              <a:lstStyle/>
              <a:p>
                <a:endParaRPr lang="en-US" sz="800"/>
              </a:p>
            </p:txBody>
          </p:sp>
          <p:sp>
            <p:nvSpPr>
              <p:cNvPr id="64" name="Graphic 38">
                <a:extLst>
                  <a:ext uri="{FF2B5EF4-FFF2-40B4-BE49-F238E27FC236}">
                    <a16:creationId xmlns:a16="http://schemas.microsoft.com/office/drawing/2014/main" id="{F0712717-3E49-15AB-D30F-BF193F28EE9A}"/>
                  </a:ext>
                </a:extLst>
              </p:cNvPr>
              <p:cNvSpPr/>
              <p:nvPr/>
            </p:nvSpPr>
            <p:spPr>
              <a:xfrm>
                <a:off x="17553871" y="2326465"/>
                <a:ext cx="8259" cy="233020"/>
              </a:xfrm>
              <a:custGeom>
                <a:avLst/>
                <a:gdLst>
                  <a:gd name="connsiteX0" fmla="*/ -603 w 8259"/>
                  <a:gd name="connsiteY0" fmla="*/ 172191 h 233020"/>
                  <a:gd name="connsiteX1" fmla="*/ -981 w 8259"/>
                  <a:gd name="connsiteY1" fmla="*/ -539 h 233020"/>
                  <a:gd name="connsiteX2" fmla="*/ 3586 w 8259"/>
                  <a:gd name="connsiteY2" fmla="*/ 41720 h 233020"/>
                  <a:gd name="connsiteX3" fmla="*/ 7164 w 8259"/>
                  <a:gd name="connsiteY3" fmla="*/ 156777 h 233020"/>
                  <a:gd name="connsiteX4" fmla="*/ 5476 w 8259"/>
                  <a:gd name="connsiteY4" fmla="*/ 172657 h 233020"/>
                  <a:gd name="connsiteX5" fmla="*/ 5476 w 8259"/>
                  <a:gd name="connsiteY5" fmla="*/ 216806 h 233020"/>
                  <a:gd name="connsiteX6" fmla="*/ 154 w 8259"/>
                  <a:gd name="connsiteY6" fmla="*/ 232482 h 23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59" h="233020">
                    <a:moveTo>
                      <a:pt x="-603" y="172191"/>
                    </a:moveTo>
                    <a:cubicBezTo>
                      <a:pt x="-748" y="114605"/>
                      <a:pt x="-865" y="57019"/>
                      <a:pt x="-981" y="-539"/>
                    </a:cubicBezTo>
                    <a:cubicBezTo>
                      <a:pt x="3178" y="13276"/>
                      <a:pt x="3440" y="27149"/>
                      <a:pt x="3586" y="41720"/>
                    </a:cubicBezTo>
                    <a:cubicBezTo>
                      <a:pt x="4022" y="80024"/>
                      <a:pt x="-3076" y="118677"/>
                      <a:pt x="7164" y="156777"/>
                    </a:cubicBezTo>
                    <a:cubicBezTo>
                      <a:pt x="8443" y="161575"/>
                      <a:pt x="-1563" y="166403"/>
                      <a:pt x="5476" y="172657"/>
                    </a:cubicBezTo>
                    <a:cubicBezTo>
                      <a:pt x="5476" y="187373"/>
                      <a:pt x="5476" y="202089"/>
                      <a:pt x="5476" y="216806"/>
                    </a:cubicBezTo>
                    <a:cubicBezTo>
                      <a:pt x="5476" y="222623"/>
                      <a:pt x="5476" y="228439"/>
                      <a:pt x="154" y="232482"/>
                    </a:cubicBezTo>
                    <a:close/>
                  </a:path>
                </a:pathLst>
              </a:custGeom>
              <a:solidFill>
                <a:srgbClr val="AFB0B4"/>
              </a:solidFill>
              <a:ln w="2907" cap="flat">
                <a:noFill/>
                <a:prstDash val="solid"/>
                <a:miter/>
              </a:ln>
            </p:spPr>
            <p:txBody>
              <a:bodyPr rtlCol="0" anchor="ctr"/>
              <a:lstStyle/>
              <a:p>
                <a:endParaRPr lang="en-US" sz="800"/>
              </a:p>
            </p:txBody>
          </p:sp>
          <p:sp>
            <p:nvSpPr>
              <p:cNvPr id="65" name="Graphic 38">
                <a:extLst>
                  <a:ext uri="{FF2B5EF4-FFF2-40B4-BE49-F238E27FC236}">
                    <a16:creationId xmlns:a16="http://schemas.microsoft.com/office/drawing/2014/main" id="{2C192C64-47AD-072B-DEC2-DBEEEDF5EAE3}"/>
                  </a:ext>
                </a:extLst>
              </p:cNvPr>
              <p:cNvSpPr/>
              <p:nvPr/>
            </p:nvSpPr>
            <p:spPr>
              <a:xfrm>
                <a:off x="14780570" y="3299818"/>
                <a:ext cx="6820" cy="72419"/>
              </a:xfrm>
              <a:custGeom>
                <a:avLst/>
                <a:gdLst>
                  <a:gd name="connsiteX0" fmla="*/ 5651 w 6820"/>
                  <a:gd name="connsiteY0" fmla="*/ 71880 h 72419"/>
                  <a:gd name="connsiteX1" fmla="*/ 3673 w 6820"/>
                  <a:gd name="connsiteY1" fmla="*/ 36369 h 72419"/>
                  <a:gd name="connsiteX2" fmla="*/ -981 w 6820"/>
                  <a:gd name="connsiteY2" fmla="*/ -539 h 72419"/>
                  <a:gd name="connsiteX3" fmla="*/ 5826 w 6820"/>
                  <a:gd name="connsiteY3" fmla="*/ 15487 h 72419"/>
                  <a:gd name="connsiteX4" fmla="*/ 5651 w 6820"/>
                  <a:gd name="connsiteY4" fmla="*/ 71880 h 72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20" h="72419">
                    <a:moveTo>
                      <a:pt x="5651" y="71880"/>
                    </a:moveTo>
                    <a:cubicBezTo>
                      <a:pt x="1171" y="60247"/>
                      <a:pt x="3877" y="48206"/>
                      <a:pt x="3673" y="36369"/>
                    </a:cubicBezTo>
                    <a:cubicBezTo>
                      <a:pt x="3469" y="23805"/>
                      <a:pt x="3324" y="11415"/>
                      <a:pt x="-981" y="-539"/>
                    </a:cubicBezTo>
                    <a:cubicBezTo>
                      <a:pt x="6466" y="2602"/>
                      <a:pt x="5826" y="9263"/>
                      <a:pt x="5826" y="15487"/>
                    </a:cubicBezTo>
                    <a:cubicBezTo>
                      <a:pt x="5855" y="34275"/>
                      <a:pt x="5738" y="53092"/>
                      <a:pt x="5651" y="71880"/>
                    </a:cubicBezTo>
                    <a:close/>
                  </a:path>
                </a:pathLst>
              </a:custGeom>
              <a:solidFill>
                <a:srgbClr val="DBDEE5"/>
              </a:solidFill>
              <a:ln w="2907" cap="flat">
                <a:noFill/>
                <a:prstDash val="solid"/>
                <a:miter/>
              </a:ln>
            </p:spPr>
            <p:txBody>
              <a:bodyPr rtlCol="0" anchor="ctr"/>
              <a:lstStyle/>
              <a:p>
                <a:endParaRPr lang="en-US" sz="800"/>
              </a:p>
            </p:txBody>
          </p:sp>
          <p:sp>
            <p:nvSpPr>
              <p:cNvPr id="66" name="Graphic 38">
                <a:extLst>
                  <a:ext uri="{FF2B5EF4-FFF2-40B4-BE49-F238E27FC236}">
                    <a16:creationId xmlns:a16="http://schemas.microsoft.com/office/drawing/2014/main" id="{DB4148F5-3CCB-5DD9-E67D-8AED1615CE5F}"/>
                  </a:ext>
                </a:extLst>
              </p:cNvPr>
              <p:cNvSpPr/>
              <p:nvPr/>
            </p:nvSpPr>
            <p:spPr>
              <a:xfrm>
                <a:off x="17544358" y="1480761"/>
                <a:ext cx="9107" cy="9597"/>
              </a:xfrm>
              <a:custGeom>
                <a:avLst/>
                <a:gdLst>
                  <a:gd name="connsiteX0" fmla="*/ 8066 w 9107"/>
                  <a:gd name="connsiteY0" fmla="*/ 9059 h 9597"/>
                  <a:gd name="connsiteX1" fmla="*/ -981 w 9107"/>
                  <a:gd name="connsiteY1" fmla="*/ -539 h 9597"/>
                  <a:gd name="connsiteX2" fmla="*/ 8066 w 9107"/>
                  <a:gd name="connsiteY2" fmla="*/ 9059 h 9597"/>
                </a:gdLst>
                <a:ahLst/>
                <a:cxnLst>
                  <a:cxn ang="0">
                    <a:pos x="connsiteX0" y="connsiteY0"/>
                  </a:cxn>
                  <a:cxn ang="0">
                    <a:pos x="connsiteX1" y="connsiteY1"/>
                  </a:cxn>
                  <a:cxn ang="0">
                    <a:pos x="connsiteX2" y="connsiteY2"/>
                  </a:cxn>
                </a:cxnLst>
                <a:rect l="l" t="t" r="r" b="b"/>
                <a:pathLst>
                  <a:path w="9107" h="9597">
                    <a:moveTo>
                      <a:pt x="8066" y="9059"/>
                    </a:moveTo>
                    <a:cubicBezTo>
                      <a:pt x="3877" y="7203"/>
                      <a:pt x="619" y="3745"/>
                      <a:pt x="-981" y="-539"/>
                    </a:cubicBezTo>
                    <a:cubicBezTo>
                      <a:pt x="5389" y="-364"/>
                      <a:pt x="8618" y="2544"/>
                      <a:pt x="8066" y="9059"/>
                    </a:cubicBezTo>
                    <a:close/>
                  </a:path>
                </a:pathLst>
              </a:custGeom>
              <a:solidFill>
                <a:srgbClr val="DBDEE5"/>
              </a:solidFill>
              <a:ln w="2907" cap="flat">
                <a:noFill/>
                <a:prstDash val="solid"/>
                <a:miter/>
              </a:ln>
            </p:spPr>
            <p:txBody>
              <a:bodyPr rtlCol="0" anchor="ctr"/>
              <a:lstStyle/>
              <a:p>
                <a:endParaRPr lang="en-US" sz="800"/>
              </a:p>
            </p:txBody>
          </p:sp>
          <p:sp>
            <p:nvSpPr>
              <p:cNvPr id="67" name="Graphic 38">
                <a:extLst>
                  <a:ext uri="{FF2B5EF4-FFF2-40B4-BE49-F238E27FC236}">
                    <a16:creationId xmlns:a16="http://schemas.microsoft.com/office/drawing/2014/main" id="{AB3C99BD-C053-1557-AFE3-771F51E61EA4}"/>
                  </a:ext>
                </a:extLst>
              </p:cNvPr>
              <p:cNvSpPr/>
              <p:nvPr/>
            </p:nvSpPr>
            <p:spPr>
              <a:xfrm>
                <a:off x="14363204" y="2904015"/>
                <a:ext cx="15562" cy="6623"/>
              </a:xfrm>
              <a:custGeom>
                <a:avLst/>
                <a:gdLst>
                  <a:gd name="connsiteX0" fmla="*/ -981 w 15562"/>
                  <a:gd name="connsiteY0" fmla="*/ -539 h 6623"/>
                  <a:gd name="connsiteX1" fmla="*/ 14581 w 15562"/>
                  <a:gd name="connsiteY1" fmla="*/ 5656 h 6623"/>
                  <a:gd name="connsiteX2" fmla="*/ -981 w 15562"/>
                  <a:gd name="connsiteY2" fmla="*/ -539 h 6623"/>
                </a:gdLst>
                <a:ahLst/>
                <a:cxnLst>
                  <a:cxn ang="0">
                    <a:pos x="connsiteX0" y="connsiteY0"/>
                  </a:cxn>
                  <a:cxn ang="0">
                    <a:pos x="connsiteX1" y="connsiteY1"/>
                  </a:cxn>
                  <a:cxn ang="0">
                    <a:pos x="connsiteX2" y="connsiteY2"/>
                  </a:cxn>
                </a:cxnLst>
                <a:rect l="l" t="t" r="r" b="b"/>
                <a:pathLst>
                  <a:path w="15562" h="6623">
                    <a:moveTo>
                      <a:pt x="-981" y="-539"/>
                    </a:moveTo>
                    <a:lnTo>
                      <a:pt x="14581" y="5656"/>
                    </a:lnTo>
                    <a:cubicBezTo>
                      <a:pt x="8705" y="5307"/>
                      <a:pt x="1229" y="9030"/>
                      <a:pt x="-981" y="-539"/>
                    </a:cubicBezTo>
                    <a:close/>
                  </a:path>
                </a:pathLst>
              </a:custGeom>
              <a:solidFill>
                <a:srgbClr val="DBDEE5"/>
              </a:solidFill>
              <a:ln w="2907" cap="flat">
                <a:noFill/>
                <a:prstDash val="solid"/>
                <a:miter/>
              </a:ln>
            </p:spPr>
            <p:txBody>
              <a:bodyPr rtlCol="0" anchor="ctr"/>
              <a:lstStyle/>
              <a:p>
                <a:endParaRPr lang="en-US" sz="800"/>
              </a:p>
            </p:txBody>
          </p:sp>
          <p:sp>
            <p:nvSpPr>
              <p:cNvPr id="68" name="Graphic 38">
                <a:extLst>
                  <a:ext uri="{FF2B5EF4-FFF2-40B4-BE49-F238E27FC236}">
                    <a16:creationId xmlns:a16="http://schemas.microsoft.com/office/drawing/2014/main" id="{E8B98215-F477-636F-04CE-4130EEC55038}"/>
                  </a:ext>
                </a:extLst>
              </p:cNvPr>
              <p:cNvSpPr/>
              <p:nvPr/>
            </p:nvSpPr>
            <p:spPr>
              <a:xfrm>
                <a:off x="14765241" y="1151277"/>
                <a:ext cx="11984" cy="6827"/>
              </a:xfrm>
              <a:custGeom>
                <a:avLst/>
                <a:gdLst>
                  <a:gd name="connsiteX0" fmla="*/ 11003 w 11984"/>
                  <a:gd name="connsiteY0" fmla="*/ 6288 h 6827"/>
                  <a:gd name="connsiteX1" fmla="*/ -981 w 11984"/>
                  <a:gd name="connsiteY1" fmla="*/ -401 h 6827"/>
                  <a:gd name="connsiteX2" fmla="*/ 11003 w 11984"/>
                  <a:gd name="connsiteY2" fmla="*/ 6288 h 6827"/>
                </a:gdLst>
                <a:ahLst/>
                <a:cxnLst>
                  <a:cxn ang="0">
                    <a:pos x="connsiteX0" y="connsiteY0"/>
                  </a:cxn>
                  <a:cxn ang="0">
                    <a:pos x="connsiteX1" y="connsiteY1"/>
                  </a:cxn>
                  <a:cxn ang="0">
                    <a:pos x="connsiteX2" y="connsiteY2"/>
                  </a:cxn>
                </a:cxnLst>
                <a:rect l="l" t="t" r="r" b="b"/>
                <a:pathLst>
                  <a:path w="11984" h="6827">
                    <a:moveTo>
                      <a:pt x="11003" y="6288"/>
                    </a:moveTo>
                    <a:cubicBezTo>
                      <a:pt x="6233" y="5910"/>
                      <a:pt x="1840" y="3467"/>
                      <a:pt x="-981" y="-401"/>
                    </a:cubicBezTo>
                    <a:cubicBezTo>
                      <a:pt x="4603" y="-1012"/>
                      <a:pt x="9142" y="268"/>
                      <a:pt x="11003" y="6288"/>
                    </a:cubicBezTo>
                    <a:close/>
                  </a:path>
                </a:pathLst>
              </a:custGeom>
              <a:solidFill>
                <a:srgbClr val="DBDEE5"/>
              </a:solidFill>
              <a:ln w="2907" cap="flat">
                <a:noFill/>
                <a:prstDash val="solid"/>
                <a:miter/>
              </a:ln>
            </p:spPr>
            <p:txBody>
              <a:bodyPr rtlCol="0" anchor="ctr"/>
              <a:lstStyle/>
              <a:p>
                <a:endParaRPr lang="en-US" sz="800"/>
              </a:p>
            </p:txBody>
          </p:sp>
          <p:sp>
            <p:nvSpPr>
              <p:cNvPr id="69" name="Graphic 38">
                <a:extLst>
                  <a:ext uri="{FF2B5EF4-FFF2-40B4-BE49-F238E27FC236}">
                    <a16:creationId xmlns:a16="http://schemas.microsoft.com/office/drawing/2014/main" id="{03295C88-1860-BA20-3486-77D31B8CA693}"/>
                  </a:ext>
                </a:extLst>
              </p:cNvPr>
              <p:cNvSpPr/>
              <p:nvPr/>
            </p:nvSpPr>
            <p:spPr>
              <a:xfrm>
                <a:off x="14357148" y="2928969"/>
                <a:ext cx="7859" cy="7358"/>
              </a:xfrm>
              <a:custGeom>
                <a:avLst/>
                <a:gdLst>
                  <a:gd name="connsiteX0" fmla="*/ 6878 w 7859"/>
                  <a:gd name="connsiteY0" fmla="*/ -539 h 7358"/>
                  <a:gd name="connsiteX1" fmla="*/ -946 w 7859"/>
                  <a:gd name="connsiteY1" fmla="*/ 6820 h 7358"/>
                  <a:gd name="connsiteX2" fmla="*/ 6878 w 7859"/>
                  <a:gd name="connsiteY2" fmla="*/ -539 h 7358"/>
                </a:gdLst>
                <a:ahLst/>
                <a:cxnLst>
                  <a:cxn ang="0">
                    <a:pos x="connsiteX0" y="connsiteY0"/>
                  </a:cxn>
                  <a:cxn ang="0">
                    <a:pos x="connsiteX1" y="connsiteY1"/>
                  </a:cxn>
                  <a:cxn ang="0">
                    <a:pos x="connsiteX2" y="connsiteY2"/>
                  </a:cxn>
                </a:cxnLst>
                <a:rect l="l" t="t" r="r" b="b"/>
                <a:pathLst>
                  <a:path w="7859" h="7358">
                    <a:moveTo>
                      <a:pt x="6878" y="-539"/>
                    </a:moveTo>
                    <a:cubicBezTo>
                      <a:pt x="5570" y="3009"/>
                      <a:pt x="2661" y="5744"/>
                      <a:pt x="-946" y="6820"/>
                    </a:cubicBezTo>
                    <a:cubicBezTo>
                      <a:pt x="-1383" y="1119"/>
                      <a:pt x="2312" y="-190"/>
                      <a:pt x="6878" y="-539"/>
                    </a:cubicBezTo>
                    <a:close/>
                  </a:path>
                </a:pathLst>
              </a:custGeom>
              <a:solidFill>
                <a:srgbClr val="DBDEE5"/>
              </a:solidFill>
              <a:ln w="2907" cap="flat">
                <a:noFill/>
                <a:prstDash val="solid"/>
                <a:miter/>
              </a:ln>
            </p:spPr>
            <p:txBody>
              <a:bodyPr rtlCol="0" anchor="ctr"/>
              <a:lstStyle/>
              <a:p>
                <a:endParaRPr lang="en-US" sz="800"/>
              </a:p>
            </p:txBody>
          </p:sp>
          <p:sp>
            <p:nvSpPr>
              <p:cNvPr id="70" name="Graphic 38">
                <a:extLst>
                  <a:ext uri="{FF2B5EF4-FFF2-40B4-BE49-F238E27FC236}">
                    <a16:creationId xmlns:a16="http://schemas.microsoft.com/office/drawing/2014/main" id="{9EBB4719-D6E9-C1C6-B81C-0B4D29B9163E}"/>
                  </a:ext>
                </a:extLst>
              </p:cNvPr>
              <p:cNvSpPr/>
              <p:nvPr/>
            </p:nvSpPr>
            <p:spPr>
              <a:xfrm>
                <a:off x="14777778" y="2932546"/>
                <a:ext cx="6332" cy="9481"/>
              </a:xfrm>
              <a:custGeom>
                <a:avLst/>
                <a:gdLst>
                  <a:gd name="connsiteX0" fmla="*/ 5302 w 6332"/>
                  <a:gd name="connsiteY0" fmla="*/ 8943 h 9481"/>
                  <a:gd name="connsiteX1" fmla="*/ -981 w 6332"/>
                  <a:gd name="connsiteY1" fmla="*/ -539 h 9481"/>
                  <a:gd name="connsiteX2" fmla="*/ 5302 w 6332"/>
                  <a:gd name="connsiteY2" fmla="*/ 8943 h 9481"/>
                </a:gdLst>
                <a:ahLst/>
                <a:cxnLst>
                  <a:cxn ang="0">
                    <a:pos x="connsiteX0" y="connsiteY0"/>
                  </a:cxn>
                  <a:cxn ang="0">
                    <a:pos x="connsiteX1" y="connsiteY1"/>
                  </a:cxn>
                  <a:cxn ang="0">
                    <a:pos x="connsiteX2" y="connsiteY2"/>
                  </a:cxn>
                </a:cxnLst>
                <a:rect l="l" t="t" r="r" b="b"/>
                <a:pathLst>
                  <a:path w="6332" h="9481">
                    <a:moveTo>
                      <a:pt x="5302" y="8943"/>
                    </a:moveTo>
                    <a:lnTo>
                      <a:pt x="-981" y="-539"/>
                    </a:lnTo>
                    <a:cubicBezTo>
                      <a:pt x="4720" y="247"/>
                      <a:pt x="5593" y="4202"/>
                      <a:pt x="5302" y="8943"/>
                    </a:cubicBezTo>
                    <a:close/>
                  </a:path>
                </a:pathLst>
              </a:custGeom>
              <a:solidFill>
                <a:srgbClr val="DBDEE5"/>
              </a:solidFill>
              <a:ln w="2907" cap="flat">
                <a:noFill/>
                <a:prstDash val="solid"/>
                <a:miter/>
              </a:ln>
            </p:spPr>
            <p:txBody>
              <a:bodyPr rtlCol="0" anchor="ctr"/>
              <a:lstStyle/>
              <a:p>
                <a:endParaRPr lang="en-US" sz="800"/>
              </a:p>
            </p:txBody>
          </p:sp>
          <p:sp>
            <p:nvSpPr>
              <p:cNvPr id="71" name="Graphic 38">
                <a:extLst>
                  <a:ext uri="{FF2B5EF4-FFF2-40B4-BE49-F238E27FC236}">
                    <a16:creationId xmlns:a16="http://schemas.microsoft.com/office/drawing/2014/main" id="{8A68077F-A696-4C80-6165-4B0CDB5A0A17}"/>
                  </a:ext>
                </a:extLst>
              </p:cNvPr>
              <p:cNvSpPr/>
              <p:nvPr/>
            </p:nvSpPr>
            <p:spPr>
              <a:xfrm>
                <a:off x="14768499" y="2926030"/>
                <a:ext cx="9250" cy="6457"/>
              </a:xfrm>
              <a:custGeom>
                <a:avLst/>
                <a:gdLst>
                  <a:gd name="connsiteX0" fmla="*/ 8269 w 9250"/>
                  <a:gd name="connsiteY0" fmla="*/ 5919 h 6457"/>
                  <a:gd name="connsiteX1" fmla="*/ -981 w 9250"/>
                  <a:gd name="connsiteY1" fmla="*/ -538 h 6457"/>
                  <a:gd name="connsiteX2" fmla="*/ 8269 w 9250"/>
                  <a:gd name="connsiteY2" fmla="*/ 5919 h 6457"/>
                </a:gdLst>
                <a:ahLst/>
                <a:cxnLst>
                  <a:cxn ang="0">
                    <a:pos x="connsiteX0" y="connsiteY0"/>
                  </a:cxn>
                  <a:cxn ang="0">
                    <a:pos x="connsiteX1" y="connsiteY1"/>
                  </a:cxn>
                  <a:cxn ang="0">
                    <a:pos x="connsiteX2" y="connsiteY2"/>
                  </a:cxn>
                </a:cxnLst>
                <a:rect l="l" t="t" r="r" b="b"/>
                <a:pathLst>
                  <a:path w="9250" h="6457">
                    <a:moveTo>
                      <a:pt x="8269" y="5919"/>
                    </a:moveTo>
                    <a:lnTo>
                      <a:pt x="-981" y="-538"/>
                    </a:lnTo>
                    <a:cubicBezTo>
                      <a:pt x="3585" y="-567"/>
                      <a:pt x="7571" y="364"/>
                      <a:pt x="8269" y="5919"/>
                    </a:cubicBezTo>
                    <a:close/>
                  </a:path>
                </a:pathLst>
              </a:custGeom>
              <a:solidFill>
                <a:srgbClr val="DBDEE5"/>
              </a:solidFill>
              <a:ln w="2907" cap="flat">
                <a:noFill/>
                <a:prstDash val="solid"/>
                <a:miter/>
              </a:ln>
            </p:spPr>
            <p:txBody>
              <a:bodyPr rtlCol="0" anchor="ctr"/>
              <a:lstStyle/>
              <a:p>
                <a:endParaRPr lang="en-US" sz="800"/>
              </a:p>
            </p:txBody>
          </p:sp>
          <p:sp>
            <p:nvSpPr>
              <p:cNvPr id="72" name="Graphic 38">
                <a:extLst>
                  <a:ext uri="{FF2B5EF4-FFF2-40B4-BE49-F238E27FC236}">
                    <a16:creationId xmlns:a16="http://schemas.microsoft.com/office/drawing/2014/main" id="{896C538B-7CE0-B506-8BEA-B9C27355B5E2}"/>
                  </a:ext>
                </a:extLst>
              </p:cNvPr>
              <p:cNvSpPr/>
              <p:nvPr/>
            </p:nvSpPr>
            <p:spPr>
              <a:xfrm>
                <a:off x="14356572" y="2366921"/>
                <a:ext cx="4043" cy="5409"/>
              </a:xfrm>
              <a:custGeom>
                <a:avLst/>
                <a:gdLst>
                  <a:gd name="connsiteX0" fmla="*/ 3062 w 4043"/>
                  <a:gd name="connsiteY0" fmla="*/ -539 h 5409"/>
                  <a:gd name="connsiteX1" fmla="*/ -981 w 4043"/>
                  <a:gd name="connsiteY1" fmla="*/ 4871 h 5409"/>
                  <a:gd name="connsiteX2" fmla="*/ 3062 w 4043"/>
                  <a:gd name="connsiteY2" fmla="*/ -539 h 5409"/>
                </a:gdLst>
                <a:ahLst/>
                <a:cxnLst>
                  <a:cxn ang="0">
                    <a:pos x="connsiteX0" y="connsiteY0"/>
                  </a:cxn>
                  <a:cxn ang="0">
                    <a:pos x="connsiteX1" y="connsiteY1"/>
                  </a:cxn>
                  <a:cxn ang="0">
                    <a:pos x="connsiteX2" y="connsiteY2"/>
                  </a:cxn>
                </a:cxnLst>
                <a:rect l="l" t="t" r="r" b="b"/>
                <a:pathLst>
                  <a:path w="4043" h="5409">
                    <a:moveTo>
                      <a:pt x="3062" y="-539"/>
                    </a:moveTo>
                    <a:cubicBezTo>
                      <a:pt x="2917" y="1904"/>
                      <a:pt x="1317" y="4027"/>
                      <a:pt x="-981" y="4871"/>
                    </a:cubicBezTo>
                    <a:cubicBezTo>
                      <a:pt x="-865" y="2137"/>
                      <a:pt x="37" y="14"/>
                      <a:pt x="3062" y="-539"/>
                    </a:cubicBezTo>
                    <a:close/>
                  </a:path>
                </a:pathLst>
              </a:custGeom>
              <a:solidFill>
                <a:srgbClr val="DBDEE5"/>
              </a:solidFill>
              <a:ln w="2907" cap="flat">
                <a:noFill/>
                <a:prstDash val="solid"/>
                <a:miter/>
              </a:ln>
            </p:spPr>
            <p:txBody>
              <a:bodyPr rtlCol="0" anchor="ctr"/>
              <a:lstStyle/>
              <a:p>
                <a:endParaRPr lang="en-US" sz="800"/>
              </a:p>
            </p:txBody>
          </p:sp>
          <p:sp>
            <p:nvSpPr>
              <p:cNvPr id="73" name="Graphic 38">
                <a:extLst>
                  <a:ext uri="{FF2B5EF4-FFF2-40B4-BE49-F238E27FC236}">
                    <a16:creationId xmlns:a16="http://schemas.microsoft.com/office/drawing/2014/main" id="{6B27C1C4-713B-DDAE-BBA0-4869E2B62189}"/>
                  </a:ext>
                </a:extLst>
              </p:cNvPr>
              <p:cNvSpPr/>
              <p:nvPr/>
            </p:nvSpPr>
            <p:spPr>
              <a:xfrm>
                <a:off x="14356804" y="3261485"/>
                <a:ext cx="2675" cy="3461"/>
              </a:xfrm>
              <a:custGeom>
                <a:avLst/>
                <a:gdLst>
                  <a:gd name="connsiteX0" fmla="*/ -981 w 2675"/>
                  <a:gd name="connsiteY0" fmla="*/ -539 h 3461"/>
                  <a:gd name="connsiteX1" fmla="*/ 1695 w 2675"/>
                  <a:gd name="connsiteY1" fmla="*/ 2923 h 3461"/>
                  <a:gd name="connsiteX2" fmla="*/ -981 w 2675"/>
                  <a:gd name="connsiteY2" fmla="*/ -539 h 3461"/>
                </a:gdLst>
                <a:ahLst/>
                <a:cxnLst>
                  <a:cxn ang="0">
                    <a:pos x="connsiteX0" y="connsiteY0"/>
                  </a:cxn>
                  <a:cxn ang="0">
                    <a:pos x="connsiteX1" y="connsiteY1"/>
                  </a:cxn>
                  <a:cxn ang="0">
                    <a:pos x="connsiteX2" y="connsiteY2"/>
                  </a:cxn>
                </a:cxnLst>
                <a:rect l="l" t="t" r="r" b="b"/>
                <a:pathLst>
                  <a:path w="2675" h="3461">
                    <a:moveTo>
                      <a:pt x="-981" y="-539"/>
                    </a:moveTo>
                    <a:cubicBezTo>
                      <a:pt x="-80" y="625"/>
                      <a:pt x="793" y="1788"/>
                      <a:pt x="1695" y="2923"/>
                    </a:cubicBezTo>
                    <a:cubicBezTo>
                      <a:pt x="793" y="1759"/>
                      <a:pt x="-80" y="625"/>
                      <a:pt x="-981" y="-539"/>
                    </a:cubicBezTo>
                    <a:close/>
                  </a:path>
                </a:pathLst>
              </a:custGeom>
              <a:solidFill>
                <a:srgbClr val="DBDEE5"/>
              </a:solidFill>
              <a:ln w="2907" cap="flat">
                <a:noFill/>
                <a:prstDash val="solid"/>
                <a:miter/>
              </a:ln>
            </p:spPr>
            <p:txBody>
              <a:bodyPr rtlCol="0" anchor="ctr"/>
              <a:lstStyle/>
              <a:p>
                <a:endParaRPr lang="en-US" sz="800"/>
              </a:p>
            </p:txBody>
          </p:sp>
          <p:sp>
            <p:nvSpPr>
              <p:cNvPr id="74" name="Graphic 38">
                <a:extLst>
                  <a:ext uri="{FF2B5EF4-FFF2-40B4-BE49-F238E27FC236}">
                    <a16:creationId xmlns:a16="http://schemas.microsoft.com/office/drawing/2014/main" id="{BCF18AB0-3032-025D-ED26-8F2230B27182}"/>
                  </a:ext>
                </a:extLst>
              </p:cNvPr>
              <p:cNvSpPr/>
              <p:nvPr/>
            </p:nvSpPr>
            <p:spPr>
              <a:xfrm>
                <a:off x="14778593" y="3261951"/>
                <a:ext cx="2326" cy="3140"/>
              </a:xfrm>
              <a:custGeom>
                <a:avLst/>
                <a:gdLst>
                  <a:gd name="connsiteX0" fmla="*/ -981 w 2326"/>
                  <a:gd name="connsiteY0" fmla="*/ 2602 h 3140"/>
                  <a:gd name="connsiteX1" fmla="*/ 1346 w 2326"/>
                  <a:gd name="connsiteY1" fmla="*/ -539 h 3140"/>
                </a:gdLst>
                <a:ahLst/>
                <a:cxnLst>
                  <a:cxn ang="0">
                    <a:pos x="connsiteX0" y="connsiteY0"/>
                  </a:cxn>
                  <a:cxn ang="0">
                    <a:pos x="connsiteX1" y="connsiteY1"/>
                  </a:cxn>
                </a:cxnLst>
                <a:rect l="l" t="t" r="r" b="b"/>
                <a:pathLst>
                  <a:path w="2326" h="3140">
                    <a:moveTo>
                      <a:pt x="-981" y="2602"/>
                    </a:moveTo>
                    <a:lnTo>
                      <a:pt x="1346" y="-539"/>
                    </a:lnTo>
                    <a:close/>
                  </a:path>
                </a:pathLst>
              </a:custGeom>
              <a:solidFill>
                <a:srgbClr val="DBDEE5"/>
              </a:solidFill>
              <a:ln w="2907" cap="flat">
                <a:noFill/>
                <a:prstDash val="solid"/>
                <a:miter/>
              </a:ln>
            </p:spPr>
            <p:txBody>
              <a:bodyPr rtlCol="0" anchor="ctr"/>
              <a:lstStyle/>
              <a:p>
                <a:endParaRPr lang="en-US" sz="800"/>
              </a:p>
            </p:txBody>
          </p:sp>
          <p:sp>
            <p:nvSpPr>
              <p:cNvPr id="75" name="Graphic 38">
                <a:extLst>
                  <a:ext uri="{FF2B5EF4-FFF2-40B4-BE49-F238E27FC236}">
                    <a16:creationId xmlns:a16="http://schemas.microsoft.com/office/drawing/2014/main" id="{E7B6CBB1-F1C6-55FB-3AF1-15AF3497D66F}"/>
                  </a:ext>
                </a:extLst>
              </p:cNvPr>
              <p:cNvSpPr/>
              <p:nvPr/>
            </p:nvSpPr>
            <p:spPr>
              <a:xfrm>
                <a:off x="14359655" y="3265121"/>
                <a:ext cx="3199" cy="2908"/>
              </a:xfrm>
              <a:custGeom>
                <a:avLst/>
                <a:gdLst>
                  <a:gd name="connsiteX0" fmla="*/ -981 w 3199"/>
                  <a:gd name="connsiteY0" fmla="*/ -539 h 2908"/>
                  <a:gd name="connsiteX1" fmla="*/ 2218 w 3199"/>
                  <a:gd name="connsiteY1" fmla="*/ 2370 h 2908"/>
                </a:gdLst>
                <a:ahLst/>
                <a:cxnLst>
                  <a:cxn ang="0">
                    <a:pos x="connsiteX0" y="connsiteY0"/>
                  </a:cxn>
                  <a:cxn ang="0">
                    <a:pos x="connsiteX1" y="connsiteY1"/>
                  </a:cxn>
                </a:cxnLst>
                <a:rect l="l" t="t" r="r" b="b"/>
                <a:pathLst>
                  <a:path w="3199" h="2908">
                    <a:moveTo>
                      <a:pt x="-981" y="-539"/>
                    </a:moveTo>
                    <a:lnTo>
                      <a:pt x="2218" y="2370"/>
                    </a:lnTo>
                    <a:close/>
                  </a:path>
                </a:pathLst>
              </a:custGeom>
              <a:solidFill>
                <a:srgbClr val="DBDEE5"/>
              </a:solidFill>
              <a:ln w="2907" cap="flat">
                <a:noFill/>
                <a:prstDash val="solid"/>
                <a:miter/>
              </a:ln>
            </p:spPr>
            <p:txBody>
              <a:bodyPr rtlCol="0" anchor="ctr"/>
              <a:lstStyle/>
              <a:p>
                <a:endParaRPr lang="en-US" sz="800"/>
              </a:p>
            </p:txBody>
          </p:sp>
          <p:sp>
            <p:nvSpPr>
              <p:cNvPr id="76" name="Graphic 38">
                <a:extLst>
                  <a:ext uri="{FF2B5EF4-FFF2-40B4-BE49-F238E27FC236}">
                    <a16:creationId xmlns:a16="http://schemas.microsoft.com/office/drawing/2014/main" id="{B05E7F62-2158-DD89-1474-88A2F425E9C6}"/>
                  </a:ext>
                </a:extLst>
              </p:cNvPr>
              <p:cNvSpPr/>
              <p:nvPr/>
            </p:nvSpPr>
            <p:spPr>
              <a:xfrm>
                <a:off x="14775044" y="3265674"/>
                <a:ext cx="2908" cy="2588"/>
              </a:xfrm>
              <a:custGeom>
                <a:avLst/>
                <a:gdLst>
                  <a:gd name="connsiteX0" fmla="*/ -981 w 2908"/>
                  <a:gd name="connsiteY0" fmla="*/ 2050 h 2588"/>
                  <a:gd name="connsiteX1" fmla="*/ 1928 w 2908"/>
                  <a:gd name="connsiteY1" fmla="*/ -539 h 2588"/>
                </a:gdLst>
                <a:ahLst/>
                <a:cxnLst>
                  <a:cxn ang="0">
                    <a:pos x="connsiteX0" y="connsiteY0"/>
                  </a:cxn>
                  <a:cxn ang="0">
                    <a:pos x="connsiteX1" y="connsiteY1"/>
                  </a:cxn>
                </a:cxnLst>
                <a:rect l="l" t="t" r="r" b="b"/>
                <a:pathLst>
                  <a:path w="2908" h="2588">
                    <a:moveTo>
                      <a:pt x="-981" y="2050"/>
                    </a:moveTo>
                    <a:lnTo>
                      <a:pt x="1928" y="-539"/>
                    </a:lnTo>
                    <a:close/>
                  </a:path>
                </a:pathLst>
              </a:custGeom>
              <a:solidFill>
                <a:srgbClr val="DBDEE5"/>
              </a:solidFill>
              <a:ln w="2907" cap="flat">
                <a:noFill/>
                <a:prstDash val="solid"/>
                <a:miter/>
              </a:ln>
            </p:spPr>
            <p:txBody>
              <a:bodyPr rtlCol="0" anchor="ctr"/>
              <a:lstStyle/>
              <a:p>
                <a:endParaRPr lang="en-US" sz="800"/>
              </a:p>
            </p:txBody>
          </p:sp>
          <p:sp>
            <p:nvSpPr>
              <p:cNvPr id="77" name="Graphic 38">
                <a:extLst>
                  <a:ext uri="{FF2B5EF4-FFF2-40B4-BE49-F238E27FC236}">
                    <a16:creationId xmlns:a16="http://schemas.microsoft.com/office/drawing/2014/main" id="{CE7A6A9C-72EE-4494-8446-4B3DE3116C78}"/>
                  </a:ext>
                </a:extLst>
              </p:cNvPr>
              <p:cNvSpPr/>
              <p:nvPr/>
            </p:nvSpPr>
            <p:spPr>
              <a:xfrm>
                <a:off x="14362913" y="3268088"/>
                <a:ext cx="3636" cy="2675"/>
              </a:xfrm>
              <a:custGeom>
                <a:avLst/>
                <a:gdLst>
                  <a:gd name="connsiteX0" fmla="*/ -981 w 3636"/>
                  <a:gd name="connsiteY0" fmla="*/ -539 h 2675"/>
                  <a:gd name="connsiteX1" fmla="*/ 2655 w 3636"/>
                  <a:gd name="connsiteY1" fmla="*/ 2137 h 2675"/>
                </a:gdLst>
                <a:ahLst/>
                <a:cxnLst>
                  <a:cxn ang="0">
                    <a:pos x="connsiteX0" y="connsiteY0"/>
                  </a:cxn>
                  <a:cxn ang="0">
                    <a:pos x="connsiteX1" y="connsiteY1"/>
                  </a:cxn>
                </a:cxnLst>
                <a:rect l="l" t="t" r="r" b="b"/>
                <a:pathLst>
                  <a:path w="3636" h="2675">
                    <a:moveTo>
                      <a:pt x="-981" y="-539"/>
                    </a:moveTo>
                    <a:lnTo>
                      <a:pt x="2655" y="2137"/>
                    </a:lnTo>
                    <a:close/>
                  </a:path>
                </a:pathLst>
              </a:custGeom>
              <a:solidFill>
                <a:srgbClr val="DBDEE5"/>
              </a:solidFill>
              <a:ln w="2907" cap="flat">
                <a:noFill/>
                <a:prstDash val="solid"/>
                <a:miter/>
              </a:ln>
            </p:spPr>
            <p:txBody>
              <a:bodyPr rtlCol="0" anchor="ctr"/>
              <a:lstStyle/>
              <a:p>
                <a:endParaRPr lang="en-US" sz="800"/>
              </a:p>
            </p:txBody>
          </p:sp>
          <p:sp>
            <p:nvSpPr>
              <p:cNvPr id="78" name="Graphic 38">
                <a:extLst>
                  <a:ext uri="{FF2B5EF4-FFF2-40B4-BE49-F238E27FC236}">
                    <a16:creationId xmlns:a16="http://schemas.microsoft.com/office/drawing/2014/main" id="{EB625373-1F6F-D7D3-F9C5-8BB6ADCA1B03}"/>
                  </a:ext>
                </a:extLst>
              </p:cNvPr>
              <p:cNvSpPr/>
              <p:nvPr/>
            </p:nvSpPr>
            <p:spPr>
              <a:xfrm>
                <a:off x="14771146" y="3268553"/>
                <a:ext cx="3549" cy="2442"/>
              </a:xfrm>
              <a:custGeom>
                <a:avLst/>
                <a:gdLst>
                  <a:gd name="connsiteX0" fmla="*/ -981 w 3549"/>
                  <a:gd name="connsiteY0" fmla="*/ 1904 h 2442"/>
                  <a:gd name="connsiteX1" fmla="*/ 2568 w 3549"/>
                  <a:gd name="connsiteY1" fmla="*/ -539 h 2442"/>
                </a:gdLst>
                <a:ahLst/>
                <a:cxnLst>
                  <a:cxn ang="0">
                    <a:pos x="connsiteX0" y="connsiteY0"/>
                  </a:cxn>
                  <a:cxn ang="0">
                    <a:pos x="connsiteX1" y="connsiteY1"/>
                  </a:cxn>
                </a:cxnLst>
                <a:rect l="l" t="t" r="r" b="b"/>
                <a:pathLst>
                  <a:path w="3549" h="2442">
                    <a:moveTo>
                      <a:pt x="-981" y="1904"/>
                    </a:moveTo>
                    <a:lnTo>
                      <a:pt x="2568" y="-539"/>
                    </a:lnTo>
                    <a:close/>
                  </a:path>
                </a:pathLst>
              </a:custGeom>
              <a:solidFill>
                <a:srgbClr val="DBDEE5"/>
              </a:solidFill>
              <a:ln w="2907" cap="flat">
                <a:noFill/>
                <a:prstDash val="solid"/>
                <a:miter/>
              </a:ln>
            </p:spPr>
            <p:txBody>
              <a:bodyPr rtlCol="0" anchor="ctr"/>
              <a:lstStyle/>
              <a:p>
                <a:endParaRPr lang="en-US" sz="800"/>
              </a:p>
            </p:txBody>
          </p:sp>
          <p:sp>
            <p:nvSpPr>
              <p:cNvPr id="79" name="Graphic 38">
                <a:extLst>
                  <a:ext uri="{FF2B5EF4-FFF2-40B4-BE49-F238E27FC236}">
                    <a16:creationId xmlns:a16="http://schemas.microsoft.com/office/drawing/2014/main" id="{0B013B31-A844-F765-B724-13105C88EFB2}"/>
                  </a:ext>
                </a:extLst>
              </p:cNvPr>
              <p:cNvSpPr/>
              <p:nvPr/>
            </p:nvSpPr>
            <p:spPr>
              <a:xfrm>
                <a:off x="17545871" y="2316140"/>
                <a:ext cx="1570" cy="1346"/>
              </a:xfrm>
              <a:custGeom>
                <a:avLst/>
                <a:gdLst>
                  <a:gd name="connsiteX0" fmla="*/ 590 w 1570"/>
                  <a:gd name="connsiteY0" fmla="*/ 770 h 1346"/>
                  <a:gd name="connsiteX1" fmla="*/ -981 w 1570"/>
                  <a:gd name="connsiteY1" fmla="*/ -539 h 1346"/>
                  <a:gd name="connsiteX2" fmla="*/ 590 w 1570"/>
                  <a:gd name="connsiteY2" fmla="*/ 770 h 1346"/>
                </a:gdLst>
                <a:ahLst/>
                <a:cxnLst>
                  <a:cxn ang="0">
                    <a:pos x="connsiteX0" y="connsiteY0"/>
                  </a:cxn>
                  <a:cxn ang="0">
                    <a:pos x="connsiteX1" y="connsiteY1"/>
                  </a:cxn>
                  <a:cxn ang="0">
                    <a:pos x="connsiteX2" y="connsiteY2"/>
                  </a:cxn>
                </a:cxnLst>
                <a:rect l="l" t="t" r="r" b="b"/>
                <a:pathLst>
                  <a:path w="1570" h="1346">
                    <a:moveTo>
                      <a:pt x="590" y="770"/>
                    </a:moveTo>
                    <a:cubicBezTo>
                      <a:pt x="-429" y="945"/>
                      <a:pt x="-981" y="508"/>
                      <a:pt x="-981" y="-539"/>
                    </a:cubicBezTo>
                    <a:cubicBezTo>
                      <a:pt x="-225" y="-539"/>
                      <a:pt x="444" y="14"/>
                      <a:pt x="590" y="770"/>
                    </a:cubicBezTo>
                    <a:close/>
                  </a:path>
                </a:pathLst>
              </a:custGeom>
              <a:solidFill>
                <a:srgbClr val="AFB0B4"/>
              </a:solidFill>
              <a:ln w="2907" cap="flat">
                <a:noFill/>
                <a:prstDash val="solid"/>
                <a:miter/>
              </a:ln>
            </p:spPr>
            <p:txBody>
              <a:bodyPr rtlCol="0" anchor="ctr"/>
              <a:lstStyle/>
              <a:p>
                <a:endParaRPr lang="en-US" sz="800"/>
              </a:p>
            </p:txBody>
          </p:sp>
          <p:sp>
            <p:nvSpPr>
              <p:cNvPr id="80" name="Graphic 38">
                <a:extLst>
                  <a:ext uri="{FF2B5EF4-FFF2-40B4-BE49-F238E27FC236}">
                    <a16:creationId xmlns:a16="http://schemas.microsoft.com/office/drawing/2014/main" id="{F9229854-D2BD-73C2-28C6-AC666E06B642}"/>
                  </a:ext>
                </a:extLst>
              </p:cNvPr>
              <p:cNvSpPr/>
              <p:nvPr/>
            </p:nvSpPr>
            <p:spPr>
              <a:xfrm>
                <a:off x="17548547" y="2318816"/>
                <a:ext cx="2095" cy="2443"/>
              </a:xfrm>
              <a:custGeom>
                <a:avLst/>
                <a:gdLst>
                  <a:gd name="connsiteX0" fmla="*/ 1114 w 2095"/>
                  <a:gd name="connsiteY0" fmla="*/ 1905 h 2443"/>
                  <a:gd name="connsiteX1" fmla="*/ -981 w 2095"/>
                  <a:gd name="connsiteY1" fmla="*/ -539 h 2443"/>
                </a:gdLst>
                <a:ahLst/>
                <a:cxnLst>
                  <a:cxn ang="0">
                    <a:pos x="connsiteX0" y="connsiteY0"/>
                  </a:cxn>
                  <a:cxn ang="0">
                    <a:pos x="connsiteX1" y="connsiteY1"/>
                  </a:cxn>
                </a:cxnLst>
                <a:rect l="l" t="t" r="r" b="b"/>
                <a:pathLst>
                  <a:path w="2095" h="2443">
                    <a:moveTo>
                      <a:pt x="1114" y="1905"/>
                    </a:moveTo>
                    <a:lnTo>
                      <a:pt x="-981" y="-539"/>
                    </a:lnTo>
                    <a:close/>
                  </a:path>
                </a:pathLst>
              </a:custGeom>
              <a:solidFill>
                <a:srgbClr val="AFB0B4"/>
              </a:solidFill>
              <a:ln w="2907" cap="flat">
                <a:noFill/>
                <a:prstDash val="solid"/>
                <a:miter/>
              </a:ln>
            </p:spPr>
            <p:txBody>
              <a:bodyPr rtlCol="0" anchor="ctr"/>
              <a:lstStyle/>
              <a:p>
                <a:endParaRPr lang="en-US" sz="800"/>
              </a:p>
            </p:txBody>
          </p:sp>
          <p:sp>
            <p:nvSpPr>
              <p:cNvPr id="81" name="Graphic 38">
                <a:extLst>
                  <a:ext uri="{FF2B5EF4-FFF2-40B4-BE49-F238E27FC236}">
                    <a16:creationId xmlns:a16="http://schemas.microsoft.com/office/drawing/2014/main" id="{21D95682-50F4-C009-229B-B222ACB62671}"/>
                  </a:ext>
                </a:extLst>
              </p:cNvPr>
              <p:cNvSpPr/>
              <p:nvPr/>
            </p:nvSpPr>
            <p:spPr>
              <a:xfrm>
                <a:off x="14777283" y="1158046"/>
                <a:ext cx="2908" cy="3170"/>
              </a:xfrm>
              <a:custGeom>
                <a:avLst/>
                <a:gdLst>
                  <a:gd name="connsiteX0" fmla="*/ 1928 w 2908"/>
                  <a:gd name="connsiteY0" fmla="*/ 2632 h 3170"/>
                  <a:gd name="connsiteX1" fmla="*/ -981 w 2908"/>
                  <a:gd name="connsiteY1" fmla="*/ -539 h 3170"/>
                </a:gdLst>
                <a:ahLst/>
                <a:cxnLst>
                  <a:cxn ang="0">
                    <a:pos x="connsiteX0" y="connsiteY0"/>
                  </a:cxn>
                  <a:cxn ang="0">
                    <a:pos x="connsiteX1" y="connsiteY1"/>
                  </a:cxn>
                </a:cxnLst>
                <a:rect l="l" t="t" r="r" b="b"/>
                <a:pathLst>
                  <a:path w="2908" h="3170">
                    <a:moveTo>
                      <a:pt x="1928" y="2632"/>
                    </a:moveTo>
                    <a:lnTo>
                      <a:pt x="-981" y="-539"/>
                    </a:lnTo>
                    <a:close/>
                  </a:path>
                </a:pathLst>
              </a:custGeom>
              <a:solidFill>
                <a:srgbClr val="DBDEE5"/>
              </a:solidFill>
              <a:ln w="2907" cap="flat">
                <a:noFill/>
                <a:prstDash val="solid"/>
                <a:miter/>
              </a:ln>
            </p:spPr>
            <p:txBody>
              <a:bodyPr rtlCol="0" anchor="ctr"/>
              <a:lstStyle/>
              <a:p>
                <a:endParaRPr lang="en-US" sz="800"/>
              </a:p>
            </p:txBody>
          </p:sp>
          <p:sp>
            <p:nvSpPr>
              <p:cNvPr id="82" name="Graphic 38">
                <a:extLst>
                  <a:ext uri="{FF2B5EF4-FFF2-40B4-BE49-F238E27FC236}">
                    <a16:creationId xmlns:a16="http://schemas.microsoft.com/office/drawing/2014/main" id="{68DD18D0-D3C4-421C-123A-6A96F86D89D4}"/>
                  </a:ext>
                </a:extLst>
              </p:cNvPr>
              <p:cNvSpPr/>
              <p:nvPr/>
            </p:nvSpPr>
            <p:spPr>
              <a:xfrm>
                <a:off x="14353866" y="2938915"/>
                <a:ext cx="2094" cy="3664"/>
              </a:xfrm>
              <a:custGeom>
                <a:avLst/>
                <a:gdLst>
                  <a:gd name="connsiteX0" fmla="*/ 1113 w 2094"/>
                  <a:gd name="connsiteY0" fmla="*/ -539 h 3664"/>
                  <a:gd name="connsiteX1" fmla="*/ -981 w 2094"/>
                  <a:gd name="connsiteY1" fmla="*/ 3126 h 3664"/>
                  <a:gd name="connsiteX2" fmla="*/ 1113 w 2094"/>
                  <a:gd name="connsiteY2" fmla="*/ -539 h 3664"/>
                </a:gdLst>
                <a:ahLst/>
                <a:cxnLst>
                  <a:cxn ang="0">
                    <a:pos x="connsiteX0" y="connsiteY0"/>
                  </a:cxn>
                  <a:cxn ang="0">
                    <a:pos x="connsiteX1" y="connsiteY1"/>
                  </a:cxn>
                  <a:cxn ang="0">
                    <a:pos x="connsiteX2" y="connsiteY2"/>
                  </a:cxn>
                </a:cxnLst>
                <a:rect l="l" t="t" r="r" b="b"/>
                <a:pathLst>
                  <a:path w="2094" h="3664">
                    <a:moveTo>
                      <a:pt x="1113" y="-539"/>
                    </a:moveTo>
                    <a:lnTo>
                      <a:pt x="-981" y="3126"/>
                    </a:lnTo>
                    <a:cubicBezTo>
                      <a:pt x="-283" y="1933"/>
                      <a:pt x="415" y="683"/>
                      <a:pt x="1113" y="-539"/>
                    </a:cubicBezTo>
                    <a:close/>
                  </a:path>
                </a:pathLst>
              </a:custGeom>
              <a:solidFill>
                <a:srgbClr val="DBDEE5"/>
              </a:solidFill>
              <a:ln w="2907" cap="flat">
                <a:noFill/>
                <a:prstDash val="solid"/>
                <a:miter/>
              </a:ln>
            </p:spPr>
            <p:txBody>
              <a:bodyPr rtlCol="0" anchor="ctr"/>
              <a:lstStyle/>
              <a:p>
                <a:endParaRPr lang="en-US" sz="800"/>
              </a:p>
            </p:txBody>
          </p:sp>
          <p:sp>
            <p:nvSpPr>
              <p:cNvPr id="83" name="Graphic 38">
                <a:extLst>
                  <a:ext uri="{FF2B5EF4-FFF2-40B4-BE49-F238E27FC236}">
                    <a16:creationId xmlns:a16="http://schemas.microsoft.com/office/drawing/2014/main" id="{CACCE1F6-D7BA-63B6-8622-9C2B0F2E0FA3}"/>
                  </a:ext>
                </a:extLst>
              </p:cNvPr>
              <p:cNvSpPr/>
              <p:nvPr/>
            </p:nvSpPr>
            <p:spPr>
              <a:xfrm>
                <a:off x="14365793" y="2926234"/>
                <a:ext cx="3403" cy="2181"/>
              </a:xfrm>
              <a:custGeom>
                <a:avLst/>
                <a:gdLst>
                  <a:gd name="connsiteX0" fmla="*/ 2422 w 3403"/>
                  <a:gd name="connsiteY0" fmla="*/ -539 h 2181"/>
                  <a:gd name="connsiteX1" fmla="*/ -981 w 3403"/>
                  <a:gd name="connsiteY1" fmla="*/ 1643 h 2181"/>
                </a:gdLst>
                <a:ahLst/>
                <a:cxnLst>
                  <a:cxn ang="0">
                    <a:pos x="connsiteX0" y="connsiteY0"/>
                  </a:cxn>
                  <a:cxn ang="0">
                    <a:pos x="connsiteX1" y="connsiteY1"/>
                  </a:cxn>
                </a:cxnLst>
                <a:rect l="l" t="t" r="r" b="b"/>
                <a:pathLst>
                  <a:path w="3403" h="2181">
                    <a:moveTo>
                      <a:pt x="2422" y="-539"/>
                    </a:moveTo>
                    <a:lnTo>
                      <a:pt x="-981" y="1643"/>
                    </a:lnTo>
                    <a:close/>
                  </a:path>
                </a:pathLst>
              </a:custGeom>
              <a:solidFill>
                <a:srgbClr val="DBDEE5"/>
              </a:solidFill>
              <a:ln w="2907" cap="flat">
                <a:noFill/>
                <a:prstDash val="solid"/>
                <a:miter/>
              </a:ln>
            </p:spPr>
            <p:txBody>
              <a:bodyPr rtlCol="0" anchor="ctr"/>
              <a:lstStyle/>
              <a:p>
                <a:endParaRPr lang="en-US" sz="800"/>
              </a:p>
            </p:txBody>
          </p:sp>
          <p:sp>
            <p:nvSpPr>
              <p:cNvPr id="84" name="Graphic 38">
                <a:extLst>
                  <a:ext uri="{FF2B5EF4-FFF2-40B4-BE49-F238E27FC236}">
                    <a16:creationId xmlns:a16="http://schemas.microsoft.com/office/drawing/2014/main" id="{A04DCFC7-CA89-FA2B-B6DF-09C8305A9DF1}"/>
                  </a:ext>
                </a:extLst>
              </p:cNvPr>
              <p:cNvSpPr/>
              <p:nvPr/>
            </p:nvSpPr>
            <p:spPr>
              <a:xfrm>
                <a:off x="17551817" y="2322568"/>
                <a:ext cx="1235" cy="1803"/>
              </a:xfrm>
              <a:custGeom>
                <a:avLst/>
                <a:gdLst>
                  <a:gd name="connsiteX0" fmla="*/ 170 w 1235"/>
                  <a:gd name="connsiteY0" fmla="*/ 1265 h 1803"/>
                  <a:gd name="connsiteX1" fmla="*/ -964 w 1235"/>
                  <a:gd name="connsiteY1" fmla="*/ -306 h 1803"/>
                  <a:gd name="connsiteX2" fmla="*/ -906 w 1235"/>
                  <a:gd name="connsiteY2" fmla="*/ -539 h 1803"/>
                  <a:gd name="connsiteX3" fmla="*/ 170 w 1235"/>
                  <a:gd name="connsiteY3" fmla="*/ 1265 h 1803"/>
                </a:gdLst>
                <a:ahLst/>
                <a:cxnLst>
                  <a:cxn ang="0">
                    <a:pos x="connsiteX0" y="connsiteY0"/>
                  </a:cxn>
                  <a:cxn ang="0">
                    <a:pos x="connsiteX1" y="connsiteY1"/>
                  </a:cxn>
                  <a:cxn ang="0">
                    <a:pos x="connsiteX2" y="connsiteY2"/>
                  </a:cxn>
                  <a:cxn ang="0">
                    <a:pos x="connsiteX3" y="connsiteY3"/>
                  </a:cxn>
                </a:cxnLst>
                <a:rect l="l" t="t" r="r" b="b"/>
                <a:pathLst>
                  <a:path w="1235" h="1803">
                    <a:moveTo>
                      <a:pt x="170" y="1265"/>
                    </a:moveTo>
                    <a:cubicBezTo>
                      <a:pt x="-587" y="1148"/>
                      <a:pt x="-1081" y="450"/>
                      <a:pt x="-964" y="-306"/>
                    </a:cubicBezTo>
                    <a:cubicBezTo>
                      <a:pt x="-964" y="-393"/>
                      <a:pt x="-935" y="-451"/>
                      <a:pt x="-906" y="-539"/>
                    </a:cubicBezTo>
                    <a:cubicBezTo>
                      <a:pt x="82" y="-335"/>
                      <a:pt x="432" y="247"/>
                      <a:pt x="170" y="1265"/>
                    </a:cubicBezTo>
                    <a:close/>
                  </a:path>
                </a:pathLst>
              </a:custGeom>
              <a:solidFill>
                <a:srgbClr val="AFB0B4"/>
              </a:solidFill>
              <a:ln w="2907" cap="flat">
                <a:noFill/>
                <a:prstDash val="solid"/>
                <a:miter/>
              </a:ln>
            </p:spPr>
            <p:txBody>
              <a:bodyPr rtlCol="0" anchor="ctr"/>
              <a:lstStyle/>
              <a:p>
                <a:endParaRPr lang="en-US" sz="800"/>
              </a:p>
            </p:txBody>
          </p:sp>
          <p:sp>
            <p:nvSpPr>
              <p:cNvPr id="85" name="Graphic 38">
                <a:extLst>
                  <a:ext uri="{FF2B5EF4-FFF2-40B4-BE49-F238E27FC236}">
                    <a16:creationId xmlns:a16="http://schemas.microsoft.com/office/drawing/2014/main" id="{169833D0-1EED-D29F-0678-839D209AA7C3}"/>
                  </a:ext>
                </a:extLst>
              </p:cNvPr>
              <p:cNvSpPr/>
              <p:nvPr/>
            </p:nvSpPr>
            <p:spPr>
              <a:xfrm>
                <a:off x="12552437" y="964111"/>
                <a:ext cx="174054" cy="171696"/>
              </a:xfrm>
              <a:custGeom>
                <a:avLst/>
                <a:gdLst>
                  <a:gd name="connsiteX0" fmla="*/ 85632 w 174054"/>
                  <a:gd name="connsiteY0" fmla="*/ 170826 h 171696"/>
                  <a:gd name="connsiteX1" fmla="*/ -936 w 174054"/>
                  <a:gd name="connsiteY1" fmla="*/ 85116 h 171696"/>
                  <a:gd name="connsiteX2" fmla="*/ 87116 w 174054"/>
                  <a:gd name="connsiteY2" fmla="*/ -536 h 171696"/>
                  <a:gd name="connsiteX3" fmla="*/ 173073 w 174054"/>
                  <a:gd name="connsiteY3" fmla="*/ 86715 h 171696"/>
                  <a:gd name="connsiteX4" fmla="*/ 85632 w 174054"/>
                  <a:gd name="connsiteY4" fmla="*/ 170826 h 171696"/>
                  <a:gd name="connsiteX5" fmla="*/ 141309 w 174054"/>
                  <a:gd name="connsiteY5" fmla="*/ 79648 h 171696"/>
                  <a:gd name="connsiteX6" fmla="*/ 159576 w 174054"/>
                  <a:gd name="connsiteY6" fmla="*/ 70399 h 171696"/>
                  <a:gd name="connsiteX7" fmla="*/ 147068 w 174054"/>
                  <a:gd name="connsiteY7" fmla="*/ 48906 h 171696"/>
                  <a:gd name="connsiteX8" fmla="*/ 129295 w 174054"/>
                  <a:gd name="connsiteY8" fmla="*/ 61703 h 171696"/>
                  <a:gd name="connsiteX9" fmla="*/ 141309 w 174054"/>
                  <a:gd name="connsiteY9" fmla="*/ 79648 h 171696"/>
                  <a:gd name="connsiteX10" fmla="*/ 41796 w 174054"/>
                  <a:gd name="connsiteY10" fmla="*/ 109575 h 171696"/>
                  <a:gd name="connsiteX11" fmla="*/ 28153 w 174054"/>
                  <a:gd name="connsiteY11" fmla="*/ 89711 h 171696"/>
                  <a:gd name="connsiteX12" fmla="*/ 12300 w 174054"/>
                  <a:gd name="connsiteY12" fmla="*/ 99745 h 171696"/>
                  <a:gd name="connsiteX13" fmla="*/ 27077 w 174054"/>
                  <a:gd name="connsiteY13" fmla="*/ 122140 h 171696"/>
                  <a:gd name="connsiteX14" fmla="*/ 41796 w 174054"/>
                  <a:gd name="connsiteY14" fmla="*/ 109575 h 171696"/>
                  <a:gd name="connsiteX15" fmla="*/ 143112 w 174054"/>
                  <a:gd name="connsiteY15" fmla="*/ 91456 h 171696"/>
                  <a:gd name="connsiteX16" fmla="*/ 129353 w 174054"/>
                  <a:gd name="connsiteY16" fmla="*/ 109139 h 171696"/>
                  <a:gd name="connsiteX17" fmla="*/ 147766 w 174054"/>
                  <a:gd name="connsiteY17" fmla="*/ 121791 h 171696"/>
                  <a:gd name="connsiteX18" fmla="*/ 159606 w 174054"/>
                  <a:gd name="connsiteY18" fmla="*/ 100850 h 171696"/>
                  <a:gd name="connsiteX19" fmla="*/ 143112 w 174054"/>
                  <a:gd name="connsiteY19" fmla="*/ 91456 h 171696"/>
                  <a:gd name="connsiteX20" fmla="*/ 40050 w 174054"/>
                  <a:gd name="connsiteY20" fmla="*/ 64786 h 171696"/>
                  <a:gd name="connsiteX21" fmla="*/ 26902 w 174054"/>
                  <a:gd name="connsiteY21" fmla="*/ 48906 h 171696"/>
                  <a:gd name="connsiteX22" fmla="*/ 11863 w 174054"/>
                  <a:gd name="connsiteY22" fmla="*/ 69003 h 171696"/>
                  <a:gd name="connsiteX23" fmla="*/ 25971 w 174054"/>
                  <a:gd name="connsiteY23" fmla="*/ 80899 h 171696"/>
                  <a:gd name="connsiteX24" fmla="*/ 40050 w 174054"/>
                  <a:gd name="connsiteY24" fmla="*/ 64786 h 171696"/>
                  <a:gd name="connsiteX25" fmla="*/ 81182 w 174054"/>
                  <a:gd name="connsiteY25" fmla="*/ 31747 h 171696"/>
                  <a:gd name="connsiteX26" fmla="*/ 77430 w 174054"/>
                  <a:gd name="connsiteY26" fmla="*/ 14849 h 171696"/>
                  <a:gd name="connsiteX27" fmla="*/ 64340 w 174054"/>
                  <a:gd name="connsiteY27" fmla="*/ 26715 h 171696"/>
                  <a:gd name="connsiteX28" fmla="*/ 60151 w 174054"/>
                  <a:gd name="connsiteY28" fmla="*/ 33346 h 171696"/>
                  <a:gd name="connsiteX29" fmla="*/ 57852 w 174054"/>
                  <a:gd name="connsiteY29" fmla="*/ 47888 h 171696"/>
                  <a:gd name="connsiteX30" fmla="*/ 75771 w 174054"/>
                  <a:gd name="connsiteY30" fmla="*/ 49546 h 171696"/>
                  <a:gd name="connsiteX31" fmla="*/ 81182 w 174054"/>
                  <a:gd name="connsiteY31" fmla="*/ 31747 h 171696"/>
                  <a:gd name="connsiteX32" fmla="*/ 80949 w 174054"/>
                  <a:gd name="connsiteY32" fmla="*/ 138805 h 171696"/>
                  <a:gd name="connsiteX33" fmla="*/ 80949 w 174054"/>
                  <a:gd name="connsiteY33" fmla="*/ 134093 h 171696"/>
                  <a:gd name="connsiteX34" fmla="*/ 75888 w 174054"/>
                  <a:gd name="connsiteY34" fmla="*/ 120831 h 171696"/>
                  <a:gd name="connsiteX35" fmla="*/ 59511 w 174054"/>
                  <a:gd name="connsiteY35" fmla="*/ 123739 h 171696"/>
                  <a:gd name="connsiteX36" fmla="*/ 61140 w 174054"/>
                  <a:gd name="connsiteY36" fmla="*/ 139241 h 171696"/>
                  <a:gd name="connsiteX37" fmla="*/ 68063 w 174054"/>
                  <a:gd name="connsiteY37" fmla="*/ 149624 h 171696"/>
                  <a:gd name="connsiteX38" fmla="*/ 77807 w 174054"/>
                  <a:gd name="connsiteY38" fmla="*/ 156168 h 171696"/>
                  <a:gd name="connsiteX39" fmla="*/ 80949 w 174054"/>
                  <a:gd name="connsiteY39" fmla="*/ 145174 h 171696"/>
                  <a:gd name="connsiteX40" fmla="*/ 80949 w 174054"/>
                  <a:gd name="connsiteY40" fmla="*/ 138805 h 171696"/>
                  <a:gd name="connsiteX41" fmla="*/ 90287 w 174054"/>
                  <a:gd name="connsiteY41" fmla="*/ 138572 h 171696"/>
                  <a:gd name="connsiteX42" fmla="*/ 93748 w 174054"/>
                  <a:gd name="connsiteY42" fmla="*/ 155528 h 171696"/>
                  <a:gd name="connsiteX43" fmla="*/ 106838 w 174054"/>
                  <a:gd name="connsiteY43" fmla="*/ 142440 h 171696"/>
                  <a:gd name="connsiteX44" fmla="*/ 109951 w 174054"/>
                  <a:gd name="connsiteY44" fmla="*/ 137002 h 171696"/>
                  <a:gd name="connsiteX45" fmla="*/ 112656 w 174054"/>
                  <a:gd name="connsiteY45" fmla="*/ 123012 h 171696"/>
                  <a:gd name="connsiteX46" fmla="*/ 96133 w 174054"/>
                  <a:gd name="connsiteY46" fmla="*/ 120860 h 171696"/>
                  <a:gd name="connsiteX47" fmla="*/ 90345 w 174054"/>
                  <a:gd name="connsiteY47" fmla="*/ 138572 h 171696"/>
                  <a:gd name="connsiteX48" fmla="*/ 90287 w 174054"/>
                  <a:gd name="connsiteY48" fmla="*/ 30787 h 171696"/>
                  <a:gd name="connsiteX49" fmla="*/ 97559 w 174054"/>
                  <a:gd name="connsiteY49" fmla="*/ 50128 h 171696"/>
                  <a:gd name="connsiteX50" fmla="*/ 110794 w 174054"/>
                  <a:gd name="connsiteY50" fmla="*/ 47859 h 171696"/>
                  <a:gd name="connsiteX51" fmla="*/ 106780 w 174054"/>
                  <a:gd name="connsiteY51" fmla="*/ 27239 h 171696"/>
                  <a:gd name="connsiteX52" fmla="*/ 93981 w 174054"/>
                  <a:gd name="connsiteY52" fmla="*/ 15198 h 171696"/>
                  <a:gd name="connsiteX53" fmla="*/ 90345 w 174054"/>
                  <a:gd name="connsiteY53" fmla="*/ 30787 h 171696"/>
                  <a:gd name="connsiteX54" fmla="*/ 64107 w 174054"/>
                  <a:gd name="connsiteY54" fmla="*/ 59871 h 171696"/>
                  <a:gd name="connsiteX55" fmla="*/ 51511 w 174054"/>
                  <a:gd name="connsiteY55" fmla="*/ 72726 h 171696"/>
                  <a:gd name="connsiteX56" fmla="*/ 66696 w 174054"/>
                  <a:gd name="connsiteY56" fmla="*/ 81626 h 171696"/>
                  <a:gd name="connsiteX57" fmla="*/ 81066 w 174054"/>
                  <a:gd name="connsiteY57" fmla="*/ 69294 h 171696"/>
                  <a:gd name="connsiteX58" fmla="*/ 63961 w 174054"/>
                  <a:gd name="connsiteY58" fmla="*/ 59958 h 171696"/>
                  <a:gd name="connsiteX59" fmla="*/ 64107 w 174054"/>
                  <a:gd name="connsiteY59" fmla="*/ 91311 h 171696"/>
                  <a:gd name="connsiteX60" fmla="*/ 51453 w 174054"/>
                  <a:gd name="connsiteY60" fmla="*/ 98960 h 171696"/>
                  <a:gd name="connsiteX61" fmla="*/ 64223 w 174054"/>
                  <a:gd name="connsiteY61" fmla="*/ 110593 h 171696"/>
                  <a:gd name="connsiteX62" fmla="*/ 80513 w 174054"/>
                  <a:gd name="connsiteY62" fmla="*/ 100210 h 171696"/>
                  <a:gd name="connsiteX63" fmla="*/ 64165 w 174054"/>
                  <a:gd name="connsiteY63" fmla="*/ 91398 h 171696"/>
                  <a:gd name="connsiteX64" fmla="*/ 104569 w 174054"/>
                  <a:gd name="connsiteY64" fmla="*/ 78979 h 171696"/>
                  <a:gd name="connsiteX65" fmla="*/ 118939 w 174054"/>
                  <a:gd name="connsiteY65" fmla="*/ 69701 h 171696"/>
                  <a:gd name="connsiteX66" fmla="*/ 105006 w 174054"/>
                  <a:gd name="connsiteY66" fmla="*/ 60046 h 171696"/>
                  <a:gd name="connsiteX67" fmla="*/ 90461 w 174054"/>
                  <a:gd name="connsiteY67" fmla="*/ 69294 h 171696"/>
                  <a:gd name="connsiteX68" fmla="*/ 104569 w 174054"/>
                  <a:gd name="connsiteY68" fmla="*/ 79066 h 171696"/>
                  <a:gd name="connsiteX69" fmla="*/ 105529 w 174054"/>
                  <a:gd name="connsiteY69" fmla="*/ 110477 h 171696"/>
                  <a:gd name="connsiteX70" fmla="*/ 118910 w 174054"/>
                  <a:gd name="connsiteY70" fmla="*/ 100210 h 171696"/>
                  <a:gd name="connsiteX71" fmla="*/ 103900 w 174054"/>
                  <a:gd name="connsiteY71" fmla="*/ 91660 h 171696"/>
                  <a:gd name="connsiteX72" fmla="*/ 90607 w 174054"/>
                  <a:gd name="connsiteY72" fmla="*/ 101955 h 171696"/>
                  <a:gd name="connsiteX73" fmla="*/ 105529 w 174054"/>
                  <a:gd name="connsiteY73" fmla="*/ 110564 h 17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74054" h="171696">
                    <a:moveTo>
                      <a:pt x="85632" y="170826"/>
                    </a:moveTo>
                    <a:cubicBezTo>
                      <a:pt x="41418" y="175596"/>
                      <a:pt x="-2594" y="127986"/>
                      <a:pt x="-936" y="85116"/>
                    </a:cubicBezTo>
                    <a:cubicBezTo>
                      <a:pt x="809" y="39716"/>
                      <a:pt x="35309" y="-885"/>
                      <a:pt x="87116" y="-536"/>
                    </a:cubicBezTo>
                    <a:cubicBezTo>
                      <a:pt x="134851" y="86"/>
                      <a:pt x="173161" y="38995"/>
                      <a:pt x="173073" y="86715"/>
                    </a:cubicBezTo>
                    <a:cubicBezTo>
                      <a:pt x="172812" y="126997"/>
                      <a:pt x="136072" y="174404"/>
                      <a:pt x="85632" y="170826"/>
                    </a:cubicBezTo>
                    <a:close/>
                    <a:moveTo>
                      <a:pt x="141309" y="79648"/>
                    </a:moveTo>
                    <a:cubicBezTo>
                      <a:pt x="151431" y="78310"/>
                      <a:pt x="161060" y="81306"/>
                      <a:pt x="159576" y="70399"/>
                    </a:cubicBezTo>
                    <a:cubicBezTo>
                      <a:pt x="158413" y="62023"/>
                      <a:pt x="159576" y="49284"/>
                      <a:pt x="147068" y="48906"/>
                    </a:cubicBezTo>
                    <a:cubicBezTo>
                      <a:pt x="140377" y="48703"/>
                      <a:pt x="128248" y="49866"/>
                      <a:pt x="129295" y="61703"/>
                    </a:cubicBezTo>
                    <a:cubicBezTo>
                      <a:pt x="130022" y="70254"/>
                      <a:pt x="130517" y="82062"/>
                      <a:pt x="141309" y="79648"/>
                    </a:cubicBezTo>
                    <a:close/>
                    <a:moveTo>
                      <a:pt x="41796" y="109575"/>
                    </a:moveTo>
                    <a:cubicBezTo>
                      <a:pt x="39090" y="100850"/>
                      <a:pt x="41505" y="88373"/>
                      <a:pt x="28153" y="89711"/>
                    </a:cubicBezTo>
                    <a:cubicBezTo>
                      <a:pt x="22335" y="90264"/>
                      <a:pt x="10380" y="88344"/>
                      <a:pt x="12300" y="99745"/>
                    </a:cubicBezTo>
                    <a:cubicBezTo>
                      <a:pt x="13754" y="108470"/>
                      <a:pt x="13521" y="121791"/>
                      <a:pt x="27077" y="122140"/>
                    </a:cubicBezTo>
                    <a:cubicBezTo>
                      <a:pt x="34581" y="122660"/>
                      <a:pt x="41126" y="117073"/>
                      <a:pt x="41796" y="109575"/>
                    </a:cubicBezTo>
                    <a:close/>
                    <a:moveTo>
                      <a:pt x="143112" y="91456"/>
                    </a:moveTo>
                    <a:cubicBezTo>
                      <a:pt x="130604" y="88548"/>
                      <a:pt x="129702" y="100501"/>
                      <a:pt x="129353" y="109139"/>
                    </a:cubicBezTo>
                    <a:cubicBezTo>
                      <a:pt x="128888" y="120453"/>
                      <a:pt x="141367" y="121994"/>
                      <a:pt x="147766" y="121791"/>
                    </a:cubicBezTo>
                    <a:cubicBezTo>
                      <a:pt x="159169" y="121384"/>
                      <a:pt x="158325" y="108936"/>
                      <a:pt x="159606" y="100850"/>
                    </a:cubicBezTo>
                    <a:cubicBezTo>
                      <a:pt x="161322" y="89827"/>
                      <a:pt x="151955" y="92212"/>
                      <a:pt x="143112" y="91456"/>
                    </a:cubicBezTo>
                    <a:close/>
                    <a:moveTo>
                      <a:pt x="40050" y="64786"/>
                    </a:moveTo>
                    <a:cubicBezTo>
                      <a:pt x="45199" y="51291"/>
                      <a:pt x="32487" y="49226"/>
                      <a:pt x="26902" y="48906"/>
                    </a:cubicBezTo>
                    <a:cubicBezTo>
                      <a:pt x="14889" y="48208"/>
                      <a:pt x="13958" y="60540"/>
                      <a:pt x="11863" y="69003"/>
                    </a:cubicBezTo>
                    <a:cubicBezTo>
                      <a:pt x="8954" y="80259"/>
                      <a:pt x="19746" y="79793"/>
                      <a:pt x="25971" y="80899"/>
                    </a:cubicBezTo>
                    <a:cubicBezTo>
                      <a:pt x="38770" y="83196"/>
                      <a:pt x="40370" y="74209"/>
                      <a:pt x="40050" y="64786"/>
                    </a:cubicBezTo>
                    <a:close/>
                    <a:moveTo>
                      <a:pt x="81182" y="31747"/>
                    </a:moveTo>
                    <a:cubicBezTo>
                      <a:pt x="79407" y="25930"/>
                      <a:pt x="84644" y="16885"/>
                      <a:pt x="77430" y="14849"/>
                    </a:cubicBezTo>
                    <a:cubicBezTo>
                      <a:pt x="71612" y="13191"/>
                      <a:pt x="67714" y="21422"/>
                      <a:pt x="64340" y="26715"/>
                    </a:cubicBezTo>
                    <a:cubicBezTo>
                      <a:pt x="62652" y="28737"/>
                      <a:pt x="61256" y="30964"/>
                      <a:pt x="60151" y="33346"/>
                    </a:cubicBezTo>
                    <a:cubicBezTo>
                      <a:pt x="58667" y="38145"/>
                      <a:pt x="53780" y="43671"/>
                      <a:pt x="57852" y="47888"/>
                    </a:cubicBezTo>
                    <a:cubicBezTo>
                      <a:pt x="62478" y="52775"/>
                      <a:pt x="70099" y="51495"/>
                      <a:pt x="75771" y="49546"/>
                    </a:cubicBezTo>
                    <a:cubicBezTo>
                      <a:pt x="84760" y="46580"/>
                      <a:pt x="79378" y="37825"/>
                      <a:pt x="81182" y="31747"/>
                    </a:cubicBezTo>
                    <a:close/>
                    <a:moveTo>
                      <a:pt x="80949" y="138805"/>
                    </a:moveTo>
                    <a:cubicBezTo>
                      <a:pt x="81037" y="137234"/>
                      <a:pt x="81037" y="135664"/>
                      <a:pt x="80949" y="134093"/>
                    </a:cubicBezTo>
                    <a:cubicBezTo>
                      <a:pt x="80484" y="129178"/>
                      <a:pt x="82782" y="122809"/>
                      <a:pt x="75888" y="120831"/>
                    </a:cubicBezTo>
                    <a:cubicBezTo>
                      <a:pt x="70303" y="118833"/>
                      <a:pt x="64078" y="119938"/>
                      <a:pt x="59511" y="123739"/>
                    </a:cubicBezTo>
                    <a:cubicBezTo>
                      <a:pt x="53926" y="129004"/>
                      <a:pt x="59103" y="134355"/>
                      <a:pt x="61140" y="139241"/>
                    </a:cubicBezTo>
                    <a:cubicBezTo>
                      <a:pt x="62914" y="143031"/>
                      <a:pt x="65241" y="146530"/>
                      <a:pt x="68063" y="149624"/>
                    </a:cubicBezTo>
                    <a:cubicBezTo>
                      <a:pt x="70681" y="152678"/>
                      <a:pt x="73270" y="157564"/>
                      <a:pt x="77807" y="156168"/>
                    </a:cubicBezTo>
                    <a:cubicBezTo>
                      <a:pt x="82898" y="154598"/>
                      <a:pt x="80455" y="149042"/>
                      <a:pt x="80949" y="145174"/>
                    </a:cubicBezTo>
                    <a:cubicBezTo>
                      <a:pt x="81094" y="143054"/>
                      <a:pt x="81094" y="140925"/>
                      <a:pt x="80949" y="138805"/>
                    </a:cubicBezTo>
                    <a:close/>
                    <a:moveTo>
                      <a:pt x="90287" y="138572"/>
                    </a:moveTo>
                    <a:cubicBezTo>
                      <a:pt x="91858" y="144389"/>
                      <a:pt x="87087" y="153725"/>
                      <a:pt x="93748" y="155528"/>
                    </a:cubicBezTo>
                    <a:cubicBezTo>
                      <a:pt x="100409" y="157331"/>
                      <a:pt x="104395" y="149013"/>
                      <a:pt x="106838" y="142440"/>
                    </a:cubicBezTo>
                    <a:cubicBezTo>
                      <a:pt x="107769" y="140562"/>
                      <a:pt x="108787" y="138747"/>
                      <a:pt x="109951" y="137002"/>
                    </a:cubicBezTo>
                    <a:cubicBezTo>
                      <a:pt x="112278" y="132581"/>
                      <a:pt x="117572" y="128131"/>
                      <a:pt x="112656" y="123012"/>
                    </a:cubicBezTo>
                    <a:cubicBezTo>
                      <a:pt x="108235" y="118388"/>
                      <a:pt x="101457" y="119260"/>
                      <a:pt x="96133" y="120860"/>
                    </a:cubicBezTo>
                    <a:cubicBezTo>
                      <a:pt x="86738" y="123652"/>
                      <a:pt x="92119" y="132377"/>
                      <a:pt x="90345" y="138572"/>
                    </a:cubicBezTo>
                    <a:close/>
                    <a:moveTo>
                      <a:pt x="90287" y="30787"/>
                    </a:moveTo>
                    <a:cubicBezTo>
                      <a:pt x="92876" y="37098"/>
                      <a:pt x="85458" y="47394"/>
                      <a:pt x="97559" y="50128"/>
                    </a:cubicBezTo>
                    <a:cubicBezTo>
                      <a:pt x="101980" y="51146"/>
                      <a:pt x="108235" y="52280"/>
                      <a:pt x="110794" y="47859"/>
                    </a:cubicBezTo>
                    <a:cubicBezTo>
                      <a:pt x="115041" y="40588"/>
                      <a:pt x="110067" y="33317"/>
                      <a:pt x="106780" y="27239"/>
                    </a:cubicBezTo>
                    <a:cubicBezTo>
                      <a:pt x="103871" y="22004"/>
                      <a:pt x="100002" y="13889"/>
                      <a:pt x="93981" y="15198"/>
                    </a:cubicBezTo>
                    <a:cubicBezTo>
                      <a:pt x="87261" y="16652"/>
                      <a:pt x="91916" y="25232"/>
                      <a:pt x="90345" y="30787"/>
                    </a:cubicBezTo>
                    <a:close/>
                    <a:moveTo>
                      <a:pt x="64107" y="59871"/>
                    </a:moveTo>
                    <a:cubicBezTo>
                      <a:pt x="55380" y="56963"/>
                      <a:pt x="51570" y="63797"/>
                      <a:pt x="51511" y="72726"/>
                    </a:cubicBezTo>
                    <a:cubicBezTo>
                      <a:pt x="51511" y="82731"/>
                      <a:pt x="60732" y="81161"/>
                      <a:pt x="66696" y="81626"/>
                    </a:cubicBezTo>
                    <a:cubicBezTo>
                      <a:pt x="74637" y="82237"/>
                      <a:pt x="81240" y="79444"/>
                      <a:pt x="81066" y="69294"/>
                    </a:cubicBezTo>
                    <a:cubicBezTo>
                      <a:pt x="80804" y="58446"/>
                      <a:pt x="72892" y="60453"/>
                      <a:pt x="63961" y="59958"/>
                    </a:cubicBezTo>
                    <a:close/>
                    <a:moveTo>
                      <a:pt x="64107" y="91311"/>
                    </a:moveTo>
                    <a:cubicBezTo>
                      <a:pt x="59918" y="93725"/>
                      <a:pt x="50406" y="87094"/>
                      <a:pt x="51453" y="98960"/>
                    </a:cubicBezTo>
                    <a:cubicBezTo>
                      <a:pt x="52151" y="106667"/>
                      <a:pt x="55118" y="111757"/>
                      <a:pt x="64223" y="110593"/>
                    </a:cubicBezTo>
                    <a:cubicBezTo>
                      <a:pt x="71466" y="109663"/>
                      <a:pt x="80106" y="110303"/>
                      <a:pt x="80513" y="100210"/>
                    </a:cubicBezTo>
                    <a:cubicBezTo>
                      <a:pt x="81007" y="87937"/>
                      <a:pt x="70652" y="93114"/>
                      <a:pt x="64165" y="91398"/>
                    </a:cubicBezTo>
                    <a:close/>
                    <a:moveTo>
                      <a:pt x="104569" y="78979"/>
                    </a:moveTo>
                    <a:cubicBezTo>
                      <a:pt x="111114" y="78659"/>
                      <a:pt x="118823" y="80521"/>
                      <a:pt x="118939" y="69701"/>
                    </a:cubicBezTo>
                    <a:cubicBezTo>
                      <a:pt x="119056" y="58882"/>
                      <a:pt x="111871" y="59871"/>
                      <a:pt x="105006" y="60046"/>
                    </a:cubicBezTo>
                    <a:cubicBezTo>
                      <a:pt x="98141" y="60220"/>
                      <a:pt x="90723" y="58475"/>
                      <a:pt x="90461" y="69294"/>
                    </a:cubicBezTo>
                    <a:cubicBezTo>
                      <a:pt x="90199" y="80114"/>
                      <a:pt x="97704" y="79008"/>
                      <a:pt x="104569" y="79066"/>
                    </a:cubicBezTo>
                    <a:close/>
                    <a:moveTo>
                      <a:pt x="105529" y="110477"/>
                    </a:moveTo>
                    <a:cubicBezTo>
                      <a:pt x="113267" y="111204"/>
                      <a:pt x="119434" y="110244"/>
                      <a:pt x="118910" y="100210"/>
                    </a:cubicBezTo>
                    <a:cubicBezTo>
                      <a:pt x="118357" y="89304"/>
                      <a:pt x="110183" y="92038"/>
                      <a:pt x="103900" y="91660"/>
                    </a:cubicBezTo>
                    <a:cubicBezTo>
                      <a:pt x="96599" y="91195"/>
                      <a:pt x="89996" y="91660"/>
                      <a:pt x="90607" y="101955"/>
                    </a:cubicBezTo>
                    <a:cubicBezTo>
                      <a:pt x="91218" y="112949"/>
                      <a:pt x="99421" y="109896"/>
                      <a:pt x="105529" y="110564"/>
                    </a:cubicBezTo>
                    <a:close/>
                  </a:path>
                </a:pathLst>
              </a:custGeom>
              <a:solidFill>
                <a:srgbClr val="DBDEE5"/>
              </a:solidFill>
              <a:ln w="2907" cap="flat">
                <a:noFill/>
                <a:prstDash val="solid"/>
                <a:miter/>
              </a:ln>
            </p:spPr>
            <p:txBody>
              <a:bodyPr rtlCol="0" anchor="ctr"/>
              <a:lstStyle/>
              <a:p>
                <a:endParaRPr lang="en-US" sz="800"/>
              </a:p>
            </p:txBody>
          </p:sp>
          <p:sp>
            <p:nvSpPr>
              <p:cNvPr id="86" name="Graphic 38">
                <a:extLst>
                  <a:ext uri="{FF2B5EF4-FFF2-40B4-BE49-F238E27FC236}">
                    <a16:creationId xmlns:a16="http://schemas.microsoft.com/office/drawing/2014/main" id="{D5258C9C-7A6A-0130-AC56-E63FDA7FB009}"/>
                  </a:ext>
                </a:extLst>
              </p:cNvPr>
              <p:cNvSpPr/>
              <p:nvPr/>
            </p:nvSpPr>
            <p:spPr>
              <a:xfrm>
                <a:off x="12537677" y="659343"/>
                <a:ext cx="203672" cy="194356"/>
              </a:xfrm>
              <a:custGeom>
                <a:avLst/>
                <a:gdLst>
                  <a:gd name="connsiteX0" fmla="*/ 34186 w 203672"/>
                  <a:gd name="connsiteY0" fmla="*/ 177193 h 194356"/>
                  <a:gd name="connsiteX1" fmla="*/ 46723 w 203672"/>
                  <a:gd name="connsiteY1" fmla="*/ 137697 h 194356"/>
                  <a:gd name="connsiteX2" fmla="*/ 37997 w 203672"/>
                  <a:gd name="connsiteY2" fmla="*/ 113209 h 194356"/>
                  <a:gd name="connsiteX3" fmla="*/ 8908 w 203672"/>
                  <a:gd name="connsiteY3" fmla="*/ 91803 h 194356"/>
                  <a:gd name="connsiteX4" fmla="*/ -197 w 203672"/>
                  <a:gd name="connsiteY4" fmla="*/ 73567 h 194356"/>
                  <a:gd name="connsiteX5" fmla="*/ 18129 w 203672"/>
                  <a:gd name="connsiteY5" fmla="*/ 64231 h 194356"/>
                  <a:gd name="connsiteX6" fmla="*/ 55944 w 203672"/>
                  <a:gd name="connsiteY6" fmla="*/ 64231 h 194356"/>
                  <a:gd name="connsiteX7" fmla="*/ 74183 w 203672"/>
                  <a:gd name="connsiteY7" fmla="*/ 51376 h 194356"/>
                  <a:gd name="connsiteX8" fmla="*/ 83404 w 203672"/>
                  <a:gd name="connsiteY8" fmla="*/ 21274 h 194356"/>
                  <a:gd name="connsiteX9" fmla="*/ 100858 w 203672"/>
                  <a:gd name="connsiteY9" fmla="*/ -539 h 194356"/>
                  <a:gd name="connsiteX10" fmla="*/ 117526 w 203672"/>
                  <a:gd name="connsiteY10" fmla="*/ 21623 h 194356"/>
                  <a:gd name="connsiteX11" fmla="*/ 126746 w 203672"/>
                  <a:gd name="connsiteY11" fmla="*/ 50067 h 194356"/>
                  <a:gd name="connsiteX12" fmla="*/ 148040 w 203672"/>
                  <a:gd name="connsiteY12" fmla="*/ 64289 h 194356"/>
                  <a:gd name="connsiteX13" fmla="*/ 187542 w 203672"/>
                  <a:gd name="connsiteY13" fmla="*/ 64115 h 194356"/>
                  <a:gd name="connsiteX14" fmla="*/ 201796 w 203672"/>
                  <a:gd name="connsiteY14" fmla="*/ 71968 h 194356"/>
                  <a:gd name="connsiteX15" fmla="*/ 195396 w 203672"/>
                  <a:gd name="connsiteY15" fmla="*/ 88313 h 194356"/>
                  <a:gd name="connsiteX16" fmla="*/ 162991 w 203672"/>
                  <a:gd name="connsiteY16" fmla="*/ 113325 h 194356"/>
                  <a:gd name="connsiteX17" fmla="*/ 155661 w 203672"/>
                  <a:gd name="connsiteY17" fmla="*/ 137377 h 194356"/>
                  <a:gd name="connsiteX18" fmla="*/ 167471 w 203672"/>
                  <a:gd name="connsiteY18" fmla="*/ 176466 h 194356"/>
                  <a:gd name="connsiteX19" fmla="*/ 162933 w 203672"/>
                  <a:gd name="connsiteY19" fmla="*/ 190165 h 194356"/>
                  <a:gd name="connsiteX20" fmla="*/ 146963 w 203672"/>
                  <a:gd name="connsiteY20" fmla="*/ 190165 h 194356"/>
                  <a:gd name="connsiteX21" fmla="*/ 112784 w 203672"/>
                  <a:gd name="connsiteY21" fmla="*/ 167625 h 194356"/>
                  <a:gd name="connsiteX22" fmla="*/ 91316 w 203672"/>
                  <a:gd name="connsiteY22" fmla="*/ 166025 h 194356"/>
                  <a:gd name="connsiteX23" fmla="*/ 56410 w 203672"/>
                  <a:gd name="connsiteY23" fmla="*/ 190252 h 194356"/>
                  <a:gd name="connsiteX24" fmla="*/ 38782 w 203672"/>
                  <a:gd name="connsiteY24" fmla="*/ 191503 h 194356"/>
                  <a:gd name="connsiteX25" fmla="*/ 34186 w 203672"/>
                  <a:gd name="connsiteY25" fmla="*/ 177193 h 194356"/>
                  <a:gd name="connsiteX26" fmla="*/ 50766 w 203672"/>
                  <a:gd name="connsiteY26" fmla="*/ 180102 h 194356"/>
                  <a:gd name="connsiteX27" fmla="*/ 65311 w 203672"/>
                  <a:gd name="connsiteY27" fmla="*/ 171813 h 194356"/>
                  <a:gd name="connsiteX28" fmla="*/ 88582 w 203672"/>
                  <a:gd name="connsiteY28" fmla="*/ 155410 h 194356"/>
                  <a:gd name="connsiteX29" fmla="*/ 114268 w 203672"/>
                  <a:gd name="connsiteY29" fmla="*/ 155410 h 194356"/>
                  <a:gd name="connsiteX30" fmla="*/ 142309 w 203672"/>
                  <a:gd name="connsiteY30" fmla="*/ 175768 h 194356"/>
                  <a:gd name="connsiteX31" fmla="*/ 153741 w 203672"/>
                  <a:gd name="connsiteY31" fmla="*/ 178997 h 194356"/>
                  <a:gd name="connsiteX32" fmla="*/ 153916 w 203672"/>
                  <a:gd name="connsiteY32" fmla="*/ 167363 h 194356"/>
                  <a:gd name="connsiteX33" fmla="*/ 143153 w 203672"/>
                  <a:gd name="connsiteY33" fmla="*/ 129554 h 194356"/>
                  <a:gd name="connsiteX34" fmla="*/ 149901 w 203672"/>
                  <a:gd name="connsiteY34" fmla="*/ 111318 h 194356"/>
                  <a:gd name="connsiteX35" fmla="*/ 184662 w 203672"/>
                  <a:gd name="connsiteY35" fmla="*/ 84474 h 194356"/>
                  <a:gd name="connsiteX36" fmla="*/ 188677 w 203672"/>
                  <a:gd name="connsiteY36" fmla="*/ 76679 h 194356"/>
                  <a:gd name="connsiteX37" fmla="*/ 180386 w 203672"/>
                  <a:gd name="connsiteY37" fmla="*/ 73916 h 194356"/>
                  <a:gd name="connsiteX38" fmla="*/ 134484 w 203672"/>
                  <a:gd name="connsiteY38" fmla="*/ 73916 h 194356"/>
                  <a:gd name="connsiteX39" fmla="*/ 120871 w 203672"/>
                  <a:gd name="connsiteY39" fmla="*/ 63970 h 194356"/>
                  <a:gd name="connsiteX40" fmla="*/ 105657 w 203672"/>
                  <a:gd name="connsiteY40" fmla="*/ 19151 h 194356"/>
                  <a:gd name="connsiteX41" fmla="*/ 100799 w 203672"/>
                  <a:gd name="connsiteY41" fmla="*/ 12520 h 194356"/>
                  <a:gd name="connsiteX42" fmla="*/ 95505 w 203672"/>
                  <a:gd name="connsiteY42" fmla="*/ 19704 h 194356"/>
                  <a:gd name="connsiteX43" fmla="*/ 80670 w 203672"/>
                  <a:gd name="connsiteY43" fmla="*/ 62777 h 194356"/>
                  <a:gd name="connsiteX44" fmla="*/ 64758 w 203672"/>
                  <a:gd name="connsiteY44" fmla="*/ 73974 h 194356"/>
                  <a:gd name="connsiteX45" fmla="*/ 22027 w 203672"/>
                  <a:gd name="connsiteY45" fmla="*/ 73974 h 194356"/>
                  <a:gd name="connsiteX46" fmla="*/ 12398 w 203672"/>
                  <a:gd name="connsiteY46" fmla="*/ 76883 h 194356"/>
                  <a:gd name="connsiteX47" fmla="*/ 17925 w 203672"/>
                  <a:gd name="connsiteY47" fmla="*/ 85608 h 194356"/>
                  <a:gd name="connsiteX48" fmla="*/ 50912 w 203672"/>
                  <a:gd name="connsiteY48" fmla="*/ 109980 h 194356"/>
                  <a:gd name="connsiteX49" fmla="*/ 57981 w 203672"/>
                  <a:gd name="connsiteY49" fmla="*/ 134265 h 194356"/>
                  <a:gd name="connsiteX50" fmla="*/ 46345 w 203672"/>
                  <a:gd name="connsiteY50" fmla="*/ 170155 h 194356"/>
                  <a:gd name="connsiteX51" fmla="*/ 50766 w 203672"/>
                  <a:gd name="connsiteY51" fmla="*/ 180102 h 19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03672" h="194356">
                    <a:moveTo>
                      <a:pt x="34186" y="177193"/>
                    </a:moveTo>
                    <a:cubicBezTo>
                      <a:pt x="35408" y="164920"/>
                      <a:pt x="42913" y="151890"/>
                      <a:pt x="46723" y="137697"/>
                    </a:cubicBezTo>
                    <a:cubicBezTo>
                      <a:pt x="49632" y="126675"/>
                      <a:pt x="46723" y="119404"/>
                      <a:pt x="37997" y="113209"/>
                    </a:cubicBezTo>
                    <a:cubicBezTo>
                      <a:pt x="28165" y="106208"/>
                      <a:pt x="18478" y="99074"/>
                      <a:pt x="8908" y="91803"/>
                    </a:cubicBezTo>
                    <a:cubicBezTo>
                      <a:pt x="2945" y="87266"/>
                      <a:pt x="-3193" y="82060"/>
                      <a:pt x="-197" y="73567"/>
                    </a:cubicBezTo>
                    <a:cubicBezTo>
                      <a:pt x="2799" y="65075"/>
                      <a:pt x="10391" y="64202"/>
                      <a:pt x="18129" y="64231"/>
                    </a:cubicBezTo>
                    <a:cubicBezTo>
                      <a:pt x="30782" y="64231"/>
                      <a:pt x="43465" y="63708"/>
                      <a:pt x="55944" y="64231"/>
                    </a:cubicBezTo>
                    <a:cubicBezTo>
                      <a:pt x="65922" y="64755"/>
                      <a:pt x="71769" y="61556"/>
                      <a:pt x="74183" y="51376"/>
                    </a:cubicBezTo>
                    <a:cubicBezTo>
                      <a:pt x="76597" y="41197"/>
                      <a:pt x="80001" y="31221"/>
                      <a:pt x="83404" y="21274"/>
                    </a:cubicBezTo>
                    <a:cubicBezTo>
                      <a:pt x="86604" y="11822"/>
                      <a:pt x="89222" y="-539"/>
                      <a:pt x="100858" y="-539"/>
                    </a:cubicBezTo>
                    <a:cubicBezTo>
                      <a:pt x="112493" y="-539"/>
                      <a:pt x="114122" y="12636"/>
                      <a:pt x="117526" y="21623"/>
                    </a:cubicBezTo>
                    <a:cubicBezTo>
                      <a:pt x="120929" y="30610"/>
                      <a:pt x="123692" y="40586"/>
                      <a:pt x="126746" y="50067"/>
                    </a:cubicBezTo>
                    <a:cubicBezTo>
                      <a:pt x="130092" y="60421"/>
                      <a:pt x="136608" y="65104"/>
                      <a:pt x="148040" y="64289"/>
                    </a:cubicBezTo>
                    <a:cubicBezTo>
                      <a:pt x="161159" y="63388"/>
                      <a:pt x="174394" y="64289"/>
                      <a:pt x="187542" y="64115"/>
                    </a:cubicBezTo>
                    <a:cubicBezTo>
                      <a:pt x="193884" y="64115"/>
                      <a:pt x="199411" y="65947"/>
                      <a:pt x="201796" y="71968"/>
                    </a:cubicBezTo>
                    <a:cubicBezTo>
                      <a:pt x="204530" y="78890"/>
                      <a:pt x="200603" y="84416"/>
                      <a:pt x="195396" y="88313"/>
                    </a:cubicBezTo>
                    <a:cubicBezTo>
                      <a:pt x="184430" y="96427"/>
                      <a:pt x="175034" y="106345"/>
                      <a:pt x="162991" y="113325"/>
                    </a:cubicBezTo>
                    <a:cubicBezTo>
                      <a:pt x="153828" y="118677"/>
                      <a:pt x="150832" y="126151"/>
                      <a:pt x="155661" y="137377"/>
                    </a:cubicBezTo>
                    <a:cubicBezTo>
                      <a:pt x="160984" y="149796"/>
                      <a:pt x="163660" y="163379"/>
                      <a:pt x="167471" y="176466"/>
                    </a:cubicBezTo>
                    <a:cubicBezTo>
                      <a:pt x="169100" y="182050"/>
                      <a:pt x="168315" y="186849"/>
                      <a:pt x="162933" y="190165"/>
                    </a:cubicBezTo>
                    <a:cubicBezTo>
                      <a:pt x="157552" y="193480"/>
                      <a:pt x="152781" y="194324"/>
                      <a:pt x="146963" y="190165"/>
                    </a:cubicBezTo>
                    <a:cubicBezTo>
                      <a:pt x="135793" y="182341"/>
                      <a:pt x="123460" y="176059"/>
                      <a:pt x="112784" y="167625"/>
                    </a:cubicBezTo>
                    <a:cubicBezTo>
                      <a:pt x="105221" y="161634"/>
                      <a:pt x="98647" y="161168"/>
                      <a:pt x="91316" y="166025"/>
                    </a:cubicBezTo>
                    <a:cubicBezTo>
                      <a:pt x="79506" y="173849"/>
                      <a:pt x="68045" y="181963"/>
                      <a:pt x="56410" y="190252"/>
                    </a:cubicBezTo>
                    <a:cubicBezTo>
                      <a:pt x="51436" y="194495"/>
                      <a:pt x="44309" y="195002"/>
                      <a:pt x="38782" y="191503"/>
                    </a:cubicBezTo>
                    <a:cubicBezTo>
                      <a:pt x="34564" y="189060"/>
                      <a:pt x="31975" y="185192"/>
                      <a:pt x="34186" y="177193"/>
                    </a:cubicBezTo>
                    <a:close/>
                    <a:moveTo>
                      <a:pt x="50766" y="180102"/>
                    </a:moveTo>
                    <a:cubicBezTo>
                      <a:pt x="55334" y="177542"/>
                      <a:pt x="60541" y="175012"/>
                      <a:pt x="65311" y="171813"/>
                    </a:cubicBezTo>
                    <a:cubicBezTo>
                      <a:pt x="73194" y="166578"/>
                      <a:pt x="80961" y="161139"/>
                      <a:pt x="88582" y="155410"/>
                    </a:cubicBezTo>
                    <a:cubicBezTo>
                      <a:pt x="97309" y="148778"/>
                      <a:pt x="105366" y="148284"/>
                      <a:pt x="114268" y="155410"/>
                    </a:cubicBezTo>
                    <a:cubicBezTo>
                      <a:pt x="123169" y="162535"/>
                      <a:pt x="132739" y="169283"/>
                      <a:pt x="142309" y="175768"/>
                    </a:cubicBezTo>
                    <a:cubicBezTo>
                      <a:pt x="145596" y="177979"/>
                      <a:pt x="149872" y="181760"/>
                      <a:pt x="153741" y="178997"/>
                    </a:cubicBezTo>
                    <a:cubicBezTo>
                      <a:pt x="157610" y="176234"/>
                      <a:pt x="155050" y="171348"/>
                      <a:pt x="153916" y="167363"/>
                    </a:cubicBezTo>
                    <a:cubicBezTo>
                      <a:pt x="150309" y="154741"/>
                      <a:pt x="147487" y="141856"/>
                      <a:pt x="143153" y="129554"/>
                    </a:cubicBezTo>
                    <a:cubicBezTo>
                      <a:pt x="140244" y="120829"/>
                      <a:pt x="142717" y="116262"/>
                      <a:pt x="149901" y="111318"/>
                    </a:cubicBezTo>
                    <a:cubicBezTo>
                      <a:pt x="161944" y="103029"/>
                      <a:pt x="173172" y="93606"/>
                      <a:pt x="184662" y="84474"/>
                    </a:cubicBezTo>
                    <a:cubicBezTo>
                      <a:pt x="186961" y="82612"/>
                      <a:pt x="190073" y="80257"/>
                      <a:pt x="188677" y="76679"/>
                    </a:cubicBezTo>
                    <a:cubicBezTo>
                      <a:pt x="187280" y="73102"/>
                      <a:pt x="183354" y="73945"/>
                      <a:pt x="180386" y="73916"/>
                    </a:cubicBezTo>
                    <a:cubicBezTo>
                      <a:pt x="165086" y="73762"/>
                      <a:pt x="149785" y="73762"/>
                      <a:pt x="134484" y="73916"/>
                    </a:cubicBezTo>
                    <a:cubicBezTo>
                      <a:pt x="127358" y="73916"/>
                      <a:pt x="123082" y="71764"/>
                      <a:pt x="120871" y="63970"/>
                    </a:cubicBezTo>
                    <a:cubicBezTo>
                      <a:pt x="116537" y="48817"/>
                      <a:pt x="110777" y="34071"/>
                      <a:pt x="105657" y="19151"/>
                    </a:cubicBezTo>
                    <a:cubicBezTo>
                      <a:pt x="104697" y="16243"/>
                      <a:pt x="105279" y="11997"/>
                      <a:pt x="100799" y="12520"/>
                    </a:cubicBezTo>
                    <a:cubicBezTo>
                      <a:pt x="97280" y="12927"/>
                      <a:pt x="96553" y="16679"/>
                      <a:pt x="95505" y="19704"/>
                    </a:cubicBezTo>
                    <a:cubicBezTo>
                      <a:pt x="90502" y="34042"/>
                      <a:pt x="84510" y="48119"/>
                      <a:pt x="80670" y="62777"/>
                    </a:cubicBezTo>
                    <a:cubicBezTo>
                      <a:pt x="78197" y="72258"/>
                      <a:pt x="72990" y="74120"/>
                      <a:pt x="64758" y="73974"/>
                    </a:cubicBezTo>
                    <a:cubicBezTo>
                      <a:pt x="50534" y="73742"/>
                      <a:pt x="36280" y="73829"/>
                      <a:pt x="22027" y="73974"/>
                    </a:cubicBezTo>
                    <a:cubicBezTo>
                      <a:pt x="18594" y="73974"/>
                      <a:pt x="13795" y="72491"/>
                      <a:pt x="12398" y="76883"/>
                    </a:cubicBezTo>
                    <a:cubicBezTo>
                      <a:pt x="11177" y="80955"/>
                      <a:pt x="15133" y="83543"/>
                      <a:pt x="17925" y="85608"/>
                    </a:cubicBezTo>
                    <a:cubicBezTo>
                      <a:pt x="28805" y="93897"/>
                      <a:pt x="39858" y="101924"/>
                      <a:pt x="50912" y="109980"/>
                    </a:cubicBezTo>
                    <a:cubicBezTo>
                      <a:pt x="59639" y="116292"/>
                      <a:pt x="63042" y="123155"/>
                      <a:pt x="57981" y="134265"/>
                    </a:cubicBezTo>
                    <a:cubicBezTo>
                      <a:pt x="52919" y="145376"/>
                      <a:pt x="49952" y="158085"/>
                      <a:pt x="46345" y="170155"/>
                    </a:cubicBezTo>
                    <a:cubicBezTo>
                      <a:pt x="45182" y="174023"/>
                      <a:pt x="43407" y="178735"/>
                      <a:pt x="50766" y="180102"/>
                    </a:cubicBezTo>
                    <a:close/>
                  </a:path>
                </a:pathLst>
              </a:custGeom>
              <a:solidFill>
                <a:srgbClr val="DBDEE5"/>
              </a:solidFill>
              <a:ln w="2907" cap="flat">
                <a:noFill/>
                <a:prstDash val="solid"/>
                <a:miter/>
              </a:ln>
            </p:spPr>
            <p:txBody>
              <a:bodyPr rtlCol="0" anchor="ctr"/>
              <a:lstStyle/>
              <a:p>
                <a:endParaRPr lang="en-US" sz="800"/>
              </a:p>
            </p:txBody>
          </p:sp>
          <p:sp>
            <p:nvSpPr>
              <p:cNvPr id="87" name="Graphic 38">
                <a:extLst>
                  <a:ext uri="{FF2B5EF4-FFF2-40B4-BE49-F238E27FC236}">
                    <a16:creationId xmlns:a16="http://schemas.microsoft.com/office/drawing/2014/main" id="{B297BCC6-20F9-8967-D57B-96143B953D5E}"/>
                  </a:ext>
                </a:extLst>
              </p:cNvPr>
              <p:cNvSpPr/>
              <p:nvPr/>
            </p:nvSpPr>
            <p:spPr>
              <a:xfrm>
                <a:off x="12542912" y="1239480"/>
                <a:ext cx="193141" cy="152112"/>
              </a:xfrm>
              <a:custGeom>
                <a:avLst/>
                <a:gdLst>
                  <a:gd name="connsiteX0" fmla="*/ 100074 w 193141"/>
                  <a:gd name="connsiteY0" fmla="*/ 55768 h 152112"/>
                  <a:gd name="connsiteX1" fmla="*/ 100074 w 193141"/>
                  <a:gd name="connsiteY1" fmla="*/ 81071 h 152112"/>
                  <a:gd name="connsiteX2" fmla="*/ 110953 w 193141"/>
                  <a:gd name="connsiteY2" fmla="*/ 108323 h 152112"/>
                  <a:gd name="connsiteX3" fmla="*/ 115985 w 193141"/>
                  <a:gd name="connsiteY3" fmla="*/ 139617 h 152112"/>
                  <a:gd name="connsiteX4" fmla="*/ 88845 w 193141"/>
                  <a:gd name="connsiteY4" fmla="*/ 149739 h 152112"/>
                  <a:gd name="connsiteX5" fmla="*/ 71567 w 193141"/>
                  <a:gd name="connsiteY5" fmla="*/ 124726 h 152112"/>
                  <a:gd name="connsiteX6" fmla="*/ 78984 w 193141"/>
                  <a:gd name="connsiteY6" fmla="*/ 109661 h 152112"/>
                  <a:gd name="connsiteX7" fmla="*/ 90620 w 193141"/>
                  <a:gd name="connsiteY7" fmla="*/ 78541 h 152112"/>
                  <a:gd name="connsiteX8" fmla="*/ 88758 w 193141"/>
                  <a:gd name="connsiteY8" fmla="*/ 59113 h 152112"/>
                  <a:gd name="connsiteX9" fmla="*/ 46958 w 193141"/>
                  <a:gd name="connsiteY9" fmla="*/ 103437 h 152112"/>
                  <a:gd name="connsiteX10" fmla="*/ 46579 w 193141"/>
                  <a:gd name="connsiteY10" fmla="*/ 127897 h 152112"/>
                  <a:gd name="connsiteX11" fmla="*/ 21388 w 193141"/>
                  <a:gd name="connsiteY11" fmla="*/ 151164 h 152112"/>
                  <a:gd name="connsiteX12" fmla="*/ -923 w 193141"/>
                  <a:gd name="connsiteY12" fmla="*/ 124755 h 152112"/>
                  <a:gd name="connsiteX13" fmla="*/ 22348 w 193141"/>
                  <a:gd name="connsiteY13" fmla="*/ 103117 h 152112"/>
                  <a:gd name="connsiteX14" fmla="*/ 46550 w 193141"/>
                  <a:gd name="connsiteY14" fmla="*/ 89535 h 152112"/>
                  <a:gd name="connsiteX15" fmla="*/ 78548 w 193141"/>
                  <a:gd name="connsiteY15" fmla="*/ 54634 h 152112"/>
                  <a:gd name="connsiteX16" fmla="*/ 79159 w 193141"/>
                  <a:gd name="connsiteY16" fmla="*/ 39103 h 152112"/>
                  <a:gd name="connsiteX17" fmla="*/ 78257 w 193141"/>
                  <a:gd name="connsiteY17" fmla="*/ 5162 h 152112"/>
                  <a:gd name="connsiteX18" fmla="*/ 113338 w 193141"/>
                  <a:gd name="connsiteY18" fmla="*/ 5017 h 152112"/>
                  <a:gd name="connsiteX19" fmla="*/ 112902 w 193141"/>
                  <a:gd name="connsiteY19" fmla="*/ 39016 h 152112"/>
                  <a:gd name="connsiteX20" fmla="*/ 114153 w 193141"/>
                  <a:gd name="connsiteY20" fmla="*/ 53907 h 152112"/>
                  <a:gd name="connsiteX21" fmla="*/ 143765 w 193141"/>
                  <a:gd name="connsiteY21" fmla="*/ 88575 h 152112"/>
                  <a:gd name="connsiteX22" fmla="*/ 172621 w 193141"/>
                  <a:gd name="connsiteY22" fmla="*/ 104687 h 152112"/>
                  <a:gd name="connsiteX23" fmla="*/ 191703 w 193141"/>
                  <a:gd name="connsiteY23" fmla="*/ 131707 h 152112"/>
                  <a:gd name="connsiteX24" fmla="*/ 163487 w 193141"/>
                  <a:gd name="connsiteY24" fmla="*/ 151047 h 152112"/>
                  <a:gd name="connsiteX25" fmla="*/ 144289 w 193141"/>
                  <a:gd name="connsiteY25" fmla="*/ 121702 h 152112"/>
                  <a:gd name="connsiteX26" fmla="*/ 138471 w 193141"/>
                  <a:gd name="connsiteY26" fmla="*/ 96428 h 152112"/>
                  <a:gd name="connsiteX27" fmla="*/ 100074 w 193141"/>
                  <a:gd name="connsiteY27" fmla="*/ 55768 h 152112"/>
                  <a:gd name="connsiteX28" fmla="*/ 23919 w 193141"/>
                  <a:gd name="connsiteY28" fmla="*/ 113936 h 152112"/>
                  <a:gd name="connsiteX29" fmla="*/ 9375 w 193141"/>
                  <a:gd name="connsiteY29" fmla="*/ 128478 h 152112"/>
                  <a:gd name="connsiteX30" fmla="*/ 25548 w 193141"/>
                  <a:gd name="connsiteY30" fmla="*/ 141790 h 152112"/>
                  <a:gd name="connsiteX31" fmla="*/ 38871 w 193141"/>
                  <a:gd name="connsiteY31" fmla="*/ 128246 h 152112"/>
                  <a:gd name="connsiteX32" fmla="*/ 23919 w 193141"/>
                  <a:gd name="connsiteY32" fmla="*/ 113820 h 152112"/>
                  <a:gd name="connsiteX33" fmla="*/ 168985 w 193141"/>
                  <a:gd name="connsiteY33" fmla="*/ 113936 h 152112"/>
                  <a:gd name="connsiteX34" fmla="*/ 154063 w 193141"/>
                  <a:gd name="connsiteY34" fmla="*/ 126151 h 152112"/>
                  <a:gd name="connsiteX35" fmla="*/ 166629 w 193141"/>
                  <a:gd name="connsiteY35" fmla="*/ 141217 h 152112"/>
                  <a:gd name="connsiteX36" fmla="*/ 181697 w 193141"/>
                  <a:gd name="connsiteY36" fmla="*/ 128391 h 152112"/>
                  <a:gd name="connsiteX37" fmla="*/ 168985 w 193141"/>
                  <a:gd name="connsiteY37" fmla="*/ 113936 h 152112"/>
                  <a:gd name="connsiteX38" fmla="*/ 96263 w 193141"/>
                  <a:gd name="connsiteY38" fmla="*/ 141769 h 152112"/>
                  <a:gd name="connsiteX39" fmla="*/ 109295 w 193141"/>
                  <a:gd name="connsiteY39" fmla="*/ 127402 h 152112"/>
                  <a:gd name="connsiteX40" fmla="*/ 95158 w 193141"/>
                  <a:gd name="connsiteY40" fmla="*/ 113965 h 152112"/>
                  <a:gd name="connsiteX41" fmla="*/ 81486 w 193141"/>
                  <a:gd name="connsiteY41" fmla="*/ 127548 h 152112"/>
                  <a:gd name="connsiteX42" fmla="*/ 96321 w 193141"/>
                  <a:gd name="connsiteY42" fmla="*/ 141769 h 152112"/>
                  <a:gd name="connsiteX43" fmla="*/ 109353 w 193141"/>
                  <a:gd name="connsiteY43" fmla="*/ 23252 h 152112"/>
                  <a:gd name="connsiteX44" fmla="*/ 96554 w 193141"/>
                  <a:gd name="connsiteY44" fmla="*/ 9583 h 152112"/>
                  <a:gd name="connsiteX45" fmla="*/ 81166 w 193141"/>
                  <a:gd name="connsiteY45" fmla="*/ 23165 h 152112"/>
                  <a:gd name="connsiteX46" fmla="*/ 93354 w 193141"/>
                  <a:gd name="connsiteY46" fmla="*/ 36718 h 152112"/>
                  <a:gd name="connsiteX47" fmla="*/ 109411 w 193141"/>
                  <a:gd name="connsiteY47" fmla="*/ 23252 h 15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3141" h="152112">
                    <a:moveTo>
                      <a:pt x="100074" y="55768"/>
                    </a:moveTo>
                    <a:cubicBezTo>
                      <a:pt x="100074" y="67402"/>
                      <a:pt x="100277" y="74266"/>
                      <a:pt x="100074" y="81071"/>
                    </a:cubicBezTo>
                    <a:cubicBezTo>
                      <a:pt x="99695" y="91803"/>
                      <a:pt x="100074" y="100790"/>
                      <a:pt x="110953" y="108323"/>
                    </a:cubicBezTo>
                    <a:cubicBezTo>
                      <a:pt x="121832" y="115856"/>
                      <a:pt x="122589" y="128682"/>
                      <a:pt x="115985" y="139617"/>
                    </a:cubicBezTo>
                    <a:cubicBezTo>
                      <a:pt x="110168" y="148895"/>
                      <a:pt x="101441" y="153927"/>
                      <a:pt x="88845" y="149739"/>
                    </a:cubicBezTo>
                    <a:cubicBezTo>
                      <a:pt x="76250" y="145551"/>
                      <a:pt x="71683" y="137058"/>
                      <a:pt x="71567" y="124726"/>
                    </a:cubicBezTo>
                    <a:cubicBezTo>
                      <a:pt x="71334" y="118773"/>
                      <a:pt x="74126" y="113104"/>
                      <a:pt x="78984" y="109661"/>
                    </a:cubicBezTo>
                    <a:cubicBezTo>
                      <a:pt x="92481" y="102215"/>
                      <a:pt x="90620" y="90349"/>
                      <a:pt x="90620" y="78541"/>
                    </a:cubicBezTo>
                    <a:cubicBezTo>
                      <a:pt x="90853" y="72012"/>
                      <a:pt x="90213" y="65479"/>
                      <a:pt x="88758" y="59113"/>
                    </a:cubicBezTo>
                    <a:cubicBezTo>
                      <a:pt x="75959" y="75487"/>
                      <a:pt x="59495" y="87557"/>
                      <a:pt x="46958" y="103437"/>
                    </a:cubicBezTo>
                    <a:cubicBezTo>
                      <a:pt x="40820" y="111202"/>
                      <a:pt x="47219" y="119666"/>
                      <a:pt x="46579" y="127897"/>
                    </a:cubicBezTo>
                    <a:cubicBezTo>
                      <a:pt x="45328" y="143776"/>
                      <a:pt x="35409" y="153578"/>
                      <a:pt x="21388" y="151164"/>
                    </a:cubicBezTo>
                    <a:cubicBezTo>
                      <a:pt x="9113" y="149099"/>
                      <a:pt x="-1883" y="136622"/>
                      <a:pt x="-923" y="124755"/>
                    </a:cubicBezTo>
                    <a:cubicBezTo>
                      <a:pt x="328" y="111231"/>
                      <a:pt x="10713" y="102681"/>
                      <a:pt x="22348" y="103117"/>
                    </a:cubicBezTo>
                    <a:cubicBezTo>
                      <a:pt x="34886" y="103582"/>
                      <a:pt x="40733" y="97300"/>
                      <a:pt x="46550" y="89535"/>
                    </a:cubicBezTo>
                    <a:cubicBezTo>
                      <a:pt x="56004" y="76767"/>
                      <a:pt x="67407" y="65860"/>
                      <a:pt x="78548" y="54634"/>
                    </a:cubicBezTo>
                    <a:cubicBezTo>
                      <a:pt x="83609" y="49573"/>
                      <a:pt x="85762" y="45909"/>
                      <a:pt x="79159" y="39103"/>
                    </a:cubicBezTo>
                    <a:cubicBezTo>
                      <a:pt x="68949" y="28720"/>
                      <a:pt x="69443" y="13277"/>
                      <a:pt x="78257" y="5162"/>
                    </a:cubicBezTo>
                    <a:cubicBezTo>
                      <a:pt x="86373" y="-2371"/>
                      <a:pt x="105542" y="-2458"/>
                      <a:pt x="113338" y="5017"/>
                    </a:cubicBezTo>
                    <a:cubicBezTo>
                      <a:pt x="122065" y="13189"/>
                      <a:pt x="122385" y="28458"/>
                      <a:pt x="112902" y="39016"/>
                    </a:cubicBezTo>
                    <a:cubicBezTo>
                      <a:pt x="107084" y="45531"/>
                      <a:pt x="108509" y="48206"/>
                      <a:pt x="114153" y="53907"/>
                    </a:cubicBezTo>
                    <a:cubicBezTo>
                      <a:pt x="124828" y="64668"/>
                      <a:pt x="133875" y="77029"/>
                      <a:pt x="143765" y="88575"/>
                    </a:cubicBezTo>
                    <a:cubicBezTo>
                      <a:pt x="151328" y="97446"/>
                      <a:pt x="158891" y="104949"/>
                      <a:pt x="172621" y="104687"/>
                    </a:cubicBezTo>
                    <a:cubicBezTo>
                      <a:pt x="185828" y="104397"/>
                      <a:pt x="194263" y="118124"/>
                      <a:pt x="191703" y="131707"/>
                    </a:cubicBezTo>
                    <a:cubicBezTo>
                      <a:pt x="189260" y="144649"/>
                      <a:pt x="175734" y="153927"/>
                      <a:pt x="163487" y="151047"/>
                    </a:cubicBezTo>
                    <a:cubicBezTo>
                      <a:pt x="150107" y="147906"/>
                      <a:pt x="139256" y="132957"/>
                      <a:pt x="144289" y="121702"/>
                    </a:cubicBezTo>
                    <a:cubicBezTo>
                      <a:pt x="149321" y="110446"/>
                      <a:pt x="145423" y="103786"/>
                      <a:pt x="138471" y="96428"/>
                    </a:cubicBezTo>
                    <a:cubicBezTo>
                      <a:pt x="126399" y="84096"/>
                      <a:pt x="114793" y="71503"/>
                      <a:pt x="100074" y="55768"/>
                    </a:cubicBezTo>
                    <a:close/>
                    <a:moveTo>
                      <a:pt x="23919" y="113936"/>
                    </a:moveTo>
                    <a:cubicBezTo>
                      <a:pt x="13883" y="113500"/>
                      <a:pt x="8851" y="119753"/>
                      <a:pt x="9375" y="128478"/>
                    </a:cubicBezTo>
                    <a:cubicBezTo>
                      <a:pt x="10160" y="136616"/>
                      <a:pt x="17403" y="142578"/>
                      <a:pt x="25548" y="141790"/>
                    </a:cubicBezTo>
                    <a:cubicBezTo>
                      <a:pt x="32675" y="141104"/>
                      <a:pt x="38289" y="135394"/>
                      <a:pt x="38871" y="128246"/>
                    </a:cubicBezTo>
                    <a:cubicBezTo>
                      <a:pt x="39103" y="119462"/>
                      <a:pt x="33984" y="113238"/>
                      <a:pt x="23919" y="113820"/>
                    </a:cubicBezTo>
                    <a:close/>
                    <a:moveTo>
                      <a:pt x="168985" y="113936"/>
                    </a:moveTo>
                    <a:cubicBezTo>
                      <a:pt x="159327" y="112482"/>
                      <a:pt x="155110" y="117455"/>
                      <a:pt x="154063" y="126151"/>
                    </a:cubicBezTo>
                    <a:cubicBezTo>
                      <a:pt x="152928" y="135546"/>
                      <a:pt x="158688" y="140199"/>
                      <a:pt x="166629" y="141217"/>
                    </a:cubicBezTo>
                    <a:cubicBezTo>
                      <a:pt x="175355" y="142351"/>
                      <a:pt x="180592" y="136564"/>
                      <a:pt x="181697" y="128391"/>
                    </a:cubicBezTo>
                    <a:cubicBezTo>
                      <a:pt x="182919" y="119346"/>
                      <a:pt x="177246" y="115070"/>
                      <a:pt x="168985" y="113936"/>
                    </a:cubicBezTo>
                    <a:close/>
                    <a:moveTo>
                      <a:pt x="96263" y="141769"/>
                    </a:moveTo>
                    <a:cubicBezTo>
                      <a:pt x="102895" y="139443"/>
                      <a:pt x="109964" y="137058"/>
                      <a:pt x="109295" y="127402"/>
                    </a:cubicBezTo>
                    <a:cubicBezTo>
                      <a:pt x="108684" y="118677"/>
                      <a:pt x="103826" y="113878"/>
                      <a:pt x="95158" y="113965"/>
                    </a:cubicBezTo>
                    <a:cubicBezTo>
                      <a:pt x="86489" y="114053"/>
                      <a:pt x="80962" y="118677"/>
                      <a:pt x="81486" y="127548"/>
                    </a:cubicBezTo>
                    <a:cubicBezTo>
                      <a:pt x="82039" y="135778"/>
                      <a:pt x="87246" y="140693"/>
                      <a:pt x="96321" y="141769"/>
                    </a:cubicBezTo>
                    <a:close/>
                    <a:moveTo>
                      <a:pt x="109353" y="23252"/>
                    </a:moveTo>
                    <a:cubicBezTo>
                      <a:pt x="108597" y="14847"/>
                      <a:pt x="104408" y="10077"/>
                      <a:pt x="96554" y="9583"/>
                    </a:cubicBezTo>
                    <a:cubicBezTo>
                      <a:pt x="87246" y="9030"/>
                      <a:pt x="81806" y="13684"/>
                      <a:pt x="81166" y="23165"/>
                    </a:cubicBezTo>
                    <a:cubicBezTo>
                      <a:pt x="80613" y="31890"/>
                      <a:pt x="86373" y="35962"/>
                      <a:pt x="93354" y="36718"/>
                    </a:cubicBezTo>
                    <a:cubicBezTo>
                      <a:pt x="102779" y="37736"/>
                      <a:pt x="106590" y="30378"/>
                      <a:pt x="109411" y="23252"/>
                    </a:cubicBezTo>
                    <a:close/>
                  </a:path>
                </a:pathLst>
              </a:custGeom>
              <a:solidFill>
                <a:srgbClr val="DBDEE5"/>
              </a:solidFill>
              <a:ln w="2907" cap="flat">
                <a:noFill/>
                <a:prstDash val="solid"/>
                <a:miter/>
              </a:ln>
            </p:spPr>
            <p:txBody>
              <a:bodyPr rtlCol="0" anchor="ctr"/>
              <a:lstStyle/>
              <a:p>
                <a:endParaRPr lang="en-US" sz="800"/>
              </a:p>
            </p:txBody>
          </p:sp>
          <p:sp>
            <p:nvSpPr>
              <p:cNvPr id="88" name="Graphic 38">
                <a:extLst>
                  <a:ext uri="{FF2B5EF4-FFF2-40B4-BE49-F238E27FC236}">
                    <a16:creationId xmlns:a16="http://schemas.microsoft.com/office/drawing/2014/main" id="{5B00010C-0CA7-878D-706D-449715087D9D}"/>
                  </a:ext>
                </a:extLst>
              </p:cNvPr>
              <p:cNvSpPr/>
              <p:nvPr/>
            </p:nvSpPr>
            <p:spPr>
              <a:xfrm>
                <a:off x="15264976" y="3505034"/>
                <a:ext cx="456065" cy="123345"/>
              </a:xfrm>
              <a:custGeom>
                <a:avLst/>
                <a:gdLst>
                  <a:gd name="connsiteX0" fmla="*/ 2550 w 456065"/>
                  <a:gd name="connsiteY0" fmla="*/ 122807 h 123345"/>
                  <a:gd name="connsiteX1" fmla="*/ -796 w 456065"/>
                  <a:gd name="connsiteY1" fmla="*/ 101401 h 123345"/>
                  <a:gd name="connsiteX2" fmla="*/ -970 w 456065"/>
                  <a:gd name="connsiteY2" fmla="*/ 14556 h 123345"/>
                  <a:gd name="connsiteX3" fmla="*/ 12934 w 456065"/>
                  <a:gd name="connsiteY3" fmla="*/ -539 h 123345"/>
                  <a:gd name="connsiteX4" fmla="*/ 441035 w 456065"/>
                  <a:gd name="connsiteY4" fmla="*/ -335 h 123345"/>
                  <a:gd name="connsiteX5" fmla="*/ 455084 w 456065"/>
                  <a:gd name="connsiteY5" fmla="*/ 9525 h 123345"/>
                  <a:gd name="connsiteX6" fmla="*/ 454794 w 456065"/>
                  <a:gd name="connsiteY6" fmla="*/ 110562 h 123345"/>
                  <a:gd name="connsiteX7" fmla="*/ 451623 w 456065"/>
                  <a:gd name="connsiteY7" fmla="*/ 122690 h 12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065" h="123345">
                    <a:moveTo>
                      <a:pt x="2550" y="122807"/>
                    </a:moveTo>
                    <a:cubicBezTo>
                      <a:pt x="-2163" y="116234"/>
                      <a:pt x="-767" y="108643"/>
                      <a:pt x="-796" y="101401"/>
                    </a:cubicBezTo>
                    <a:cubicBezTo>
                      <a:pt x="-796" y="72317"/>
                      <a:pt x="-476" y="43495"/>
                      <a:pt x="-970" y="14556"/>
                    </a:cubicBezTo>
                    <a:cubicBezTo>
                      <a:pt x="-1174" y="4144"/>
                      <a:pt x="1298" y="-568"/>
                      <a:pt x="12934" y="-539"/>
                    </a:cubicBezTo>
                    <a:cubicBezTo>
                      <a:pt x="155615" y="-218"/>
                      <a:pt x="298325" y="-160"/>
                      <a:pt x="441035" y="-335"/>
                    </a:cubicBezTo>
                    <a:cubicBezTo>
                      <a:pt x="448045" y="-335"/>
                      <a:pt x="455142" y="-975"/>
                      <a:pt x="455084" y="9525"/>
                    </a:cubicBezTo>
                    <a:cubicBezTo>
                      <a:pt x="455084" y="43204"/>
                      <a:pt x="455084" y="76883"/>
                      <a:pt x="454794" y="110562"/>
                    </a:cubicBezTo>
                    <a:cubicBezTo>
                      <a:pt x="454241" y="114721"/>
                      <a:pt x="453194" y="118793"/>
                      <a:pt x="451623" y="122690"/>
                    </a:cubicBezTo>
                    <a:close/>
                  </a:path>
                </a:pathLst>
              </a:custGeom>
              <a:solidFill>
                <a:srgbClr val="FEFEFE"/>
              </a:solidFill>
              <a:ln w="2907" cap="flat">
                <a:noFill/>
                <a:prstDash val="solid"/>
                <a:miter/>
              </a:ln>
            </p:spPr>
            <p:txBody>
              <a:bodyPr rtlCol="0" anchor="ctr"/>
              <a:lstStyle/>
              <a:p>
                <a:endParaRPr lang="en-US" sz="800"/>
              </a:p>
            </p:txBody>
          </p:sp>
          <p:sp>
            <p:nvSpPr>
              <p:cNvPr id="89" name="Graphic 38">
                <a:extLst>
                  <a:ext uri="{FF2B5EF4-FFF2-40B4-BE49-F238E27FC236}">
                    <a16:creationId xmlns:a16="http://schemas.microsoft.com/office/drawing/2014/main" id="{08CC13DC-CC4A-05F0-0327-EB7A1D4956EC}"/>
                  </a:ext>
                </a:extLst>
              </p:cNvPr>
              <p:cNvSpPr/>
              <p:nvPr/>
            </p:nvSpPr>
            <p:spPr>
              <a:xfrm>
                <a:off x="15727203" y="3505093"/>
                <a:ext cx="455537" cy="123316"/>
              </a:xfrm>
              <a:custGeom>
                <a:avLst/>
                <a:gdLst>
                  <a:gd name="connsiteX0" fmla="*/ -365 w 455537"/>
                  <a:gd name="connsiteY0" fmla="*/ 122458 h 123316"/>
                  <a:gd name="connsiteX1" fmla="*/ -976 w 455537"/>
                  <a:gd name="connsiteY1" fmla="*/ 13509 h 123316"/>
                  <a:gd name="connsiteX2" fmla="*/ 12318 w 455537"/>
                  <a:gd name="connsiteY2" fmla="*/ -539 h 123316"/>
                  <a:gd name="connsiteX3" fmla="*/ 438905 w 455537"/>
                  <a:gd name="connsiteY3" fmla="*/ -539 h 123316"/>
                  <a:gd name="connsiteX4" fmla="*/ 454526 w 455537"/>
                  <a:gd name="connsiteY4" fmla="*/ 20984 h 123316"/>
                  <a:gd name="connsiteX5" fmla="*/ 451617 w 455537"/>
                  <a:gd name="connsiteY5" fmla="*/ 122778 h 12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5537" h="123316">
                    <a:moveTo>
                      <a:pt x="-365" y="122458"/>
                    </a:moveTo>
                    <a:cubicBezTo>
                      <a:pt x="-540" y="86132"/>
                      <a:pt x="-365" y="49748"/>
                      <a:pt x="-976" y="13509"/>
                    </a:cubicBezTo>
                    <a:cubicBezTo>
                      <a:pt x="-1121" y="3650"/>
                      <a:pt x="1613" y="-568"/>
                      <a:pt x="12318" y="-539"/>
                    </a:cubicBezTo>
                    <a:cubicBezTo>
                      <a:pt x="154504" y="-306"/>
                      <a:pt x="296690" y="-306"/>
                      <a:pt x="438905" y="-539"/>
                    </a:cubicBezTo>
                    <a:cubicBezTo>
                      <a:pt x="455777" y="-539"/>
                      <a:pt x="454555" y="11619"/>
                      <a:pt x="454526" y="20984"/>
                    </a:cubicBezTo>
                    <a:cubicBezTo>
                      <a:pt x="454352" y="54925"/>
                      <a:pt x="452723" y="88866"/>
                      <a:pt x="451617" y="122778"/>
                    </a:cubicBezTo>
                    <a:close/>
                  </a:path>
                </a:pathLst>
              </a:custGeom>
              <a:solidFill>
                <a:srgbClr val="FEFEFE"/>
              </a:solidFill>
              <a:ln w="2907" cap="flat">
                <a:noFill/>
                <a:prstDash val="solid"/>
                <a:miter/>
              </a:ln>
            </p:spPr>
            <p:txBody>
              <a:bodyPr rtlCol="0" anchor="ctr"/>
              <a:lstStyle/>
              <a:p>
                <a:endParaRPr lang="en-US" sz="800"/>
              </a:p>
            </p:txBody>
          </p:sp>
          <p:sp>
            <p:nvSpPr>
              <p:cNvPr id="90" name="Graphic 38">
                <a:extLst>
                  <a:ext uri="{FF2B5EF4-FFF2-40B4-BE49-F238E27FC236}">
                    <a16:creationId xmlns:a16="http://schemas.microsoft.com/office/drawing/2014/main" id="{19E64658-2B87-866F-8089-0F7A02D0C430}"/>
                  </a:ext>
                </a:extLst>
              </p:cNvPr>
              <p:cNvSpPr/>
              <p:nvPr/>
            </p:nvSpPr>
            <p:spPr>
              <a:xfrm>
                <a:off x="16189226" y="3507012"/>
                <a:ext cx="456538" cy="121512"/>
              </a:xfrm>
              <a:custGeom>
                <a:avLst/>
                <a:gdLst>
                  <a:gd name="connsiteX0" fmla="*/ 2655 w 456538"/>
                  <a:gd name="connsiteY0" fmla="*/ 120945 h 121512"/>
                  <a:gd name="connsiteX1" fmla="*/ -749 w 456538"/>
                  <a:gd name="connsiteY1" fmla="*/ 105909 h 121512"/>
                  <a:gd name="connsiteX2" fmla="*/ -749 w 456538"/>
                  <a:gd name="connsiteY2" fmla="*/ 11619 h 121512"/>
                  <a:gd name="connsiteX3" fmla="*/ 2568 w 456538"/>
                  <a:gd name="connsiteY3" fmla="*/ -539 h 121512"/>
                  <a:gd name="connsiteX4" fmla="*/ 12574 w 456538"/>
                  <a:gd name="connsiteY4" fmla="*/ 22321 h 121512"/>
                  <a:gd name="connsiteX5" fmla="*/ 12574 w 456538"/>
                  <a:gd name="connsiteY5" fmla="*/ 22525 h 121512"/>
                  <a:gd name="connsiteX6" fmla="*/ 15018 w 456538"/>
                  <a:gd name="connsiteY6" fmla="*/ 26161 h 121512"/>
                  <a:gd name="connsiteX7" fmla="*/ 15279 w 456538"/>
                  <a:gd name="connsiteY7" fmla="*/ 26480 h 121512"/>
                  <a:gd name="connsiteX8" fmla="*/ 17956 w 456538"/>
                  <a:gd name="connsiteY8" fmla="*/ 29389 h 121512"/>
                  <a:gd name="connsiteX9" fmla="*/ 18334 w 456538"/>
                  <a:gd name="connsiteY9" fmla="*/ 29738 h 121512"/>
                  <a:gd name="connsiteX10" fmla="*/ 21592 w 456538"/>
                  <a:gd name="connsiteY10" fmla="*/ 32472 h 121512"/>
                  <a:gd name="connsiteX11" fmla="*/ 21592 w 456538"/>
                  <a:gd name="connsiteY11" fmla="*/ 32472 h 121512"/>
                  <a:gd name="connsiteX12" fmla="*/ 25170 w 456538"/>
                  <a:gd name="connsiteY12" fmla="*/ 35031 h 121512"/>
                  <a:gd name="connsiteX13" fmla="*/ 42623 w 456538"/>
                  <a:gd name="connsiteY13" fmla="*/ 39161 h 121512"/>
                  <a:gd name="connsiteX14" fmla="*/ 407077 w 456538"/>
                  <a:gd name="connsiteY14" fmla="*/ 39161 h 121512"/>
                  <a:gd name="connsiteX15" fmla="*/ 423628 w 456538"/>
                  <a:gd name="connsiteY15" fmla="*/ 36253 h 121512"/>
                  <a:gd name="connsiteX16" fmla="*/ 424123 w 456538"/>
                  <a:gd name="connsiteY16" fmla="*/ 36253 h 121512"/>
                  <a:gd name="connsiteX17" fmla="*/ 432501 w 456538"/>
                  <a:gd name="connsiteY17" fmla="*/ 31948 h 121512"/>
                  <a:gd name="connsiteX18" fmla="*/ 432355 w 456538"/>
                  <a:gd name="connsiteY18" fmla="*/ 31948 h 121512"/>
                  <a:gd name="connsiteX19" fmla="*/ 435584 w 456538"/>
                  <a:gd name="connsiteY19" fmla="*/ 28836 h 121512"/>
                  <a:gd name="connsiteX20" fmla="*/ 435584 w 456538"/>
                  <a:gd name="connsiteY20" fmla="*/ 28836 h 121512"/>
                  <a:gd name="connsiteX21" fmla="*/ 438492 w 456538"/>
                  <a:gd name="connsiteY21" fmla="*/ 25055 h 121512"/>
                  <a:gd name="connsiteX22" fmla="*/ 440791 w 456538"/>
                  <a:gd name="connsiteY22" fmla="*/ 20111 h 121512"/>
                  <a:gd name="connsiteX23" fmla="*/ 450565 w 456538"/>
                  <a:gd name="connsiteY23" fmla="*/ -248 h 121512"/>
                  <a:gd name="connsiteX24" fmla="*/ 451903 w 456538"/>
                  <a:gd name="connsiteY24" fmla="*/ 120974 h 121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6538" h="121512">
                    <a:moveTo>
                      <a:pt x="2655" y="120945"/>
                    </a:moveTo>
                    <a:cubicBezTo>
                      <a:pt x="-22" y="116408"/>
                      <a:pt x="-1214" y="111144"/>
                      <a:pt x="-749" y="105909"/>
                    </a:cubicBezTo>
                    <a:cubicBezTo>
                      <a:pt x="-749" y="74469"/>
                      <a:pt x="-749" y="43058"/>
                      <a:pt x="-749" y="11619"/>
                    </a:cubicBezTo>
                    <a:cubicBezTo>
                      <a:pt x="-749" y="7750"/>
                      <a:pt x="-2291" y="3242"/>
                      <a:pt x="2568" y="-539"/>
                    </a:cubicBezTo>
                    <a:cubicBezTo>
                      <a:pt x="8763" y="5947"/>
                      <a:pt x="4051" y="17348"/>
                      <a:pt x="12574" y="22321"/>
                    </a:cubicBezTo>
                    <a:lnTo>
                      <a:pt x="12574" y="22525"/>
                    </a:lnTo>
                    <a:lnTo>
                      <a:pt x="15018" y="26161"/>
                    </a:lnTo>
                    <a:lnTo>
                      <a:pt x="15279" y="26480"/>
                    </a:lnTo>
                    <a:lnTo>
                      <a:pt x="17956" y="29389"/>
                    </a:lnTo>
                    <a:lnTo>
                      <a:pt x="18334" y="29738"/>
                    </a:lnTo>
                    <a:lnTo>
                      <a:pt x="21592" y="32472"/>
                    </a:lnTo>
                    <a:lnTo>
                      <a:pt x="21592" y="32472"/>
                    </a:lnTo>
                    <a:lnTo>
                      <a:pt x="25170" y="35031"/>
                    </a:lnTo>
                    <a:cubicBezTo>
                      <a:pt x="29765" y="41458"/>
                      <a:pt x="36805" y="39132"/>
                      <a:pt x="42623" y="39161"/>
                    </a:cubicBezTo>
                    <a:cubicBezTo>
                      <a:pt x="164098" y="39306"/>
                      <a:pt x="285573" y="39306"/>
                      <a:pt x="407077" y="39161"/>
                    </a:cubicBezTo>
                    <a:cubicBezTo>
                      <a:pt x="412691" y="39161"/>
                      <a:pt x="418713" y="40703"/>
                      <a:pt x="423628" y="36253"/>
                    </a:cubicBezTo>
                    <a:lnTo>
                      <a:pt x="424123" y="36253"/>
                    </a:lnTo>
                    <a:cubicBezTo>
                      <a:pt x="427613" y="36253"/>
                      <a:pt x="431046" y="36049"/>
                      <a:pt x="432501" y="31948"/>
                    </a:cubicBezTo>
                    <a:lnTo>
                      <a:pt x="432355" y="31948"/>
                    </a:lnTo>
                    <a:lnTo>
                      <a:pt x="435584" y="28836"/>
                    </a:lnTo>
                    <a:lnTo>
                      <a:pt x="435584" y="28836"/>
                    </a:lnTo>
                    <a:lnTo>
                      <a:pt x="438492" y="25055"/>
                    </a:lnTo>
                    <a:cubicBezTo>
                      <a:pt x="439249" y="23397"/>
                      <a:pt x="440034" y="21769"/>
                      <a:pt x="440791" y="20111"/>
                    </a:cubicBezTo>
                    <a:cubicBezTo>
                      <a:pt x="448500" y="15458"/>
                      <a:pt x="443147" y="5307"/>
                      <a:pt x="450565" y="-248"/>
                    </a:cubicBezTo>
                    <a:cubicBezTo>
                      <a:pt x="456120" y="40208"/>
                      <a:pt x="457691" y="80489"/>
                      <a:pt x="451903" y="120974"/>
                    </a:cubicBezTo>
                    <a:close/>
                  </a:path>
                </a:pathLst>
              </a:custGeom>
              <a:solidFill>
                <a:srgbClr val="FCFDFD"/>
              </a:solidFill>
              <a:ln w="2907" cap="flat">
                <a:noFill/>
                <a:prstDash val="solid"/>
                <a:miter/>
              </a:ln>
            </p:spPr>
            <p:txBody>
              <a:bodyPr rtlCol="0" anchor="ctr"/>
              <a:lstStyle/>
              <a:p>
                <a:endParaRPr lang="en-US" sz="800"/>
              </a:p>
            </p:txBody>
          </p:sp>
          <p:sp>
            <p:nvSpPr>
              <p:cNvPr id="91" name="Graphic 38">
                <a:extLst>
                  <a:ext uri="{FF2B5EF4-FFF2-40B4-BE49-F238E27FC236}">
                    <a16:creationId xmlns:a16="http://schemas.microsoft.com/office/drawing/2014/main" id="{59638B17-C20C-9ECE-0B45-6E0B83F68FCA}"/>
                  </a:ext>
                </a:extLst>
              </p:cNvPr>
              <p:cNvSpPr/>
              <p:nvPr/>
            </p:nvSpPr>
            <p:spPr>
              <a:xfrm>
                <a:off x="14802929" y="3505704"/>
                <a:ext cx="455938" cy="123315"/>
              </a:xfrm>
              <a:custGeom>
                <a:avLst/>
                <a:gdLst>
                  <a:gd name="connsiteX0" fmla="*/ 445834 w 455938"/>
                  <a:gd name="connsiteY0" fmla="*/ -394 h 123315"/>
                  <a:gd name="connsiteX1" fmla="*/ 454909 w 455938"/>
                  <a:gd name="connsiteY1" fmla="*/ 11909 h 123315"/>
                  <a:gd name="connsiteX2" fmla="*/ 454561 w 455938"/>
                  <a:gd name="connsiteY2" fmla="*/ 121934 h 123315"/>
                  <a:gd name="connsiteX3" fmla="*/ 287038 w 455938"/>
                  <a:gd name="connsiteY3" fmla="*/ 122777 h 123315"/>
                  <a:gd name="connsiteX4" fmla="*/ 26227 w 455938"/>
                  <a:gd name="connsiteY4" fmla="*/ 122399 h 123315"/>
                  <a:gd name="connsiteX5" fmla="*/ -622 w 455938"/>
                  <a:gd name="connsiteY5" fmla="*/ 121963 h 123315"/>
                  <a:gd name="connsiteX6" fmla="*/ -942 w 455938"/>
                  <a:gd name="connsiteY6" fmla="*/ 11938 h 123315"/>
                  <a:gd name="connsiteX7" fmla="*/ 8163 w 455938"/>
                  <a:gd name="connsiteY7" fmla="*/ -394 h 123315"/>
                  <a:gd name="connsiteX8" fmla="*/ 14650 w 455938"/>
                  <a:gd name="connsiteY8" fmla="*/ 27876 h 123315"/>
                  <a:gd name="connsiteX9" fmla="*/ 17559 w 455938"/>
                  <a:gd name="connsiteY9" fmla="*/ 31017 h 123315"/>
                  <a:gd name="connsiteX10" fmla="*/ 29951 w 455938"/>
                  <a:gd name="connsiteY10" fmla="*/ 37881 h 123315"/>
                  <a:gd name="connsiteX11" fmla="*/ 45630 w 455938"/>
                  <a:gd name="connsiteY11" fmla="*/ 43378 h 123315"/>
                  <a:gd name="connsiteX12" fmla="*/ 408688 w 455938"/>
                  <a:gd name="connsiteY12" fmla="*/ 43378 h 123315"/>
                  <a:gd name="connsiteX13" fmla="*/ 436235 w 455938"/>
                  <a:gd name="connsiteY13" fmla="*/ 31162 h 123315"/>
                  <a:gd name="connsiteX14" fmla="*/ 439143 w 455938"/>
                  <a:gd name="connsiteY14" fmla="*/ 28254 h 123315"/>
                  <a:gd name="connsiteX15" fmla="*/ 445223 w 455938"/>
                  <a:gd name="connsiteY15" fmla="*/ 11734 h 12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5938" h="123315">
                    <a:moveTo>
                      <a:pt x="445834" y="-394"/>
                    </a:moveTo>
                    <a:cubicBezTo>
                      <a:pt x="456160" y="-1673"/>
                      <a:pt x="454909" y="5772"/>
                      <a:pt x="454909" y="11909"/>
                    </a:cubicBezTo>
                    <a:cubicBezTo>
                      <a:pt x="454909" y="48584"/>
                      <a:pt x="454793" y="85259"/>
                      <a:pt x="454561" y="121934"/>
                    </a:cubicBezTo>
                    <a:lnTo>
                      <a:pt x="287038" y="122777"/>
                    </a:lnTo>
                    <a:lnTo>
                      <a:pt x="26227" y="122399"/>
                    </a:lnTo>
                    <a:cubicBezTo>
                      <a:pt x="17268" y="122399"/>
                      <a:pt x="8338" y="122108"/>
                      <a:pt x="-622" y="121963"/>
                    </a:cubicBezTo>
                    <a:cubicBezTo>
                      <a:pt x="-738" y="85259"/>
                      <a:pt x="-854" y="48584"/>
                      <a:pt x="-942" y="11938"/>
                    </a:cubicBezTo>
                    <a:cubicBezTo>
                      <a:pt x="-942" y="5714"/>
                      <a:pt x="-2105" y="-1615"/>
                      <a:pt x="8163" y="-394"/>
                    </a:cubicBezTo>
                    <a:cubicBezTo>
                      <a:pt x="10170" y="9059"/>
                      <a:pt x="4236" y="20343"/>
                      <a:pt x="14650" y="27876"/>
                    </a:cubicBezTo>
                    <a:lnTo>
                      <a:pt x="17559" y="31017"/>
                    </a:lnTo>
                    <a:cubicBezTo>
                      <a:pt x="20235" y="35903"/>
                      <a:pt x="24889" y="37241"/>
                      <a:pt x="29951" y="37881"/>
                    </a:cubicBezTo>
                    <a:cubicBezTo>
                      <a:pt x="34023" y="43000"/>
                      <a:pt x="39666" y="43378"/>
                      <a:pt x="45630" y="43378"/>
                    </a:cubicBezTo>
                    <a:cubicBezTo>
                      <a:pt x="166668" y="43378"/>
                      <a:pt x="287707" y="43378"/>
                      <a:pt x="408688" y="43378"/>
                    </a:cubicBezTo>
                    <a:cubicBezTo>
                      <a:pt x="419450" y="43378"/>
                      <a:pt x="429660" y="41080"/>
                      <a:pt x="436235" y="31162"/>
                    </a:cubicBezTo>
                    <a:lnTo>
                      <a:pt x="439143" y="28254"/>
                    </a:lnTo>
                    <a:cubicBezTo>
                      <a:pt x="445397" y="24299"/>
                      <a:pt x="445718" y="18162"/>
                      <a:pt x="445223" y="11734"/>
                    </a:cubicBezTo>
                    <a:close/>
                  </a:path>
                </a:pathLst>
              </a:custGeom>
              <a:solidFill>
                <a:srgbClr val="FCFDFD"/>
              </a:solidFill>
              <a:ln w="2907" cap="flat">
                <a:noFill/>
                <a:prstDash val="solid"/>
                <a:miter/>
              </a:ln>
            </p:spPr>
            <p:txBody>
              <a:bodyPr rtlCol="0" anchor="ctr"/>
              <a:lstStyle/>
              <a:p>
                <a:endParaRPr lang="en-US" sz="800"/>
              </a:p>
            </p:txBody>
          </p:sp>
          <p:sp>
            <p:nvSpPr>
              <p:cNvPr id="92" name="Graphic 38">
                <a:extLst>
                  <a:ext uri="{FF2B5EF4-FFF2-40B4-BE49-F238E27FC236}">
                    <a16:creationId xmlns:a16="http://schemas.microsoft.com/office/drawing/2014/main" id="{C9399104-71AA-D61C-AAF4-005038D4EF80}"/>
                  </a:ext>
                </a:extLst>
              </p:cNvPr>
              <p:cNvSpPr/>
              <p:nvPr/>
            </p:nvSpPr>
            <p:spPr>
              <a:xfrm>
                <a:off x="17122658" y="2923701"/>
                <a:ext cx="434296" cy="403339"/>
              </a:xfrm>
              <a:custGeom>
                <a:avLst/>
                <a:gdLst>
                  <a:gd name="connsiteX0" fmla="*/ -603 w 434296"/>
                  <a:gd name="connsiteY0" fmla="*/ 201482 h 403339"/>
                  <a:gd name="connsiteX1" fmla="*/ -603 w 434296"/>
                  <a:gd name="connsiteY1" fmla="*/ 191768 h 403339"/>
                  <a:gd name="connsiteX2" fmla="*/ -603 w 434296"/>
                  <a:gd name="connsiteY2" fmla="*/ 71738 h 403339"/>
                  <a:gd name="connsiteX3" fmla="*/ -603 w 434296"/>
                  <a:gd name="connsiteY3" fmla="*/ 65281 h 403339"/>
                  <a:gd name="connsiteX4" fmla="*/ -138 w 434296"/>
                  <a:gd name="connsiteY4" fmla="*/ 33696 h 403339"/>
                  <a:gd name="connsiteX5" fmla="*/ 33925 w 434296"/>
                  <a:gd name="connsiteY5" fmla="*/ -448 h 403339"/>
                  <a:gd name="connsiteX6" fmla="*/ 152520 w 434296"/>
                  <a:gd name="connsiteY6" fmla="*/ -448 h 403339"/>
                  <a:gd name="connsiteX7" fmla="*/ 392881 w 434296"/>
                  <a:gd name="connsiteY7" fmla="*/ -448 h 403339"/>
                  <a:gd name="connsiteX8" fmla="*/ 433315 w 434296"/>
                  <a:gd name="connsiteY8" fmla="*/ 40066 h 403339"/>
                  <a:gd name="connsiteX9" fmla="*/ 433315 w 434296"/>
                  <a:gd name="connsiteY9" fmla="*/ 363974 h 403339"/>
                  <a:gd name="connsiteX10" fmla="*/ 394685 w 434296"/>
                  <a:gd name="connsiteY10" fmla="*/ 402801 h 403339"/>
                  <a:gd name="connsiteX11" fmla="*/ 40470 w 434296"/>
                  <a:gd name="connsiteY11" fmla="*/ 402801 h 403339"/>
                  <a:gd name="connsiteX12" fmla="*/ -254 w 434296"/>
                  <a:gd name="connsiteY12" fmla="*/ 361298 h 403339"/>
                  <a:gd name="connsiteX13" fmla="*/ -981 w 434296"/>
                  <a:gd name="connsiteY13" fmla="*/ 325001 h 403339"/>
                  <a:gd name="connsiteX14" fmla="*/ -981 w 434296"/>
                  <a:gd name="connsiteY14" fmla="*/ 321541 h 40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4296" h="403339">
                    <a:moveTo>
                      <a:pt x="-603" y="201482"/>
                    </a:moveTo>
                    <a:lnTo>
                      <a:pt x="-603" y="191768"/>
                    </a:lnTo>
                    <a:lnTo>
                      <a:pt x="-603" y="71738"/>
                    </a:lnTo>
                    <a:lnTo>
                      <a:pt x="-603" y="65281"/>
                    </a:lnTo>
                    <a:cubicBezTo>
                      <a:pt x="-458" y="54753"/>
                      <a:pt x="-341" y="44225"/>
                      <a:pt x="-138" y="33696"/>
                    </a:cubicBezTo>
                    <a:cubicBezTo>
                      <a:pt x="298" y="10749"/>
                      <a:pt x="11062" y="-303"/>
                      <a:pt x="33925" y="-448"/>
                    </a:cubicBezTo>
                    <a:cubicBezTo>
                      <a:pt x="73457" y="-652"/>
                      <a:pt x="112989" y="-448"/>
                      <a:pt x="152520" y="-448"/>
                    </a:cubicBezTo>
                    <a:cubicBezTo>
                      <a:pt x="232660" y="-448"/>
                      <a:pt x="312771" y="-448"/>
                      <a:pt x="392881" y="-448"/>
                    </a:cubicBezTo>
                    <a:cubicBezTo>
                      <a:pt x="424239" y="-448"/>
                      <a:pt x="433315" y="8772"/>
                      <a:pt x="433315" y="40066"/>
                    </a:cubicBezTo>
                    <a:lnTo>
                      <a:pt x="433315" y="363974"/>
                    </a:lnTo>
                    <a:cubicBezTo>
                      <a:pt x="433315" y="393378"/>
                      <a:pt x="424007" y="402801"/>
                      <a:pt x="394685" y="402801"/>
                    </a:cubicBezTo>
                    <a:cubicBezTo>
                      <a:pt x="276613" y="402801"/>
                      <a:pt x="158542" y="402801"/>
                      <a:pt x="40470" y="402801"/>
                    </a:cubicBezTo>
                    <a:cubicBezTo>
                      <a:pt x="7862" y="402801"/>
                      <a:pt x="-50" y="394454"/>
                      <a:pt x="-254" y="361298"/>
                    </a:cubicBezTo>
                    <a:cubicBezTo>
                      <a:pt x="-254" y="349199"/>
                      <a:pt x="-719" y="337100"/>
                      <a:pt x="-981" y="325001"/>
                    </a:cubicBezTo>
                    <a:lnTo>
                      <a:pt x="-981" y="321541"/>
                    </a:lnTo>
                    <a:close/>
                  </a:path>
                </a:pathLst>
              </a:custGeom>
              <a:solidFill>
                <a:schemeClr val="bg2"/>
              </a:solidFill>
              <a:ln w="2907" cap="flat">
                <a:noFill/>
                <a:prstDash val="solid"/>
                <a:miter/>
              </a:ln>
            </p:spPr>
            <p:txBody>
              <a:bodyPr rtlCol="0" anchor="ctr"/>
              <a:lstStyle/>
              <a:p>
                <a:endParaRPr lang="en-US" sz="800"/>
              </a:p>
            </p:txBody>
          </p:sp>
          <p:sp>
            <p:nvSpPr>
              <p:cNvPr id="93" name="Graphic 38">
                <a:extLst>
                  <a:ext uri="{FF2B5EF4-FFF2-40B4-BE49-F238E27FC236}">
                    <a16:creationId xmlns:a16="http://schemas.microsoft.com/office/drawing/2014/main" id="{4F0C5352-47D7-EB07-E1D8-908A5C2CAF59}"/>
                  </a:ext>
                </a:extLst>
              </p:cNvPr>
              <p:cNvSpPr/>
              <p:nvPr/>
            </p:nvSpPr>
            <p:spPr>
              <a:xfrm>
                <a:off x="17121476" y="2593514"/>
                <a:ext cx="435682" cy="316637"/>
              </a:xfrm>
              <a:custGeom>
                <a:avLst/>
                <a:gdLst>
                  <a:gd name="connsiteX0" fmla="*/ 753 w 435682"/>
                  <a:gd name="connsiteY0" fmla="*/ 148807 h 316637"/>
                  <a:gd name="connsiteX1" fmla="*/ 753 w 435682"/>
                  <a:gd name="connsiteY1" fmla="*/ 142322 h 316637"/>
                  <a:gd name="connsiteX2" fmla="*/ 957 w 435682"/>
                  <a:gd name="connsiteY2" fmla="*/ 25317 h 316637"/>
                  <a:gd name="connsiteX3" fmla="*/ 17770 w 435682"/>
                  <a:gd name="connsiteY3" fmla="*/ 741 h 316637"/>
                  <a:gd name="connsiteX4" fmla="*/ 20039 w 435682"/>
                  <a:gd name="connsiteY4" fmla="*/ 218 h 316637"/>
                  <a:gd name="connsiteX5" fmla="*/ 116585 w 435682"/>
                  <a:gd name="connsiteY5" fmla="*/ 14 h 316637"/>
                  <a:gd name="connsiteX6" fmla="*/ 409334 w 435682"/>
                  <a:gd name="connsiteY6" fmla="*/ -539 h 316637"/>
                  <a:gd name="connsiteX7" fmla="*/ 415385 w 435682"/>
                  <a:gd name="connsiteY7" fmla="*/ 218 h 316637"/>
                  <a:gd name="connsiteX8" fmla="*/ 425159 w 435682"/>
                  <a:gd name="connsiteY8" fmla="*/ 6412 h 316637"/>
                  <a:gd name="connsiteX9" fmla="*/ 434701 w 435682"/>
                  <a:gd name="connsiteY9" fmla="*/ 35496 h 316637"/>
                  <a:gd name="connsiteX10" fmla="*/ 434701 w 435682"/>
                  <a:gd name="connsiteY10" fmla="*/ 274247 h 316637"/>
                  <a:gd name="connsiteX11" fmla="*/ 392143 w 435682"/>
                  <a:gd name="connsiteY11" fmla="*/ 316099 h 316637"/>
                  <a:gd name="connsiteX12" fmla="*/ 26671 w 435682"/>
                  <a:gd name="connsiteY12" fmla="*/ 316099 h 316637"/>
                  <a:gd name="connsiteX13" fmla="*/ 10789 w 435682"/>
                  <a:gd name="connsiteY13" fmla="*/ 309642 h 316637"/>
                  <a:gd name="connsiteX14" fmla="*/ 10789 w 435682"/>
                  <a:gd name="connsiteY14" fmla="*/ 309642 h 316637"/>
                  <a:gd name="connsiteX15" fmla="*/ 7589 w 435682"/>
                  <a:gd name="connsiteY15" fmla="*/ 306442 h 316637"/>
                  <a:gd name="connsiteX16" fmla="*/ 7764 w 435682"/>
                  <a:gd name="connsiteY16" fmla="*/ 306239 h 316637"/>
                  <a:gd name="connsiteX17" fmla="*/ 811 w 435682"/>
                  <a:gd name="connsiteY17" fmla="*/ 268633 h 316637"/>
                  <a:gd name="connsiteX18" fmla="*/ 753 w 435682"/>
                  <a:gd name="connsiteY18" fmla="*/ 148807 h 31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5682" h="316637">
                    <a:moveTo>
                      <a:pt x="753" y="148807"/>
                    </a:moveTo>
                    <a:cubicBezTo>
                      <a:pt x="753" y="146626"/>
                      <a:pt x="753" y="144474"/>
                      <a:pt x="753" y="142322"/>
                    </a:cubicBezTo>
                    <a:cubicBezTo>
                      <a:pt x="753" y="103320"/>
                      <a:pt x="811" y="64318"/>
                      <a:pt x="957" y="25317"/>
                    </a:cubicBezTo>
                    <a:cubicBezTo>
                      <a:pt x="2469" y="14323"/>
                      <a:pt x="11981" y="8797"/>
                      <a:pt x="17770" y="741"/>
                    </a:cubicBezTo>
                    <a:cubicBezTo>
                      <a:pt x="18556" y="683"/>
                      <a:pt x="19312" y="508"/>
                      <a:pt x="20039" y="218"/>
                    </a:cubicBezTo>
                    <a:lnTo>
                      <a:pt x="116585" y="14"/>
                    </a:lnTo>
                    <a:lnTo>
                      <a:pt x="409334" y="-539"/>
                    </a:lnTo>
                    <a:lnTo>
                      <a:pt x="415385" y="218"/>
                    </a:lnTo>
                    <a:cubicBezTo>
                      <a:pt x="417479" y="3707"/>
                      <a:pt x="421116" y="6005"/>
                      <a:pt x="425159" y="6412"/>
                    </a:cubicBezTo>
                    <a:cubicBezTo>
                      <a:pt x="432490" y="14760"/>
                      <a:pt x="434759" y="24386"/>
                      <a:pt x="434701" y="35496"/>
                    </a:cubicBezTo>
                    <a:cubicBezTo>
                      <a:pt x="434409" y="115070"/>
                      <a:pt x="434701" y="194644"/>
                      <a:pt x="434701" y="274247"/>
                    </a:cubicBezTo>
                    <a:cubicBezTo>
                      <a:pt x="434701" y="307519"/>
                      <a:pt x="425974" y="316099"/>
                      <a:pt x="392143" y="316099"/>
                    </a:cubicBezTo>
                    <a:lnTo>
                      <a:pt x="26671" y="316099"/>
                    </a:lnTo>
                    <a:cubicBezTo>
                      <a:pt x="22221" y="312259"/>
                      <a:pt x="16635" y="309991"/>
                      <a:pt x="10789" y="309642"/>
                    </a:cubicBezTo>
                    <a:lnTo>
                      <a:pt x="10789" y="309642"/>
                    </a:lnTo>
                    <a:lnTo>
                      <a:pt x="7589" y="306442"/>
                    </a:lnTo>
                    <a:lnTo>
                      <a:pt x="7764" y="306239"/>
                    </a:lnTo>
                    <a:cubicBezTo>
                      <a:pt x="4855" y="293820"/>
                      <a:pt x="-4978" y="282652"/>
                      <a:pt x="811" y="268633"/>
                    </a:cubicBezTo>
                    <a:cubicBezTo>
                      <a:pt x="782" y="228788"/>
                      <a:pt x="782" y="188856"/>
                      <a:pt x="753" y="148807"/>
                    </a:cubicBezTo>
                    <a:close/>
                  </a:path>
                </a:pathLst>
              </a:custGeom>
              <a:solidFill>
                <a:schemeClr val="accent5">
                  <a:lumMod val="50000"/>
                </a:schemeClr>
              </a:solidFill>
              <a:ln w="2907" cap="flat">
                <a:noFill/>
                <a:prstDash val="solid"/>
                <a:miter/>
              </a:ln>
            </p:spPr>
            <p:txBody>
              <a:bodyPr rtlCol="0" anchor="ctr"/>
              <a:lstStyle/>
              <a:p>
                <a:endParaRPr lang="en-US" sz="800"/>
              </a:p>
            </p:txBody>
          </p:sp>
          <p:sp>
            <p:nvSpPr>
              <p:cNvPr id="94" name="Graphic 38">
                <a:extLst>
                  <a:ext uri="{FF2B5EF4-FFF2-40B4-BE49-F238E27FC236}">
                    <a16:creationId xmlns:a16="http://schemas.microsoft.com/office/drawing/2014/main" id="{A61A75CD-AAE3-20CF-A788-0F1584D33957}"/>
                  </a:ext>
                </a:extLst>
              </p:cNvPr>
              <p:cNvSpPr/>
              <p:nvPr/>
            </p:nvSpPr>
            <p:spPr>
              <a:xfrm>
                <a:off x="17122997" y="2309626"/>
                <a:ext cx="432240" cy="268792"/>
              </a:xfrm>
              <a:custGeom>
                <a:avLst/>
                <a:gdLst>
                  <a:gd name="connsiteX0" fmla="*/ 430271 w 432240"/>
                  <a:gd name="connsiteY0" fmla="*/ 189030 h 268792"/>
                  <a:gd name="connsiteX1" fmla="*/ 429892 w 432240"/>
                  <a:gd name="connsiteY1" fmla="*/ 16301 h 268792"/>
                  <a:gd name="connsiteX2" fmla="*/ 428990 w 432240"/>
                  <a:gd name="connsiteY2" fmla="*/ 14119 h 268792"/>
                  <a:gd name="connsiteX3" fmla="*/ 427856 w 432240"/>
                  <a:gd name="connsiteY3" fmla="*/ 12549 h 268792"/>
                  <a:gd name="connsiteX4" fmla="*/ 427914 w 432240"/>
                  <a:gd name="connsiteY4" fmla="*/ 12316 h 268792"/>
                  <a:gd name="connsiteX5" fmla="*/ 426664 w 432240"/>
                  <a:gd name="connsiteY5" fmla="*/ 11095 h 268792"/>
                  <a:gd name="connsiteX6" fmla="*/ 424569 w 432240"/>
                  <a:gd name="connsiteY6" fmla="*/ 8652 h 268792"/>
                  <a:gd name="connsiteX7" fmla="*/ 423464 w 432240"/>
                  <a:gd name="connsiteY7" fmla="*/ 7285 h 268792"/>
                  <a:gd name="connsiteX8" fmla="*/ 421893 w 432240"/>
                  <a:gd name="connsiteY8" fmla="*/ 5976 h 268792"/>
                  <a:gd name="connsiteX9" fmla="*/ 402840 w 432240"/>
                  <a:gd name="connsiteY9" fmla="*/ -539 h 268792"/>
                  <a:gd name="connsiteX10" fmla="*/ 29775 w 432240"/>
                  <a:gd name="connsiteY10" fmla="*/ -364 h 268792"/>
                  <a:gd name="connsiteX11" fmla="*/ -331 w 432240"/>
                  <a:gd name="connsiteY11" fmla="*/ 29330 h 268792"/>
                  <a:gd name="connsiteX12" fmla="*/ -855 w 432240"/>
                  <a:gd name="connsiteY12" fmla="*/ 43523 h 268792"/>
                  <a:gd name="connsiteX13" fmla="*/ -855 w 432240"/>
                  <a:gd name="connsiteY13" fmla="*/ 52830 h 268792"/>
                  <a:gd name="connsiteX14" fmla="*/ -855 w 432240"/>
                  <a:gd name="connsiteY14" fmla="*/ 173151 h 268792"/>
                  <a:gd name="connsiteX15" fmla="*/ -593 w 432240"/>
                  <a:gd name="connsiteY15" fmla="*/ 189089 h 268792"/>
                  <a:gd name="connsiteX16" fmla="*/ 657 w 432240"/>
                  <a:gd name="connsiteY16" fmla="*/ 189089 h 268792"/>
                  <a:gd name="connsiteX17" fmla="*/ 5981 w 432240"/>
                  <a:gd name="connsiteY17" fmla="*/ 258629 h 268792"/>
                  <a:gd name="connsiteX18" fmla="*/ 14707 w 432240"/>
                  <a:gd name="connsiteY18" fmla="*/ 265259 h 268792"/>
                  <a:gd name="connsiteX19" fmla="*/ 15318 w 432240"/>
                  <a:gd name="connsiteY19" fmla="*/ 265638 h 268792"/>
                  <a:gd name="connsiteX20" fmla="*/ 70297 w 432240"/>
                  <a:gd name="connsiteY20" fmla="*/ 268110 h 268792"/>
                  <a:gd name="connsiteX21" fmla="*/ 357694 w 432240"/>
                  <a:gd name="connsiteY21" fmla="*/ 268110 h 268792"/>
                  <a:gd name="connsiteX22" fmla="*/ 420526 w 432240"/>
                  <a:gd name="connsiteY22" fmla="*/ 264823 h 268792"/>
                  <a:gd name="connsiteX23" fmla="*/ 420526 w 432240"/>
                  <a:gd name="connsiteY23" fmla="*/ 264823 h 268792"/>
                  <a:gd name="connsiteX24" fmla="*/ 423726 w 432240"/>
                  <a:gd name="connsiteY24" fmla="*/ 261915 h 268792"/>
                  <a:gd name="connsiteX25" fmla="*/ 427071 w 432240"/>
                  <a:gd name="connsiteY25" fmla="*/ 258512 h 268792"/>
                  <a:gd name="connsiteX26" fmla="*/ 429980 w 432240"/>
                  <a:gd name="connsiteY26" fmla="*/ 255051 h 268792"/>
                  <a:gd name="connsiteX27" fmla="*/ 431259 w 432240"/>
                  <a:gd name="connsiteY27" fmla="*/ 249234 h 26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2240" h="268792">
                    <a:moveTo>
                      <a:pt x="430271" y="189030"/>
                    </a:moveTo>
                    <a:cubicBezTo>
                      <a:pt x="430125" y="131444"/>
                      <a:pt x="430009" y="73858"/>
                      <a:pt x="429892" y="16301"/>
                    </a:cubicBezTo>
                    <a:cubicBezTo>
                      <a:pt x="429688" y="15545"/>
                      <a:pt x="429369" y="14817"/>
                      <a:pt x="428990" y="14119"/>
                    </a:cubicBezTo>
                    <a:cubicBezTo>
                      <a:pt x="428234" y="14003"/>
                      <a:pt x="427740" y="13305"/>
                      <a:pt x="427856" y="12549"/>
                    </a:cubicBezTo>
                    <a:cubicBezTo>
                      <a:pt x="427856" y="12462"/>
                      <a:pt x="427885" y="12404"/>
                      <a:pt x="427914" y="12316"/>
                    </a:cubicBezTo>
                    <a:cubicBezTo>
                      <a:pt x="427507" y="11880"/>
                      <a:pt x="427100" y="11473"/>
                      <a:pt x="426664" y="11095"/>
                    </a:cubicBezTo>
                    <a:lnTo>
                      <a:pt x="424569" y="8652"/>
                    </a:lnTo>
                    <a:cubicBezTo>
                      <a:pt x="424220" y="8187"/>
                      <a:pt x="423842" y="7721"/>
                      <a:pt x="423464" y="7285"/>
                    </a:cubicBezTo>
                    <a:cubicBezTo>
                      <a:pt x="422445" y="7459"/>
                      <a:pt x="421893" y="7023"/>
                      <a:pt x="421893" y="5976"/>
                    </a:cubicBezTo>
                    <a:cubicBezTo>
                      <a:pt x="416366" y="1875"/>
                      <a:pt x="409705" y="-393"/>
                      <a:pt x="402840" y="-539"/>
                    </a:cubicBezTo>
                    <a:cubicBezTo>
                      <a:pt x="278485" y="-539"/>
                      <a:pt x="154130" y="-481"/>
                      <a:pt x="29775" y="-364"/>
                    </a:cubicBezTo>
                    <a:cubicBezTo>
                      <a:pt x="11799" y="-364"/>
                      <a:pt x="542" y="11560"/>
                      <a:pt x="-331" y="29330"/>
                    </a:cubicBezTo>
                    <a:cubicBezTo>
                      <a:pt x="-564" y="34071"/>
                      <a:pt x="-681" y="38783"/>
                      <a:pt x="-855" y="43523"/>
                    </a:cubicBezTo>
                    <a:lnTo>
                      <a:pt x="-855" y="52830"/>
                    </a:lnTo>
                    <a:cubicBezTo>
                      <a:pt x="-855" y="92937"/>
                      <a:pt x="-855" y="133044"/>
                      <a:pt x="-855" y="173151"/>
                    </a:cubicBezTo>
                    <a:lnTo>
                      <a:pt x="-593" y="189089"/>
                    </a:lnTo>
                    <a:lnTo>
                      <a:pt x="657" y="189089"/>
                    </a:lnTo>
                    <a:cubicBezTo>
                      <a:pt x="919" y="212356"/>
                      <a:pt x="-5713" y="236205"/>
                      <a:pt x="5981" y="258629"/>
                    </a:cubicBezTo>
                    <a:cubicBezTo>
                      <a:pt x="10024" y="258687"/>
                      <a:pt x="13573" y="261391"/>
                      <a:pt x="14707" y="265259"/>
                    </a:cubicBezTo>
                    <a:lnTo>
                      <a:pt x="15318" y="265638"/>
                    </a:lnTo>
                    <a:cubicBezTo>
                      <a:pt x="33528" y="269011"/>
                      <a:pt x="51941" y="268110"/>
                      <a:pt x="70297" y="268110"/>
                    </a:cubicBezTo>
                    <a:lnTo>
                      <a:pt x="357694" y="268110"/>
                    </a:lnTo>
                    <a:cubicBezTo>
                      <a:pt x="378696" y="268110"/>
                      <a:pt x="399757" y="269302"/>
                      <a:pt x="420526" y="264823"/>
                    </a:cubicBezTo>
                    <a:lnTo>
                      <a:pt x="420526" y="264823"/>
                    </a:lnTo>
                    <a:lnTo>
                      <a:pt x="423726" y="261915"/>
                    </a:lnTo>
                    <a:lnTo>
                      <a:pt x="427071" y="258512"/>
                    </a:lnTo>
                    <a:lnTo>
                      <a:pt x="429980" y="255051"/>
                    </a:lnTo>
                    <a:cubicBezTo>
                      <a:pt x="430416" y="253132"/>
                      <a:pt x="430852" y="251183"/>
                      <a:pt x="431259" y="249234"/>
                    </a:cubicBezTo>
                    <a:close/>
                  </a:path>
                </a:pathLst>
              </a:custGeom>
              <a:solidFill>
                <a:schemeClr val="bg1">
                  <a:lumMod val="50000"/>
                </a:schemeClr>
              </a:solidFill>
              <a:ln w="2907" cap="flat">
                <a:noFill/>
                <a:prstDash val="solid"/>
                <a:miter/>
              </a:ln>
            </p:spPr>
            <p:txBody>
              <a:bodyPr rtlCol="0" anchor="ctr"/>
              <a:lstStyle/>
              <a:p>
                <a:endParaRPr lang="en-US" sz="800"/>
              </a:p>
            </p:txBody>
          </p:sp>
          <p:sp>
            <p:nvSpPr>
              <p:cNvPr id="95" name="Graphic 38">
                <a:extLst>
                  <a:ext uri="{FF2B5EF4-FFF2-40B4-BE49-F238E27FC236}">
                    <a16:creationId xmlns:a16="http://schemas.microsoft.com/office/drawing/2014/main" id="{B902223D-9705-082B-9271-D6ACD8BA1FAD}"/>
                  </a:ext>
                </a:extLst>
              </p:cNvPr>
              <p:cNvSpPr/>
              <p:nvPr/>
            </p:nvSpPr>
            <p:spPr>
              <a:xfrm>
                <a:off x="17142526" y="2587796"/>
                <a:ext cx="389295" cy="6474"/>
              </a:xfrm>
              <a:custGeom>
                <a:avLst/>
                <a:gdLst>
                  <a:gd name="connsiteX0" fmla="*/ 388314 w 389295"/>
                  <a:gd name="connsiteY0" fmla="*/ 5180 h 6474"/>
                  <a:gd name="connsiteX1" fmla="*/ 95564 w 389295"/>
                  <a:gd name="connsiteY1" fmla="*/ 5732 h 6474"/>
                  <a:gd name="connsiteX2" fmla="*/ -981 w 389295"/>
                  <a:gd name="connsiteY2" fmla="*/ 5936 h 6474"/>
                  <a:gd name="connsiteX3" fmla="*/ 11381 w 389295"/>
                  <a:gd name="connsiteY3" fmla="*/ -492 h 6474"/>
                  <a:gd name="connsiteX4" fmla="*/ 374555 w 389295"/>
                  <a:gd name="connsiteY4" fmla="*/ -492 h 6474"/>
                  <a:gd name="connsiteX5" fmla="*/ 388314 w 389295"/>
                  <a:gd name="connsiteY5" fmla="*/ 5180 h 6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295" h="6474">
                    <a:moveTo>
                      <a:pt x="388314" y="5180"/>
                    </a:moveTo>
                    <a:lnTo>
                      <a:pt x="95564" y="5732"/>
                    </a:lnTo>
                    <a:lnTo>
                      <a:pt x="-981" y="5936"/>
                    </a:lnTo>
                    <a:cubicBezTo>
                      <a:pt x="357" y="-1510"/>
                      <a:pt x="6233" y="-492"/>
                      <a:pt x="11381" y="-492"/>
                    </a:cubicBezTo>
                    <a:lnTo>
                      <a:pt x="374555" y="-492"/>
                    </a:lnTo>
                    <a:cubicBezTo>
                      <a:pt x="380024" y="-550"/>
                      <a:pt x="385144" y="-114"/>
                      <a:pt x="388314" y="5180"/>
                    </a:cubicBezTo>
                    <a:close/>
                  </a:path>
                </a:pathLst>
              </a:custGeom>
              <a:solidFill>
                <a:srgbClr val="AFB0B4"/>
              </a:solidFill>
              <a:ln w="2907" cap="flat">
                <a:noFill/>
                <a:prstDash val="solid"/>
                <a:miter/>
              </a:ln>
            </p:spPr>
            <p:txBody>
              <a:bodyPr rtlCol="0" anchor="ctr"/>
              <a:lstStyle/>
              <a:p>
                <a:endParaRPr lang="en-US" sz="800"/>
              </a:p>
            </p:txBody>
          </p:sp>
          <p:sp>
            <p:nvSpPr>
              <p:cNvPr id="96" name="Graphic 38">
                <a:extLst>
                  <a:ext uri="{FF2B5EF4-FFF2-40B4-BE49-F238E27FC236}">
                    <a16:creationId xmlns:a16="http://schemas.microsoft.com/office/drawing/2014/main" id="{4200476E-D8EC-9764-16F6-842C4E6C06A1}"/>
                  </a:ext>
                </a:extLst>
              </p:cNvPr>
              <p:cNvSpPr/>
              <p:nvPr/>
            </p:nvSpPr>
            <p:spPr>
              <a:xfrm>
                <a:off x="17139209" y="2574988"/>
                <a:ext cx="405207" cy="6515"/>
              </a:xfrm>
              <a:custGeom>
                <a:avLst/>
                <a:gdLst>
                  <a:gd name="connsiteX0" fmla="*/ -981 w 405207"/>
                  <a:gd name="connsiteY0" fmla="*/ 275 h 6515"/>
                  <a:gd name="connsiteX1" fmla="*/ 53997 w 405207"/>
                  <a:gd name="connsiteY1" fmla="*/ 2748 h 6515"/>
                  <a:gd name="connsiteX2" fmla="*/ 341395 w 405207"/>
                  <a:gd name="connsiteY2" fmla="*/ 2748 h 6515"/>
                  <a:gd name="connsiteX3" fmla="*/ 404226 w 405207"/>
                  <a:gd name="connsiteY3" fmla="*/ -539 h 6515"/>
                  <a:gd name="connsiteX4" fmla="*/ 384068 w 405207"/>
                  <a:gd name="connsiteY4" fmla="*/ 5947 h 6515"/>
                  <a:gd name="connsiteX5" fmla="*/ 16036 w 405207"/>
                  <a:gd name="connsiteY5" fmla="*/ 5947 h 6515"/>
                  <a:gd name="connsiteX6" fmla="*/ -981 w 405207"/>
                  <a:gd name="connsiteY6" fmla="*/ 275 h 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207" h="6515">
                    <a:moveTo>
                      <a:pt x="-981" y="275"/>
                    </a:moveTo>
                    <a:cubicBezTo>
                      <a:pt x="17228" y="3649"/>
                      <a:pt x="35642" y="2748"/>
                      <a:pt x="53997" y="2748"/>
                    </a:cubicBezTo>
                    <a:lnTo>
                      <a:pt x="341395" y="2748"/>
                    </a:lnTo>
                    <a:cubicBezTo>
                      <a:pt x="362397" y="2748"/>
                      <a:pt x="383457" y="3940"/>
                      <a:pt x="404226" y="-539"/>
                    </a:cubicBezTo>
                    <a:cubicBezTo>
                      <a:pt x="398932" y="6121"/>
                      <a:pt x="391486" y="5947"/>
                      <a:pt x="384068" y="5947"/>
                    </a:cubicBezTo>
                    <a:lnTo>
                      <a:pt x="16036" y="5947"/>
                    </a:lnTo>
                    <a:cubicBezTo>
                      <a:pt x="9753" y="5947"/>
                      <a:pt x="3179" y="6732"/>
                      <a:pt x="-981" y="275"/>
                    </a:cubicBezTo>
                    <a:close/>
                  </a:path>
                </a:pathLst>
              </a:custGeom>
              <a:solidFill>
                <a:srgbClr val="AFB0B4"/>
              </a:solidFill>
              <a:ln w="2907" cap="flat">
                <a:noFill/>
                <a:prstDash val="solid"/>
                <a:miter/>
              </a:ln>
            </p:spPr>
            <p:txBody>
              <a:bodyPr rtlCol="0" anchor="ctr"/>
              <a:lstStyle/>
              <a:p>
                <a:endParaRPr lang="en-US" sz="800"/>
              </a:p>
            </p:txBody>
          </p:sp>
          <p:sp>
            <p:nvSpPr>
              <p:cNvPr id="97" name="Graphic 38">
                <a:extLst>
                  <a:ext uri="{FF2B5EF4-FFF2-40B4-BE49-F238E27FC236}">
                    <a16:creationId xmlns:a16="http://schemas.microsoft.com/office/drawing/2014/main" id="{BD5A7711-DB28-0E4A-6A18-23787479C3D7}"/>
                  </a:ext>
                </a:extLst>
              </p:cNvPr>
              <p:cNvSpPr/>
              <p:nvPr/>
            </p:nvSpPr>
            <p:spPr>
              <a:xfrm>
                <a:off x="17537872" y="2594200"/>
                <a:ext cx="9774" cy="6265"/>
              </a:xfrm>
              <a:custGeom>
                <a:avLst/>
                <a:gdLst>
                  <a:gd name="connsiteX0" fmla="*/ 8793 w 9774"/>
                  <a:gd name="connsiteY0" fmla="*/ 5727 h 6265"/>
                  <a:gd name="connsiteX1" fmla="*/ -981 w 9774"/>
                  <a:gd name="connsiteY1" fmla="*/ -468 h 6265"/>
                  <a:gd name="connsiteX2" fmla="*/ 8793 w 9774"/>
                  <a:gd name="connsiteY2" fmla="*/ 5727 h 6265"/>
                </a:gdLst>
                <a:ahLst/>
                <a:cxnLst>
                  <a:cxn ang="0">
                    <a:pos x="connsiteX0" y="connsiteY0"/>
                  </a:cxn>
                  <a:cxn ang="0">
                    <a:pos x="connsiteX1" y="connsiteY1"/>
                  </a:cxn>
                  <a:cxn ang="0">
                    <a:pos x="connsiteX2" y="connsiteY2"/>
                  </a:cxn>
                </a:cxnLst>
                <a:rect l="l" t="t" r="r" b="b"/>
                <a:pathLst>
                  <a:path w="9774" h="6265">
                    <a:moveTo>
                      <a:pt x="8793" y="5727"/>
                    </a:moveTo>
                    <a:cubicBezTo>
                      <a:pt x="4749" y="5320"/>
                      <a:pt x="1113" y="3022"/>
                      <a:pt x="-981" y="-468"/>
                    </a:cubicBezTo>
                    <a:cubicBezTo>
                      <a:pt x="3761" y="-759"/>
                      <a:pt x="8124" y="-410"/>
                      <a:pt x="8793" y="5727"/>
                    </a:cubicBezTo>
                    <a:close/>
                  </a:path>
                </a:pathLst>
              </a:custGeom>
              <a:solidFill>
                <a:srgbClr val="AFB0B4"/>
              </a:solidFill>
              <a:ln w="2907" cap="flat">
                <a:noFill/>
                <a:prstDash val="solid"/>
                <a:miter/>
              </a:ln>
            </p:spPr>
            <p:txBody>
              <a:bodyPr rtlCol="0" anchor="ctr"/>
              <a:lstStyle/>
              <a:p>
                <a:endParaRPr lang="en-US" sz="800"/>
              </a:p>
            </p:txBody>
          </p:sp>
          <p:sp>
            <p:nvSpPr>
              <p:cNvPr id="98" name="Graphic 38">
                <a:extLst>
                  <a:ext uri="{FF2B5EF4-FFF2-40B4-BE49-F238E27FC236}">
                    <a16:creationId xmlns:a16="http://schemas.microsoft.com/office/drawing/2014/main" id="{54544D18-AB79-F901-0116-123DC6262FDD}"/>
                  </a:ext>
                </a:extLst>
              </p:cNvPr>
              <p:cNvSpPr/>
              <p:nvPr/>
            </p:nvSpPr>
            <p:spPr>
              <a:xfrm>
                <a:off x="17544504" y="2572050"/>
                <a:ext cx="3200" cy="2908"/>
              </a:xfrm>
              <a:custGeom>
                <a:avLst/>
                <a:gdLst>
                  <a:gd name="connsiteX0" fmla="*/ -981 w 3200"/>
                  <a:gd name="connsiteY0" fmla="*/ 2370 h 2908"/>
                  <a:gd name="connsiteX1" fmla="*/ 2219 w 3200"/>
                  <a:gd name="connsiteY1" fmla="*/ -539 h 2908"/>
                </a:gdLst>
                <a:ahLst/>
                <a:cxnLst>
                  <a:cxn ang="0">
                    <a:pos x="connsiteX0" y="connsiteY0"/>
                  </a:cxn>
                  <a:cxn ang="0">
                    <a:pos x="connsiteX1" y="connsiteY1"/>
                  </a:cxn>
                </a:cxnLst>
                <a:rect l="l" t="t" r="r" b="b"/>
                <a:pathLst>
                  <a:path w="3200" h="2908">
                    <a:moveTo>
                      <a:pt x="-981" y="2370"/>
                    </a:moveTo>
                    <a:lnTo>
                      <a:pt x="2219" y="-539"/>
                    </a:lnTo>
                    <a:close/>
                  </a:path>
                </a:pathLst>
              </a:custGeom>
              <a:solidFill>
                <a:srgbClr val="AFB0B4"/>
              </a:solidFill>
              <a:ln w="2907" cap="flat">
                <a:noFill/>
                <a:prstDash val="solid"/>
                <a:miter/>
              </a:ln>
            </p:spPr>
            <p:txBody>
              <a:bodyPr rtlCol="0" anchor="ctr"/>
              <a:lstStyle/>
              <a:p>
                <a:endParaRPr lang="en-US" sz="800"/>
              </a:p>
            </p:txBody>
          </p:sp>
          <p:sp>
            <p:nvSpPr>
              <p:cNvPr id="99" name="Graphic 38">
                <a:extLst>
                  <a:ext uri="{FF2B5EF4-FFF2-40B4-BE49-F238E27FC236}">
                    <a16:creationId xmlns:a16="http://schemas.microsoft.com/office/drawing/2014/main" id="{CDB34CBA-F9B6-6240-0EBE-3F937CF74F1D}"/>
                  </a:ext>
                </a:extLst>
              </p:cNvPr>
              <p:cNvSpPr/>
              <p:nvPr/>
            </p:nvSpPr>
            <p:spPr>
              <a:xfrm>
                <a:off x="17551049" y="2565215"/>
                <a:ext cx="2908" cy="3460"/>
              </a:xfrm>
              <a:custGeom>
                <a:avLst/>
                <a:gdLst>
                  <a:gd name="connsiteX0" fmla="*/ -981 w 2908"/>
                  <a:gd name="connsiteY0" fmla="*/ 2922 h 3460"/>
                  <a:gd name="connsiteX1" fmla="*/ 1928 w 2908"/>
                  <a:gd name="connsiteY1" fmla="*/ -539 h 3460"/>
                </a:gdLst>
                <a:ahLst/>
                <a:cxnLst>
                  <a:cxn ang="0">
                    <a:pos x="connsiteX0" y="connsiteY0"/>
                  </a:cxn>
                  <a:cxn ang="0">
                    <a:pos x="connsiteX1" y="connsiteY1"/>
                  </a:cxn>
                </a:cxnLst>
                <a:rect l="l" t="t" r="r" b="b"/>
                <a:pathLst>
                  <a:path w="2908" h="3460">
                    <a:moveTo>
                      <a:pt x="-981" y="2922"/>
                    </a:moveTo>
                    <a:lnTo>
                      <a:pt x="1928" y="-539"/>
                    </a:lnTo>
                    <a:close/>
                  </a:path>
                </a:pathLst>
              </a:custGeom>
              <a:solidFill>
                <a:srgbClr val="AFB0B4"/>
              </a:solidFill>
              <a:ln w="2907" cap="flat">
                <a:noFill/>
                <a:prstDash val="solid"/>
                <a:miter/>
              </a:ln>
            </p:spPr>
            <p:txBody>
              <a:bodyPr rtlCol="0" anchor="ctr"/>
              <a:lstStyle/>
              <a:p>
                <a:endParaRPr lang="en-US" sz="800"/>
              </a:p>
            </p:txBody>
          </p:sp>
          <p:sp>
            <p:nvSpPr>
              <p:cNvPr id="100" name="Graphic 38">
                <a:extLst>
                  <a:ext uri="{FF2B5EF4-FFF2-40B4-BE49-F238E27FC236}">
                    <a16:creationId xmlns:a16="http://schemas.microsoft.com/office/drawing/2014/main" id="{7D4FA9BC-128A-77F3-620C-96BC89902921}"/>
                  </a:ext>
                </a:extLst>
              </p:cNvPr>
              <p:cNvSpPr/>
              <p:nvPr/>
            </p:nvSpPr>
            <p:spPr>
              <a:xfrm>
                <a:off x="13825161" y="935545"/>
                <a:ext cx="52061" cy="65022"/>
              </a:xfrm>
              <a:custGeom>
                <a:avLst/>
                <a:gdLst>
                  <a:gd name="connsiteX0" fmla="*/ -878 w 52061"/>
                  <a:gd name="connsiteY0" fmla="*/ 31258 h 65022"/>
                  <a:gd name="connsiteX1" fmla="*/ -878 w 52061"/>
                  <a:gd name="connsiteY1" fmla="*/ 12324 h 65022"/>
                  <a:gd name="connsiteX2" fmla="*/ 16110 w 52061"/>
                  <a:gd name="connsiteY2" fmla="*/ 2465 h 65022"/>
                  <a:gd name="connsiteX3" fmla="*/ 44879 w 52061"/>
                  <a:gd name="connsiteY3" fmla="*/ 23493 h 65022"/>
                  <a:gd name="connsiteX4" fmla="*/ 45170 w 52061"/>
                  <a:gd name="connsiteY4" fmla="*/ 40768 h 65022"/>
                  <a:gd name="connsiteX5" fmla="*/ 16081 w 52061"/>
                  <a:gd name="connsiteY5" fmla="*/ 61505 h 65022"/>
                  <a:gd name="connsiteX6" fmla="*/ -907 w 52061"/>
                  <a:gd name="connsiteY6" fmla="*/ 51791 h 65022"/>
                  <a:gd name="connsiteX7" fmla="*/ -907 w 52061"/>
                  <a:gd name="connsiteY7" fmla="*/ 40739 h 65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61" h="65022">
                    <a:moveTo>
                      <a:pt x="-878" y="31258"/>
                    </a:moveTo>
                    <a:cubicBezTo>
                      <a:pt x="-878" y="24947"/>
                      <a:pt x="-1111" y="18636"/>
                      <a:pt x="-878" y="12324"/>
                    </a:cubicBezTo>
                    <a:cubicBezTo>
                      <a:pt x="-354" y="138"/>
                      <a:pt x="6249" y="-3934"/>
                      <a:pt x="16110" y="2465"/>
                    </a:cubicBezTo>
                    <a:cubicBezTo>
                      <a:pt x="25971" y="8863"/>
                      <a:pt x="35221" y="16571"/>
                      <a:pt x="44879" y="23493"/>
                    </a:cubicBezTo>
                    <a:cubicBezTo>
                      <a:pt x="52937" y="29309"/>
                      <a:pt x="53256" y="34893"/>
                      <a:pt x="45170" y="40768"/>
                    </a:cubicBezTo>
                    <a:cubicBezTo>
                      <a:pt x="35541" y="47749"/>
                      <a:pt x="26204" y="55310"/>
                      <a:pt x="16081" y="61505"/>
                    </a:cubicBezTo>
                    <a:cubicBezTo>
                      <a:pt x="5958" y="67700"/>
                      <a:pt x="-354" y="64123"/>
                      <a:pt x="-907" y="51791"/>
                    </a:cubicBezTo>
                    <a:cubicBezTo>
                      <a:pt x="-907" y="48098"/>
                      <a:pt x="-907" y="44433"/>
                      <a:pt x="-907" y="40739"/>
                    </a:cubicBezTo>
                    <a:close/>
                  </a:path>
                </a:pathLst>
              </a:custGeom>
              <a:solidFill>
                <a:srgbClr val="F4F5F7"/>
              </a:solidFill>
              <a:ln w="2907" cap="flat">
                <a:noFill/>
                <a:prstDash val="solid"/>
                <a:miter/>
              </a:ln>
            </p:spPr>
            <p:txBody>
              <a:bodyPr rtlCol="0" anchor="ctr"/>
              <a:lstStyle/>
              <a:p>
                <a:endParaRPr lang="en-US" sz="800"/>
              </a:p>
            </p:txBody>
          </p:sp>
          <p:sp>
            <p:nvSpPr>
              <p:cNvPr id="101" name="Graphic 38">
                <a:extLst>
                  <a:ext uri="{FF2B5EF4-FFF2-40B4-BE49-F238E27FC236}">
                    <a16:creationId xmlns:a16="http://schemas.microsoft.com/office/drawing/2014/main" id="{784C3517-E197-02B7-C87D-68F79F3FFD69}"/>
                  </a:ext>
                </a:extLst>
              </p:cNvPr>
              <p:cNvSpPr/>
              <p:nvPr/>
            </p:nvSpPr>
            <p:spPr>
              <a:xfrm>
                <a:off x="13825356" y="1742052"/>
                <a:ext cx="52693" cy="66888"/>
              </a:xfrm>
              <a:custGeom>
                <a:avLst/>
                <a:gdLst>
                  <a:gd name="connsiteX0" fmla="*/ 9312 w 52693"/>
                  <a:gd name="connsiteY0" fmla="*/ -539 h 66888"/>
                  <a:gd name="connsiteX1" fmla="*/ 50269 w 52693"/>
                  <a:gd name="connsiteY1" fmla="*/ 29796 h 66888"/>
                  <a:gd name="connsiteX2" fmla="*/ 47127 w 52693"/>
                  <a:gd name="connsiteY2" fmla="*/ 40615 h 66888"/>
                  <a:gd name="connsiteX3" fmla="*/ 13646 w 52693"/>
                  <a:gd name="connsiteY3" fmla="*/ 63882 h 66888"/>
                  <a:gd name="connsiteX4" fmla="*/ -578 w 52693"/>
                  <a:gd name="connsiteY4" fmla="*/ 57047 h 66888"/>
                  <a:gd name="connsiteX5" fmla="*/ -578 w 52693"/>
                  <a:gd name="connsiteY5" fmla="*/ 8361 h 66888"/>
                  <a:gd name="connsiteX6" fmla="*/ 9312 w 52693"/>
                  <a:gd name="connsiteY6" fmla="*/ -539 h 66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693" h="66888">
                    <a:moveTo>
                      <a:pt x="9312" y="-539"/>
                    </a:moveTo>
                    <a:cubicBezTo>
                      <a:pt x="23013" y="9059"/>
                      <a:pt x="38605" y="16912"/>
                      <a:pt x="50269" y="29796"/>
                    </a:cubicBezTo>
                    <a:cubicBezTo>
                      <a:pt x="53556" y="33460"/>
                      <a:pt x="50676" y="38027"/>
                      <a:pt x="47127" y="40615"/>
                    </a:cubicBezTo>
                    <a:cubicBezTo>
                      <a:pt x="36103" y="48584"/>
                      <a:pt x="25078" y="56553"/>
                      <a:pt x="13646" y="63882"/>
                    </a:cubicBezTo>
                    <a:cubicBezTo>
                      <a:pt x="5996" y="68797"/>
                      <a:pt x="-171" y="66296"/>
                      <a:pt x="-578" y="57047"/>
                    </a:cubicBezTo>
                    <a:cubicBezTo>
                      <a:pt x="-1276" y="40848"/>
                      <a:pt x="-927" y="24590"/>
                      <a:pt x="-578" y="8361"/>
                    </a:cubicBezTo>
                    <a:cubicBezTo>
                      <a:pt x="-491" y="3009"/>
                      <a:pt x="3320" y="101"/>
                      <a:pt x="9312" y="-539"/>
                    </a:cubicBezTo>
                    <a:close/>
                  </a:path>
                </a:pathLst>
              </a:custGeom>
              <a:solidFill>
                <a:srgbClr val="F4F5F7"/>
              </a:solidFill>
              <a:ln w="2907" cap="flat">
                <a:noFill/>
                <a:prstDash val="solid"/>
                <a:miter/>
              </a:ln>
            </p:spPr>
            <p:txBody>
              <a:bodyPr rtlCol="0" anchor="ctr"/>
              <a:lstStyle/>
              <a:p>
                <a:endParaRPr lang="en-US" sz="800"/>
              </a:p>
            </p:txBody>
          </p:sp>
          <p:sp>
            <p:nvSpPr>
              <p:cNvPr id="102" name="Graphic 38">
                <a:extLst>
                  <a:ext uri="{FF2B5EF4-FFF2-40B4-BE49-F238E27FC236}">
                    <a16:creationId xmlns:a16="http://schemas.microsoft.com/office/drawing/2014/main" id="{D4E7C7AB-7FB3-582C-9E03-85217DBEC489}"/>
                  </a:ext>
                </a:extLst>
              </p:cNvPr>
              <p:cNvSpPr/>
              <p:nvPr/>
            </p:nvSpPr>
            <p:spPr>
              <a:xfrm>
                <a:off x="13825409" y="1474012"/>
                <a:ext cx="52100" cy="65527"/>
              </a:xfrm>
              <a:custGeom>
                <a:avLst/>
                <a:gdLst>
                  <a:gd name="connsiteX0" fmla="*/ 3644 w 52100"/>
                  <a:gd name="connsiteY0" fmla="*/ -537 h 65527"/>
                  <a:gd name="connsiteX1" fmla="*/ 50797 w 52100"/>
                  <a:gd name="connsiteY1" fmla="*/ 29739 h 65527"/>
                  <a:gd name="connsiteX2" fmla="*/ 46986 w 52100"/>
                  <a:gd name="connsiteY2" fmla="*/ 39337 h 65527"/>
                  <a:gd name="connsiteX3" fmla="*/ 13389 w 52100"/>
                  <a:gd name="connsiteY3" fmla="*/ 62604 h 65527"/>
                  <a:gd name="connsiteX4" fmla="*/ -981 w 52100"/>
                  <a:gd name="connsiteY4" fmla="*/ 54083 h 65527"/>
                  <a:gd name="connsiteX5" fmla="*/ -981 w 52100"/>
                  <a:gd name="connsiteY5" fmla="*/ 9904 h 65527"/>
                  <a:gd name="connsiteX6" fmla="*/ 3644 w 52100"/>
                  <a:gd name="connsiteY6" fmla="*/ -537 h 6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100" h="65527">
                    <a:moveTo>
                      <a:pt x="3644" y="-537"/>
                    </a:moveTo>
                    <a:cubicBezTo>
                      <a:pt x="13534" y="-770"/>
                      <a:pt x="49430" y="24708"/>
                      <a:pt x="50797" y="29739"/>
                    </a:cubicBezTo>
                    <a:cubicBezTo>
                      <a:pt x="51844" y="33433"/>
                      <a:pt x="50273" y="37374"/>
                      <a:pt x="46986" y="39337"/>
                    </a:cubicBezTo>
                    <a:cubicBezTo>
                      <a:pt x="35904" y="47248"/>
                      <a:pt x="25025" y="55537"/>
                      <a:pt x="13389" y="62604"/>
                    </a:cubicBezTo>
                    <a:cubicBezTo>
                      <a:pt x="5011" y="67607"/>
                      <a:pt x="-923" y="64727"/>
                      <a:pt x="-981" y="54083"/>
                    </a:cubicBezTo>
                    <a:cubicBezTo>
                      <a:pt x="-981" y="39337"/>
                      <a:pt x="-981" y="24621"/>
                      <a:pt x="-981" y="9904"/>
                    </a:cubicBezTo>
                    <a:cubicBezTo>
                      <a:pt x="-1010" y="3826"/>
                      <a:pt x="1055" y="-421"/>
                      <a:pt x="3644" y="-537"/>
                    </a:cubicBezTo>
                    <a:close/>
                  </a:path>
                </a:pathLst>
              </a:custGeom>
              <a:solidFill>
                <a:srgbClr val="F4F5F7"/>
              </a:solidFill>
              <a:ln w="2907" cap="flat">
                <a:noFill/>
                <a:prstDash val="solid"/>
                <a:miter/>
              </a:ln>
            </p:spPr>
            <p:txBody>
              <a:bodyPr rtlCol="0" anchor="ctr"/>
              <a:lstStyle/>
              <a:p>
                <a:endParaRPr lang="en-US" sz="800"/>
              </a:p>
            </p:txBody>
          </p:sp>
          <p:sp>
            <p:nvSpPr>
              <p:cNvPr id="103" name="Graphic 38">
                <a:extLst>
                  <a:ext uri="{FF2B5EF4-FFF2-40B4-BE49-F238E27FC236}">
                    <a16:creationId xmlns:a16="http://schemas.microsoft.com/office/drawing/2014/main" id="{BA645ED3-6587-6C21-024F-2EC29429A4C4}"/>
                  </a:ext>
                </a:extLst>
              </p:cNvPr>
              <p:cNvSpPr/>
              <p:nvPr/>
            </p:nvSpPr>
            <p:spPr>
              <a:xfrm>
                <a:off x="13824617" y="2281362"/>
                <a:ext cx="53371" cy="65323"/>
              </a:xfrm>
              <a:custGeom>
                <a:avLst/>
                <a:gdLst>
                  <a:gd name="connsiteX0" fmla="*/ -130 w 53371"/>
                  <a:gd name="connsiteY0" fmla="*/ 28888 h 65323"/>
                  <a:gd name="connsiteX1" fmla="*/ 4669 w 53371"/>
                  <a:gd name="connsiteY1" fmla="*/ 909 h 65323"/>
                  <a:gd name="connsiteX2" fmla="*/ 32798 w 53371"/>
                  <a:gd name="connsiteY2" fmla="*/ 14113 h 65323"/>
                  <a:gd name="connsiteX3" fmla="*/ 32449 w 53371"/>
                  <a:gd name="connsiteY3" fmla="*/ 50439 h 65323"/>
                  <a:gd name="connsiteX4" fmla="*/ 5687 w 53371"/>
                  <a:gd name="connsiteY4" fmla="*/ 63673 h 65323"/>
                  <a:gd name="connsiteX5" fmla="*/ -130 w 53371"/>
                  <a:gd name="connsiteY5" fmla="*/ 33454 h 65323"/>
                  <a:gd name="connsiteX6" fmla="*/ -130 w 53371"/>
                  <a:gd name="connsiteY6" fmla="*/ 28888 h 65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71" h="65323">
                    <a:moveTo>
                      <a:pt x="-130" y="28888"/>
                    </a:moveTo>
                    <a:cubicBezTo>
                      <a:pt x="1789" y="20308"/>
                      <a:pt x="-5657" y="6348"/>
                      <a:pt x="4669" y="909"/>
                    </a:cubicBezTo>
                    <a:cubicBezTo>
                      <a:pt x="15781" y="-4908"/>
                      <a:pt x="24100" y="8297"/>
                      <a:pt x="32798" y="14113"/>
                    </a:cubicBezTo>
                    <a:cubicBezTo>
                      <a:pt x="58978" y="31564"/>
                      <a:pt x="58978" y="32407"/>
                      <a:pt x="32449" y="50439"/>
                    </a:cubicBezTo>
                    <a:cubicBezTo>
                      <a:pt x="24100" y="56256"/>
                      <a:pt x="16043" y="68529"/>
                      <a:pt x="5687" y="63673"/>
                    </a:cubicBezTo>
                    <a:cubicBezTo>
                      <a:pt x="-6297" y="58088"/>
                      <a:pt x="1964" y="43721"/>
                      <a:pt x="-130" y="33454"/>
                    </a:cubicBezTo>
                    <a:cubicBezTo>
                      <a:pt x="-247" y="31942"/>
                      <a:pt x="-247" y="30400"/>
                      <a:pt x="-130" y="28888"/>
                    </a:cubicBezTo>
                    <a:close/>
                  </a:path>
                </a:pathLst>
              </a:custGeom>
              <a:solidFill>
                <a:srgbClr val="F4F5F7"/>
              </a:solidFill>
              <a:ln w="2907" cap="flat">
                <a:noFill/>
                <a:prstDash val="solid"/>
                <a:miter/>
              </a:ln>
            </p:spPr>
            <p:txBody>
              <a:bodyPr rtlCol="0" anchor="ctr"/>
              <a:lstStyle/>
              <a:p>
                <a:endParaRPr lang="en-US" sz="800"/>
              </a:p>
            </p:txBody>
          </p:sp>
          <p:sp>
            <p:nvSpPr>
              <p:cNvPr id="104" name="Graphic 38">
                <a:extLst>
                  <a:ext uri="{FF2B5EF4-FFF2-40B4-BE49-F238E27FC236}">
                    <a16:creationId xmlns:a16="http://schemas.microsoft.com/office/drawing/2014/main" id="{193DAA33-A926-804D-B2A3-F44268A255B1}"/>
                  </a:ext>
                </a:extLst>
              </p:cNvPr>
              <p:cNvSpPr/>
              <p:nvPr/>
            </p:nvSpPr>
            <p:spPr>
              <a:xfrm>
                <a:off x="13824596" y="2012174"/>
                <a:ext cx="53258" cy="65431"/>
              </a:xfrm>
              <a:custGeom>
                <a:avLst/>
                <a:gdLst>
                  <a:gd name="connsiteX0" fmla="*/ -139 w 53258"/>
                  <a:gd name="connsiteY0" fmla="*/ 30125 h 65431"/>
                  <a:gd name="connsiteX1" fmla="*/ 4952 w 53258"/>
                  <a:gd name="connsiteY1" fmla="*/ 867 h 65431"/>
                  <a:gd name="connsiteX2" fmla="*/ 33081 w 53258"/>
                  <a:gd name="connsiteY2" fmla="*/ 14274 h 65431"/>
                  <a:gd name="connsiteX3" fmla="*/ 32179 w 53258"/>
                  <a:gd name="connsiteY3" fmla="*/ 50600 h 65431"/>
                  <a:gd name="connsiteX4" fmla="*/ 5447 w 53258"/>
                  <a:gd name="connsiteY4" fmla="*/ 63688 h 65431"/>
                  <a:gd name="connsiteX5" fmla="*/ -139 w 53258"/>
                  <a:gd name="connsiteY5" fmla="*/ 33266 h 65431"/>
                  <a:gd name="connsiteX6" fmla="*/ -139 w 53258"/>
                  <a:gd name="connsiteY6" fmla="*/ 30125 h 6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258" h="65431">
                    <a:moveTo>
                      <a:pt x="-139" y="30125"/>
                    </a:moveTo>
                    <a:cubicBezTo>
                      <a:pt x="2101" y="21400"/>
                      <a:pt x="-5956" y="6567"/>
                      <a:pt x="4952" y="867"/>
                    </a:cubicBezTo>
                    <a:cubicBezTo>
                      <a:pt x="15860" y="-4834"/>
                      <a:pt x="24383" y="8254"/>
                      <a:pt x="33081" y="14274"/>
                    </a:cubicBezTo>
                    <a:cubicBezTo>
                      <a:pt x="58825" y="32132"/>
                      <a:pt x="58825" y="32801"/>
                      <a:pt x="32179" y="50600"/>
                    </a:cubicBezTo>
                    <a:cubicBezTo>
                      <a:pt x="23831" y="56155"/>
                      <a:pt x="15831" y="68836"/>
                      <a:pt x="5447" y="63688"/>
                    </a:cubicBezTo>
                    <a:cubicBezTo>
                      <a:pt x="-6189" y="57871"/>
                      <a:pt x="1956" y="43620"/>
                      <a:pt x="-139" y="33266"/>
                    </a:cubicBezTo>
                    <a:cubicBezTo>
                      <a:pt x="-226" y="32772"/>
                      <a:pt x="-139" y="32219"/>
                      <a:pt x="-139" y="30125"/>
                    </a:cubicBezTo>
                    <a:close/>
                  </a:path>
                </a:pathLst>
              </a:custGeom>
              <a:solidFill>
                <a:srgbClr val="F4F5F7"/>
              </a:solidFill>
              <a:ln w="2907" cap="flat">
                <a:noFill/>
                <a:prstDash val="solid"/>
                <a:miter/>
              </a:ln>
            </p:spPr>
            <p:txBody>
              <a:bodyPr rtlCol="0" anchor="ctr"/>
              <a:lstStyle/>
              <a:p>
                <a:endParaRPr lang="en-US" sz="800"/>
              </a:p>
            </p:txBody>
          </p:sp>
          <p:sp>
            <p:nvSpPr>
              <p:cNvPr id="105" name="Graphic 38">
                <a:extLst>
                  <a:ext uri="{FF2B5EF4-FFF2-40B4-BE49-F238E27FC236}">
                    <a16:creationId xmlns:a16="http://schemas.microsoft.com/office/drawing/2014/main" id="{6AF875AB-D6D0-83EC-A961-3C5C6A42F8D2}"/>
                  </a:ext>
                </a:extLst>
              </p:cNvPr>
              <p:cNvSpPr/>
              <p:nvPr/>
            </p:nvSpPr>
            <p:spPr>
              <a:xfrm>
                <a:off x="13825335" y="2549991"/>
                <a:ext cx="52279" cy="65958"/>
              </a:xfrm>
              <a:custGeom>
                <a:avLst/>
                <a:gdLst>
                  <a:gd name="connsiteX0" fmla="*/ -878 w 52279"/>
                  <a:gd name="connsiteY0" fmla="*/ 31583 h 65958"/>
                  <a:gd name="connsiteX1" fmla="*/ -878 w 52279"/>
                  <a:gd name="connsiteY1" fmla="*/ 11225 h 65958"/>
                  <a:gd name="connsiteX2" fmla="*/ 14219 w 52279"/>
                  <a:gd name="connsiteY2" fmla="*/ 2325 h 65958"/>
                  <a:gd name="connsiteX3" fmla="*/ 45228 w 52279"/>
                  <a:gd name="connsiteY3" fmla="*/ 23934 h 65958"/>
                  <a:gd name="connsiteX4" fmla="*/ 45432 w 52279"/>
                  <a:gd name="connsiteY4" fmla="*/ 41385 h 65958"/>
                  <a:gd name="connsiteX5" fmla="*/ 17157 w 52279"/>
                  <a:gd name="connsiteY5" fmla="*/ 61394 h 65958"/>
                  <a:gd name="connsiteX6" fmla="*/ -878 w 52279"/>
                  <a:gd name="connsiteY6" fmla="*/ 52059 h 65958"/>
                  <a:gd name="connsiteX7" fmla="*/ -878 w 52279"/>
                  <a:gd name="connsiteY7" fmla="*/ 31583 h 65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79" h="65958">
                    <a:moveTo>
                      <a:pt x="-878" y="31583"/>
                    </a:moveTo>
                    <a:cubicBezTo>
                      <a:pt x="-878" y="24778"/>
                      <a:pt x="-1081" y="17914"/>
                      <a:pt x="-878" y="11225"/>
                    </a:cubicBezTo>
                    <a:cubicBezTo>
                      <a:pt x="-500" y="580"/>
                      <a:pt x="4300" y="-3957"/>
                      <a:pt x="14219" y="2325"/>
                    </a:cubicBezTo>
                    <a:cubicBezTo>
                      <a:pt x="24866" y="9043"/>
                      <a:pt x="35018" y="16576"/>
                      <a:pt x="45228" y="23934"/>
                    </a:cubicBezTo>
                    <a:cubicBezTo>
                      <a:pt x="53111" y="29577"/>
                      <a:pt x="53460" y="35568"/>
                      <a:pt x="45432" y="41385"/>
                    </a:cubicBezTo>
                    <a:cubicBezTo>
                      <a:pt x="36094" y="48190"/>
                      <a:pt x="26873" y="55170"/>
                      <a:pt x="17157" y="61394"/>
                    </a:cubicBezTo>
                    <a:cubicBezTo>
                      <a:pt x="5347" y="68956"/>
                      <a:pt x="-296" y="65873"/>
                      <a:pt x="-878" y="52059"/>
                    </a:cubicBezTo>
                    <a:cubicBezTo>
                      <a:pt x="-1111" y="45282"/>
                      <a:pt x="-878" y="38505"/>
                      <a:pt x="-878" y="31583"/>
                    </a:cubicBezTo>
                    <a:close/>
                  </a:path>
                </a:pathLst>
              </a:custGeom>
              <a:solidFill>
                <a:srgbClr val="F4F5F7"/>
              </a:solidFill>
              <a:ln w="2907" cap="flat">
                <a:noFill/>
                <a:prstDash val="solid"/>
                <a:miter/>
              </a:ln>
            </p:spPr>
            <p:txBody>
              <a:bodyPr rtlCol="0" anchor="ctr"/>
              <a:lstStyle/>
              <a:p>
                <a:endParaRPr lang="en-US" sz="800"/>
              </a:p>
            </p:txBody>
          </p:sp>
          <p:sp>
            <p:nvSpPr>
              <p:cNvPr id="106" name="Graphic 38">
                <a:extLst>
                  <a:ext uri="{FF2B5EF4-FFF2-40B4-BE49-F238E27FC236}">
                    <a16:creationId xmlns:a16="http://schemas.microsoft.com/office/drawing/2014/main" id="{ED098ECF-B769-4A7C-1D9E-055DACE4690B}"/>
                  </a:ext>
                </a:extLst>
              </p:cNvPr>
              <p:cNvSpPr/>
              <p:nvPr/>
            </p:nvSpPr>
            <p:spPr>
              <a:xfrm>
                <a:off x="13824429" y="1204162"/>
                <a:ext cx="53787" cy="66395"/>
              </a:xfrm>
              <a:custGeom>
                <a:avLst/>
                <a:gdLst>
                  <a:gd name="connsiteX0" fmla="*/ -59 w 53787"/>
                  <a:gd name="connsiteY0" fmla="*/ 30069 h 66395"/>
                  <a:gd name="connsiteX1" fmla="*/ 5032 w 53787"/>
                  <a:gd name="connsiteY1" fmla="*/ 985 h 66395"/>
                  <a:gd name="connsiteX2" fmla="*/ 32375 w 53787"/>
                  <a:gd name="connsiteY2" fmla="*/ 14451 h 66395"/>
                  <a:gd name="connsiteX3" fmla="*/ 32375 w 53787"/>
                  <a:gd name="connsiteY3" fmla="*/ 51213 h 66395"/>
                  <a:gd name="connsiteX4" fmla="*/ 4596 w 53787"/>
                  <a:gd name="connsiteY4" fmla="*/ 64155 h 66395"/>
                  <a:gd name="connsiteX5" fmla="*/ -1 w 53787"/>
                  <a:gd name="connsiteY5" fmla="*/ 34838 h 66395"/>
                  <a:gd name="connsiteX6" fmla="*/ -59 w 53787"/>
                  <a:gd name="connsiteY6" fmla="*/ 30069 h 66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87" h="66395">
                    <a:moveTo>
                      <a:pt x="-59" y="30069"/>
                    </a:moveTo>
                    <a:cubicBezTo>
                      <a:pt x="2559" y="21343"/>
                      <a:pt x="-6284" y="7121"/>
                      <a:pt x="5032" y="985"/>
                    </a:cubicBezTo>
                    <a:cubicBezTo>
                      <a:pt x="16347" y="-5152"/>
                      <a:pt x="23823" y="8866"/>
                      <a:pt x="32375" y="14451"/>
                    </a:cubicBezTo>
                    <a:cubicBezTo>
                      <a:pt x="59631" y="32279"/>
                      <a:pt x="59602" y="33122"/>
                      <a:pt x="32375" y="51213"/>
                    </a:cubicBezTo>
                    <a:cubicBezTo>
                      <a:pt x="23794" y="57030"/>
                      <a:pt x="16086" y="70612"/>
                      <a:pt x="4596" y="64155"/>
                    </a:cubicBezTo>
                    <a:cubicBezTo>
                      <a:pt x="-5644" y="58338"/>
                      <a:pt x="1687" y="44785"/>
                      <a:pt x="-1" y="34838"/>
                    </a:cubicBezTo>
                    <a:cubicBezTo>
                      <a:pt x="-146" y="33253"/>
                      <a:pt x="-146" y="31657"/>
                      <a:pt x="-59" y="30069"/>
                    </a:cubicBezTo>
                    <a:close/>
                  </a:path>
                </a:pathLst>
              </a:custGeom>
              <a:solidFill>
                <a:srgbClr val="F4F5F7"/>
              </a:solidFill>
              <a:ln w="2907" cap="flat">
                <a:noFill/>
                <a:prstDash val="solid"/>
                <a:miter/>
              </a:ln>
            </p:spPr>
            <p:txBody>
              <a:bodyPr rtlCol="0" anchor="ctr"/>
              <a:lstStyle/>
              <a:p>
                <a:endParaRPr lang="en-US" sz="800"/>
              </a:p>
            </p:txBody>
          </p:sp>
          <p:sp>
            <p:nvSpPr>
              <p:cNvPr id="107" name="Graphic 38">
                <a:extLst>
                  <a:ext uri="{FF2B5EF4-FFF2-40B4-BE49-F238E27FC236}">
                    <a16:creationId xmlns:a16="http://schemas.microsoft.com/office/drawing/2014/main" id="{98762508-A60C-C80D-143A-BED7974BD8E7}"/>
                  </a:ext>
                </a:extLst>
              </p:cNvPr>
              <p:cNvSpPr/>
              <p:nvPr/>
            </p:nvSpPr>
            <p:spPr>
              <a:xfrm>
                <a:off x="15736720" y="1341803"/>
                <a:ext cx="436884" cy="588453"/>
              </a:xfrm>
              <a:custGeom>
                <a:avLst/>
                <a:gdLst>
                  <a:gd name="connsiteX0" fmla="*/ 435845 w 436884"/>
                  <a:gd name="connsiteY0" fmla="*/ 378625 h 588453"/>
                  <a:gd name="connsiteX1" fmla="*/ 435845 w 436884"/>
                  <a:gd name="connsiteY1" fmla="*/ 384441 h 588453"/>
                  <a:gd name="connsiteX2" fmla="*/ 435845 w 436884"/>
                  <a:gd name="connsiteY2" fmla="*/ 505314 h 588453"/>
                  <a:gd name="connsiteX3" fmla="*/ 435845 w 436884"/>
                  <a:gd name="connsiteY3" fmla="*/ 511131 h 588453"/>
                  <a:gd name="connsiteX4" fmla="*/ 433868 w 436884"/>
                  <a:gd name="connsiteY4" fmla="*/ 551849 h 588453"/>
                  <a:gd name="connsiteX5" fmla="*/ 396692 w 436884"/>
                  <a:gd name="connsiteY5" fmla="*/ 587913 h 588453"/>
                  <a:gd name="connsiteX6" fmla="*/ 35990 w 436884"/>
                  <a:gd name="connsiteY6" fmla="*/ 587506 h 588453"/>
                  <a:gd name="connsiteX7" fmla="*/ -138 w 436884"/>
                  <a:gd name="connsiteY7" fmla="*/ 553797 h 588453"/>
                  <a:gd name="connsiteX8" fmla="*/ -981 w 436884"/>
                  <a:gd name="connsiteY8" fmla="*/ 511189 h 588453"/>
                  <a:gd name="connsiteX9" fmla="*/ -981 w 436884"/>
                  <a:gd name="connsiteY9" fmla="*/ 505140 h 588453"/>
                  <a:gd name="connsiteX10" fmla="*/ -981 w 436884"/>
                  <a:gd name="connsiteY10" fmla="*/ 378537 h 588453"/>
                  <a:gd name="connsiteX11" fmla="*/ -981 w 436884"/>
                  <a:gd name="connsiteY11" fmla="*/ 261067 h 588453"/>
                  <a:gd name="connsiteX12" fmla="*/ -981 w 436884"/>
                  <a:gd name="connsiteY12" fmla="*/ 248910 h 588453"/>
                  <a:gd name="connsiteX13" fmla="*/ -981 w 436884"/>
                  <a:gd name="connsiteY13" fmla="*/ 131411 h 588453"/>
                  <a:gd name="connsiteX14" fmla="*/ -981 w 436884"/>
                  <a:gd name="connsiteY14" fmla="*/ 125594 h 588453"/>
                  <a:gd name="connsiteX15" fmla="*/ -341 w 436884"/>
                  <a:gd name="connsiteY15" fmla="*/ 45584 h 588453"/>
                  <a:gd name="connsiteX16" fmla="*/ 12050 w 436884"/>
                  <a:gd name="connsiteY16" fmla="*/ 5186 h 588453"/>
                  <a:gd name="connsiteX17" fmla="*/ 73922 w 436884"/>
                  <a:gd name="connsiteY17" fmla="*/ -223 h 588453"/>
                  <a:gd name="connsiteX18" fmla="*/ 369028 w 436884"/>
                  <a:gd name="connsiteY18" fmla="*/ -223 h 588453"/>
                  <a:gd name="connsiteX19" fmla="*/ 423018 w 436884"/>
                  <a:gd name="connsiteY19" fmla="*/ 5594 h 588453"/>
                  <a:gd name="connsiteX20" fmla="*/ 434130 w 436884"/>
                  <a:gd name="connsiteY20" fmla="*/ 46311 h 588453"/>
                  <a:gd name="connsiteX21" fmla="*/ 435904 w 436884"/>
                  <a:gd name="connsiteY21" fmla="*/ 125856 h 588453"/>
                  <a:gd name="connsiteX22" fmla="*/ 435904 w 436884"/>
                  <a:gd name="connsiteY22" fmla="*/ 131673 h 588453"/>
                  <a:gd name="connsiteX23" fmla="*/ 435904 w 436884"/>
                  <a:gd name="connsiteY23" fmla="*/ 249492 h 588453"/>
                  <a:gd name="connsiteX24" fmla="*/ 435904 w 436884"/>
                  <a:gd name="connsiteY24" fmla="*/ 258653 h 588453"/>
                  <a:gd name="connsiteX25" fmla="*/ 435845 w 436884"/>
                  <a:gd name="connsiteY25" fmla="*/ 378625 h 588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6884" h="588453">
                    <a:moveTo>
                      <a:pt x="435845" y="378625"/>
                    </a:moveTo>
                    <a:lnTo>
                      <a:pt x="435845" y="384441"/>
                    </a:lnTo>
                    <a:cubicBezTo>
                      <a:pt x="434304" y="424752"/>
                      <a:pt x="434187" y="465033"/>
                      <a:pt x="435845" y="505314"/>
                    </a:cubicBezTo>
                    <a:lnTo>
                      <a:pt x="435845" y="511131"/>
                    </a:lnTo>
                    <a:cubicBezTo>
                      <a:pt x="431890" y="524568"/>
                      <a:pt x="434682" y="538324"/>
                      <a:pt x="433868" y="551849"/>
                    </a:cubicBezTo>
                    <a:cubicBezTo>
                      <a:pt x="432530" y="573865"/>
                      <a:pt x="422901" y="588117"/>
                      <a:pt x="396692" y="587913"/>
                    </a:cubicBezTo>
                    <a:cubicBezTo>
                      <a:pt x="276497" y="586982"/>
                      <a:pt x="156273" y="587506"/>
                      <a:pt x="35990" y="587506"/>
                    </a:cubicBezTo>
                    <a:cubicBezTo>
                      <a:pt x="12342" y="587506"/>
                      <a:pt x="619" y="576599"/>
                      <a:pt x="-138" y="553797"/>
                    </a:cubicBezTo>
                    <a:cubicBezTo>
                      <a:pt x="-633" y="539604"/>
                      <a:pt x="-719" y="525382"/>
                      <a:pt x="-981" y="511189"/>
                    </a:cubicBezTo>
                    <a:cubicBezTo>
                      <a:pt x="-981" y="509183"/>
                      <a:pt x="-981" y="507147"/>
                      <a:pt x="-981" y="505140"/>
                    </a:cubicBezTo>
                    <a:lnTo>
                      <a:pt x="-981" y="378537"/>
                    </a:lnTo>
                    <a:lnTo>
                      <a:pt x="-981" y="261067"/>
                    </a:lnTo>
                    <a:cubicBezTo>
                      <a:pt x="-981" y="256995"/>
                      <a:pt x="-981" y="252953"/>
                      <a:pt x="-981" y="248910"/>
                    </a:cubicBezTo>
                    <a:lnTo>
                      <a:pt x="-981" y="131411"/>
                    </a:lnTo>
                    <a:lnTo>
                      <a:pt x="-981" y="125594"/>
                    </a:lnTo>
                    <a:cubicBezTo>
                      <a:pt x="-662" y="98924"/>
                      <a:pt x="328" y="72225"/>
                      <a:pt x="-341" y="45584"/>
                    </a:cubicBezTo>
                    <a:cubicBezTo>
                      <a:pt x="-748" y="30286"/>
                      <a:pt x="2131" y="16878"/>
                      <a:pt x="12050" y="5186"/>
                    </a:cubicBezTo>
                    <a:cubicBezTo>
                      <a:pt x="32151" y="-2550"/>
                      <a:pt x="53153" y="-194"/>
                      <a:pt x="73922" y="-223"/>
                    </a:cubicBezTo>
                    <a:cubicBezTo>
                      <a:pt x="172301" y="-223"/>
                      <a:pt x="270679" y="-223"/>
                      <a:pt x="369028" y="-223"/>
                    </a:cubicBezTo>
                    <a:cubicBezTo>
                      <a:pt x="387209" y="-223"/>
                      <a:pt x="405652" y="-2259"/>
                      <a:pt x="423018" y="5594"/>
                    </a:cubicBezTo>
                    <a:cubicBezTo>
                      <a:pt x="432093" y="17692"/>
                      <a:pt x="434042" y="31362"/>
                      <a:pt x="434130" y="46311"/>
                    </a:cubicBezTo>
                    <a:cubicBezTo>
                      <a:pt x="434333" y="72836"/>
                      <a:pt x="431599" y="99447"/>
                      <a:pt x="435904" y="125856"/>
                    </a:cubicBezTo>
                    <a:cubicBezTo>
                      <a:pt x="435904" y="127746"/>
                      <a:pt x="435904" y="129637"/>
                      <a:pt x="435904" y="131673"/>
                    </a:cubicBezTo>
                    <a:cubicBezTo>
                      <a:pt x="434478" y="170965"/>
                      <a:pt x="434275" y="210199"/>
                      <a:pt x="435904" y="249492"/>
                    </a:cubicBezTo>
                    <a:cubicBezTo>
                      <a:pt x="435904" y="252400"/>
                      <a:pt x="435904" y="255599"/>
                      <a:pt x="435904" y="258653"/>
                    </a:cubicBezTo>
                    <a:cubicBezTo>
                      <a:pt x="434130" y="298498"/>
                      <a:pt x="434101" y="338489"/>
                      <a:pt x="435845" y="378625"/>
                    </a:cubicBezTo>
                    <a:close/>
                  </a:path>
                </a:pathLst>
              </a:custGeom>
              <a:solidFill>
                <a:schemeClr val="accent6"/>
              </a:solidFill>
              <a:ln w="2907" cap="flat">
                <a:noFill/>
                <a:prstDash val="solid"/>
                <a:miter/>
              </a:ln>
            </p:spPr>
            <p:txBody>
              <a:bodyPr rtlCol="0" anchor="ctr"/>
              <a:lstStyle/>
              <a:p>
                <a:endParaRPr lang="en-US" sz="800"/>
              </a:p>
            </p:txBody>
          </p:sp>
          <p:sp>
            <p:nvSpPr>
              <p:cNvPr id="108" name="Graphic 38">
                <a:extLst>
                  <a:ext uri="{FF2B5EF4-FFF2-40B4-BE49-F238E27FC236}">
                    <a16:creationId xmlns:a16="http://schemas.microsoft.com/office/drawing/2014/main" id="{52DECA37-CFD4-065B-17F4-87EAA90F3707}"/>
                  </a:ext>
                </a:extLst>
              </p:cNvPr>
              <p:cNvSpPr/>
              <p:nvPr/>
            </p:nvSpPr>
            <p:spPr>
              <a:xfrm>
                <a:off x="16198593" y="2998043"/>
                <a:ext cx="434150" cy="545905"/>
              </a:xfrm>
              <a:custGeom>
                <a:avLst/>
                <a:gdLst>
                  <a:gd name="connsiteX0" fmla="*/ 18479 w 434150"/>
                  <a:gd name="connsiteY0" fmla="*/ 72 h 545905"/>
                  <a:gd name="connsiteX1" fmla="*/ 402248 w 434150"/>
                  <a:gd name="connsiteY1" fmla="*/ -539 h 545905"/>
                  <a:gd name="connsiteX2" fmla="*/ 420661 w 434150"/>
                  <a:gd name="connsiteY2" fmla="*/ 3242 h 545905"/>
                  <a:gd name="connsiteX3" fmla="*/ 432937 w 434150"/>
                  <a:gd name="connsiteY3" fmla="*/ 19529 h 545905"/>
                  <a:gd name="connsiteX4" fmla="*/ 433169 w 434150"/>
                  <a:gd name="connsiteY4" fmla="*/ 502323 h 545905"/>
                  <a:gd name="connsiteX5" fmla="*/ 431424 w 434150"/>
                  <a:gd name="connsiteY5" fmla="*/ 529022 h 545905"/>
                  <a:gd name="connsiteX6" fmla="*/ 429126 w 434150"/>
                  <a:gd name="connsiteY6" fmla="*/ 533967 h 545905"/>
                  <a:gd name="connsiteX7" fmla="*/ 426217 w 434150"/>
                  <a:gd name="connsiteY7" fmla="*/ 537747 h 545905"/>
                  <a:gd name="connsiteX8" fmla="*/ 426217 w 434150"/>
                  <a:gd name="connsiteY8" fmla="*/ 537747 h 545905"/>
                  <a:gd name="connsiteX9" fmla="*/ 422988 w 434150"/>
                  <a:gd name="connsiteY9" fmla="*/ 540860 h 545905"/>
                  <a:gd name="connsiteX10" fmla="*/ 423134 w 434150"/>
                  <a:gd name="connsiteY10" fmla="*/ 540860 h 545905"/>
                  <a:gd name="connsiteX11" fmla="*/ 414756 w 434150"/>
                  <a:gd name="connsiteY11" fmla="*/ 545164 h 545905"/>
                  <a:gd name="connsiteX12" fmla="*/ 414262 w 434150"/>
                  <a:gd name="connsiteY12" fmla="*/ 545164 h 545905"/>
                  <a:gd name="connsiteX13" fmla="*/ 33198 w 434150"/>
                  <a:gd name="connsiteY13" fmla="*/ 545367 h 545905"/>
                  <a:gd name="connsiteX14" fmla="*/ 15745 w 434150"/>
                  <a:gd name="connsiteY14" fmla="*/ 544030 h 545905"/>
                  <a:gd name="connsiteX15" fmla="*/ 12196 w 434150"/>
                  <a:gd name="connsiteY15" fmla="*/ 541441 h 545905"/>
                  <a:gd name="connsiteX16" fmla="*/ 12196 w 434150"/>
                  <a:gd name="connsiteY16" fmla="*/ 541441 h 545905"/>
                  <a:gd name="connsiteX17" fmla="*/ 8938 w 434150"/>
                  <a:gd name="connsiteY17" fmla="*/ 538707 h 545905"/>
                  <a:gd name="connsiteX18" fmla="*/ 8589 w 434150"/>
                  <a:gd name="connsiteY18" fmla="*/ 538358 h 545905"/>
                  <a:gd name="connsiteX19" fmla="*/ 5883 w 434150"/>
                  <a:gd name="connsiteY19" fmla="*/ 535450 h 545905"/>
                  <a:gd name="connsiteX20" fmla="*/ 5622 w 434150"/>
                  <a:gd name="connsiteY20" fmla="*/ 535130 h 545905"/>
                  <a:gd name="connsiteX21" fmla="*/ 3178 w 434150"/>
                  <a:gd name="connsiteY21" fmla="*/ 531495 h 545905"/>
                  <a:gd name="connsiteX22" fmla="*/ 3178 w 434150"/>
                  <a:gd name="connsiteY22" fmla="*/ 531291 h 545905"/>
                  <a:gd name="connsiteX23" fmla="*/ -807 w 434150"/>
                  <a:gd name="connsiteY23" fmla="*/ 500345 h 545905"/>
                  <a:gd name="connsiteX24" fmla="*/ -807 w 434150"/>
                  <a:gd name="connsiteY24" fmla="*/ 500171 h 545905"/>
                  <a:gd name="connsiteX25" fmla="*/ 1113 w 434150"/>
                  <a:gd name="connsiteY25" fmla="*/ 453637 h 545905"/>
                  <a:gd name="connsiteX26" fmla="*/ -894 w 434150"/>
                  <a:gd name="connsiteY26" fmla="*/ 373830 h 545905"/>
                  <a:gd name="connsiteX27" fmla="*/ -894 w 434150"/>
                  <a:gd name="connsiteY27" fmla="*/ 373656 h 545905"/>
                  <a:gd name="connsiteX28" fmla="*/ 1084 w 434150"/>
                  <a:gd name="connsiteY28" fmla="*/ 298765 h 545905"/>
                  <a:gd name="connsiteX29" fmla="*/ -981 w 434150"/>
                  <a:gd name="connsiteY29" fmla="*/ 247257 h 545905"/>
                  <a:gd name="connsiteX30" fmla="*/ -981 w 434150"/>
                  <a:gd name="connsiteY30" fmla="*/ 247053 h 545905"/>
                  <a:gd name="connsiteX31" fmla="*/ 1026 w 434150"/>
                  <a:gd name="connsiteY31" fmla="*/ 213083 h 545905"/>
                  <a:gd name="connsiteX32" fmla="*/ -923 w 434150"/>
                  <a:gd name="connsiteY32" fmla="*/ 127343 h 545905"/>
                  <a:gd name="connsiteX33" fmla="*/ -923 w 434150"/>
                  <a:gd name="connsiteY33" fmla="*/ 127140 h 545905"/>
                  <a:gd name="connsiteX34" fmla="*/ -923 w 434150"/>
                  <a:gd name="connsiteY34" fmla="*/ 117659 h 545905"/>
                  <a:gd name="connsiteX35" fmla="*/ -923 w 434150"/>
                  <a:gd name="connsiteY35" fmla="*/ 117455 h 545905"/>
                  <a:gd name="connsiteX36" fmla="*/ 1113 w 434150"/>
                  <a:gd name="connsiteY36" fmla="*/ 99161 h 545905"/>
                  <a:gd name="connsiteX37" fmla="*/ 2800 w 434150"/>
                  <a:gd name="connsiteY37" fmla="*/ 13422 h 545905"/>
                  <a:gd name="connsiteX38" fmla="*/ 2800 w 434150"/>
                  <a:gd name="connsiteY38" fmla="*/ 13683 h 545905"/>
                  <a:gd name="connsiteX39" fmla="*/ 5389 w 434150"/>
                  <a:gd name="connsiteY39" fmla="*/ 10048 h 545905"/>
                  <a:gd name="connsiteX40" fmla="*/ 15279 w 434150"/>
                  <a:gd name="connsiteY40" fmla="*/ 945 h 545905"/>
                  <a:gd name="connsiteX41" fmla="*/ 18479 w 434150"/>
                  <a:gd name="connsiteY41" fmla="*/ 72 h 545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4150" h="545905">
                    <a:moveTo>
                      <a:pt x="18479" y="72"/>
                    </a:moveTo>
                    <a:cubicBezTo>
                      <a:pt x="146470" y="-102"/>
                      <a:pt x="274402" y="-306"/>
                      <a:pt x="402248" y="-539"/>
                    </a:cubicBezTo>
                    <a:cubicBezTo>
                      <a:pt x="408560" y="-480"/>
                      <a:pt x="414814" y="828"/>
                      <a:pt x="420661" y="3242"/>
                    </a:cubicBezTo>
                    <a:cubicBezTo>
                      <a:pt x="426479" y="7401"/>
                      <a:pt x="429184" y="13858"/>
                      <a:pt x="432937" y="19529"/>
                    </a:cubicBezTo>
                    <a:cubicBezTo>
                      <a:pt x="433053" y="180451"/>
                      <a:pt x="433140" y="341401"/>
                      <a:pt x="433169" y="502323"/>
                    </a:cubicBezTo>
                    <a:cubicBezTo>
                      <a:pt x="433169" y="511223"/>
                      <a:pt x="432035" y="520123"/>
                      <a:pt x="431424" y="529022"/>
                    </a:cubicBezTo>
                    <a:cubicBezTo>
                      <a:pt x="430668" y="530680"/>
                      <a:pt x="429882" y="532309"/>
                      <a:pt x="429126" y="533967"/>
                    </a:cubicBezTo>
                    <a:lnTo>
                      <a:pt x="426217" y="537747"/>
                    </a:lnTo>
                    <a:lnTo>
                      <a:pt x="426217" y="537747"/>
                    </a:lnTo>
                    <a:lnTo>
                      <a:pt x="422988" y="540860"/>
                    </a:lnTo>
                    <a:lnTo>
                      <a:pt x="423134" y="540860"/>
                    </a:lnTo>
                    <a:cubicBezTo>
                      <a:pt x="419847" y="540976"/>
                      <a:pt x="416763" y="542546"/>
                      <a:pt x="414756" y="545164"/>
                    </a:cubicBezTo>
                    <a:lnTo>
                      <a:pt x="414262" y="545164"/>
                    </a:lnTo>
                    <a:cubicBezTo>
                      <a:pt x="287201" y="545164"/>
                      <a:pt x="160171" y="545222"/>
                      <a:pt x="33198" y="545367"/>
                    </a:cubicBezTo>
                    <a:cubicBezTo>
                      <a:pt x="27380" y="545367"/>
                      <a:pt x="21563" y="544495"/>
                      <a:pt x="15745" y="544030"/>
                    </a:cubicBezTo>
                    <a:lnTo>
                      <a:pt x="12196" y="541441"/>
                    </a:lnTo>
                    <a:lnTo>
                      <a:pt x="12196" y="541441"/>
                    </a:lnTo>
                    <a:lnTo>
                      <a:pt x="8938" y="538707"/>
                    </a:lnTo>
                    <a:lnTo>
                      <a:pt x="8589" y="538358"/>
                    </a:lnTo>
                    <a:lnTo>
                      <a:pt x="5883" y="535450"/>
                    </a:lnTo>
                    <a:lnTo>
                      <a:pt x="5622" y="535130"/>
                    </a:lnTo>
                    <a:lnTo>
                      <a:pt x="3178" y="531495"/>
                    </a:lnTo>
                    <a:lnTo>
                      <a:pt x="3178" y="531291"/>
                    </a:lnTo>
                    <a:cubicBezTo>
                      <a:pt x="1840" y="520966"/>
                      <a:pt x="502" y="510641"/>
                      <a:pt x="-807" y="500345"/>
                    </a:cubicBezTo>
                    <a:lnTo>
                      <a:pt x="-807" y="500171"/>
                    </a:lnTo>
                    <a:cubicBezTo>
                      <a:pt x="3847" y="484815"/>
                      <a:pt x="1317" y="469051"/>
                      <a:pt x="1113" y="453637"/>
                    </a:cubicBezTo>
                    <a:cubicBezTo>
                      <a:pt x="793" y="427025"/>
                      <a:pt x="4022" y="400296"/>
                      <a:pt x="-894" y="373830"/>
                    </a:cubicBezTo>
                    <a:lnTo>
                      <a:pt x="-894" y="373656"/>
                    </a:lnTo>
                    <a:cubicBezTo>
                      <a:pt x="3905" y="348818"/>
                      <a:pt x="793" y="323719"/>
                      <a:pt x="1084" y="298765"/>
                    </a:cubicBezTo>
                    <a:cubicBezTo>
                      <a:pt x="1259" y="281634"/>
                      <a:pt x="3731" y="264242"/>
                      <a:pt x="-981" y="247257"/>
                    </a:cubicBezTo>
                    <a:lnTo>
                      <a:pt x="-981" y="247053"/>
                    </a:lnTo>
                    <a:cubicBezTo>
                      <a:pt x="3643" y="236001"/>
                      <a:pt x="1317" y="224368"/>
                      <a:pt x="1026" y="213083"/>
                    </a:cubicBezTo>
                    <a:cubicBezTo>
                      <a:pt x="357" y="184523"/>
                      <a:pt x="3935" y="155817"/>
                      <a:pt x="-923" y="127343"/>
                    </a:cubicBezTo>
                    <a:lnTo>
                      <a:pt x="-923" y="127140"/>
                    </a:lnTo>
                    <a:lnTo>
                      <a:pt x="-923" y="117659"/>
                    </a:lnTo>
                    <a:lnTo>
                      <a:pt x="-923" y="117455"/>
                    </a:lnTo>
                    <a:cubicBezTo>
                      <a:pt x="2713" y="111638"/>
                      <a:pt x="909" y="105298"/>
                      <a:pt x="1113" y="99161"/>
                    </a:cubicBezTo>
                    <a:cubicBezTo>
                      <a:pt x="2015" y="70601"/>
                      <a:pt x="-633" y="41953"/>
                      <a:pt x="2800" y="13422"/>
                    </a:cubicBezTo>
                    <a:lnTo>
                      <a:pt x="2800" y="13683"/>
                    </a:lnTo>
                    <a:lnTo>
                      <a:pt x="5389" y="10048"/>
                    </a:lnTo>
                    <a:lnTo>
                      <a:pt x="15279" y="945"/>
                    </a:lnTo>
                    <a:cubicBezTo>
                      <a:pt x="16414" y="1235"/>
                      <a:pt x="17635" y="916"/>
                      <a:pt x="18479" y="72"/>
                    </a:cubicBezTo>
                    <a:close/>
                  </a:path>
                </a:pathLst>
              </a:custGeom>
              <a:solidFill>
                <a:schemeClr val="tx2"/>
              </a:solidFill>
              <a:ln w="2907" cap="flat">
                <a:noFill/>
                <a:prstDash val="solid"/>
                <a:miter/>
              </a:ln>
            </p:spPr>
            <p:txBody>
              <a:bodyPr rtlCol="0" anchor="ctr"/>
              <a:lstStyle/>
              <a:p>
                <a:endParaRPr lang="en-US" sz="800"/>
              </a:p>
            </p:txBody>
          </p:sp>
          <p:sp>
            <p:nvSpPr>
              <p:cNvPr id="109" name="Graphic 38">
                <a:extLst>
                  <a:ext uri="{FF2B5EF4-FFF2-40B4-BE49-F238E27FC236}">
                    <a16:creationId xmlns:a16="http://schemas.microsoft.com/office/drawing/2014/main" id="{35EAD66F-8717-8056-3E28-CCB55332F1EC}"/>
                  </a:ext>
                </a:extLst>
              </p:cNvPr>
              <p:cNvSpPr/>
              <p:nvPr/>
            </p:nvSpPr>
            <p:spPr>
              <a:xfrm>
                <a:off x="15274615" y="1483825"/>
                <a:ext cx="431212" cy="508669"/>
              </a:xfrm>
              <a:custGeom>
                <a:avLst/>
                <a:gdLst>
                  <a:gd name="connsiteX0" fmla="*/ 429999 w 431212"/>
                  <a:gd name="connsiteY0" fmla="*/ 490040 h 508669"/>
                  <a:gd name="connsiteX1" fmla="*/ 429446 w 431212"/>
                  <a:gd name="connsiteY1" fmla="*/ 495653 h 508669"/>
                  <a:gd name="connsiteX2" fmla="*/ 393347 w 431212"/>
                  <a:gd name="connsiteY2" fmla="*/ 508130 h 508669"/>
                  <a:gd name="connsiteX3" fmla="*/ 39859 w 431212"/>
                  <a:gd name="connsiteY3" fmla="*/ 508130 h 508669"/>
                  <a:gd name="connsiteX4" fmla="*/ 5447 w 431212"/>
                  <a:gd name="connsiteY4" fmla="*/ 495653 h 508669"/>
                  <a:gd name="connsiteX5" fmla="*/ 1317 w 431212"/>
                  <a:gd name="connsiteY5" fmla="*/ 458309 h 508669"/>
                  <a:gd name="connsiteX6" fmla="*/ 1317 w 431212"/>
                  <a:gd name="connsiteY6" fmla="*/ 134750 h 508669"/>
                  <a:gd name="connsiteX7" fmla="*/ -981 w 431212"/>
                  <a:gd name="connsiteY7" fmla="*/ 109709 h 508669"/>
                  <a:gd name="connsiteX8" fmla="*/ 619 w 431212"/>
                  <a:gd name="connsiteY8" fmla="*/ 48400 h 508669"/>
                  <a:gd name="connsiteX9" fmla="*/ 50332 w 431212"/>
                  <a:gd name="connsiteY9" fmla="*/ -461 h 508669"/>
                  <a:gd name="connsiteX10" fmla="*/ 303405 w 431212"/>
                  <a:gd name="connsiteY10" fmla="*/ -461 h 508669"/>
                  <a:gd name="connsiteX11" fmla="*/ 398234 w 431212"/>
                  <a:gd name="connsiteY11" fmla="*/ -461 h 508669"/>
                  <a:gd name="connsiteX12" fmla="*/ 430231 w 431212"/>
                  <a:gd name="connsiteY12" fmla="*/ 16989 h 508669"/>
                  <a:gd name="connsiteX13" fmla="*/ 429999 w 431212"/>
                  <a:gd name="connsiteY13" fmla="*/ 490040 h 50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1212" h="508669">
                    <a:moveTo>
                      <a:pt x="429999" y="490040"/>
                    </a:moveTo>
                    <a:cubicBezTo>
                      <a:pt x="429795" y="491902"/>
                      <a:pt x="429621" y="493792"/>
                      <a:pt x="429446" y="495653"/>
                    </a:cubicBezTo>
                    <a:cubicBezTo>
                      <a:pt x="419265" y="505251"/>
                      <a:pt x="407164" y="508159"/>
                      <a:pt x="393347" y="508130"/>
                    </a:cubicBezTo>
                    <a:cubicBezTo>
                      <a:pt x="275508" y="507869"/>
                      <a:pt x="157669" y="507869"/>
                      <a:pt x="39859" y="508130"/>
                    </a:cubicBezTo>
                    <a:cubicBezTo>
                      <a:pt x="26421" y="508130"/>
                      <a:pt x="15076" y="504931"/>
                      <a:pt x="5447" y="495653"/>
                    </a:cubicBezTo>
                    <a:cubicBezTo>
                      <a:pt x="357" y="483612"/>
                      <a:pt x="1317" y="470874"/>
                      <a:pt x="1317" y="458309"/>
                    </a:cubicBezTo>
                    <a:cubicBezTo>
                      <a:pt x="1317" y="350466"/>
                      <a:pt x="1317" y="242623"/>
                      <a:pt x="1317" y="134750"/>
                    </a:cubicBezTo>
                    <a:cubicBezTo>
                      <a:pt x="1783" y="126345"/>
                      <a:pt x="997" y="117911"/>
                      <a:pt x="-981" y="109709"/>
                    </a:cubicBezTo>
                    <a:cubicBezTo>
                      <a:pt x="2888" y="89350"/>
                      <a:pt x="415" y="68817"/>
                      <a:pt x="619" y="48400"/>
                    </a:cubicBezTo>
                    <a:cubicBezTo>
                      <a:pt x="1084" y="5501"/>
                      <a:pt x="6786" y="-461"/>
                      <a:pt x="50332" y="-461"/>
                    </a:cubicBezTo>
                    <a:lnTo>
                      <a:pt x="303405" y="-461"/>
                    </a:lnTo>
                    <a:cubicBezTo>
                      <a:pt x="335024" y="-461"/>
                      <a:pt x="366615" y="-636"/>
                      <a:pt x="398234" y="-461"/>
                    </a:cubicBezTo>
                    <a:cubicBezTo>
                      <a:pt x="411760" y="-461"/>
                      <a:pt x="424792" y="1633"/>
                      <a:pt x="430231" y="16989"/>
                    </a:cubicBezTo>
                    <a:cubicBezTo>
                      <a:pt x="430144" y="174712"/>
                      <a:pt x="430087" y="332376"/>
                      <a:pt x="429999" y="490040"/>
                    </a:cubicBezTo>
                    <a:close/>
                  </a:path>
                </a:pathLst>
              </a:custGeom>
              <a:solidFill>
                <a:schemeClr val="accent5">
                  <a:lumMod val="50000"/>
                </a:schemeClr>
              </a:solidFill>
              <a:ln w="2907" cap="flat">
                <a:noFill/>
                <a:prstDash val="solid"/>
                <a:miter/>
              </a:ln>
            </p:spPr>
            <p:txBody>
              <a:bodyPr rtlCol="0" anchor="ctr"/>
              <a:lstStyle/>
              <a:p>
                <a:endParaRPr lang="en-US" sz="800"/>
              </a:p>
            </p:txBody>
          </p:sp>
          <p:sp>
            <p:nvSpPr>
              <p:cNvPr id="110" name="Graphic 38">
                <a:extLst>
                  <a:ext uri="{FF2B5EF4-FFF2-40B4-BE49-F238E27FC236}">
                    <a16:creationId xmlns:a16="http://schemas.microsoft.com/office/drawing/2014/main" id="{3D9C4790-446C-644F-52AD-847F2326406B}"/>
                  </a:ext>
                </a:extLst>
              </p:cNvPr>
              <p:cNvSpPr/>
              <p:nvPr/>
            </p:nvSpPr>
            <p:spPr>
              <a:xfrm>
                <a:off x="16660785" y="1757379"/>
                <a:ext cx="434412" cy="495121"/>
              </a:xfrm>
              <a:custGeom>
                <a:avLst/>
                <a:gdLst>
                  <a:gd name="connsiteX0" fmla="*/ -836 w 434412"/>
                  <a:gd name="connsiteY0" fmla="*/ 95758 h 495121"/>
                  <a:gd name="connsiteX1" fmla="*/ -836 w 434412"/>
                  <a:gd name="connsiteY1" fmla="*/ 89447 h 495121"/>
                  <a:gd name="connsiteX2" fmla="*/ -109 w 434412"/>
                  <a:gd name="connsiteY2" fmla="*/ 34187 h 495121"/>
                  <a:gd name="connsiteX3" fmla="*/ 34333 w 434412"/>
                  <a:gd name="connsiteY3" fmla="*/ -539 h 495121"/>
                  <a:gd name="connsiteX4" fmla="*/ 398088 w 434412"/>
                  <a:gd name="connsiteY4" fmla="*/ -539 h 495121"/>
                  <a:gd name="connsiteX5" fmla="*/ 432995 w 434412"/>
                  <a:gd name="connsiteY5" fmla="*/ 33635 h 495121"/>
                  <a:gd name="connsiteX6" fmla="*/ 432995 w 434412"/>
                  <a:gd name="connsiteY6" fmla="*/ 98405 h 495121"/>
                  <a:gd name="connsiteX7" fmla="*/ 433432 w 434412"/>
                  <a:gd name="connsiteY7" fmla="*/ 469749 h 495121"/>
                  <a:gd name="connsiteX8" fmla="*/ 430523 w 434412"/>
                  <a:gd name="connsiteY8" fmla="*/ 478474 h 495121"/>
                  <a:gd name="connsiteX9" fmla="*/ 398525 w 434412"/>
                  <a:gd name="connsiteY9" fmla="*/ 494529 h 495121"/>
                  <a:gd name="connsiteX10" fmla="*/ 21388 w 434412"/>
                  <a:gd name="connsiteY10" fmla="*/ 494121 h 495121"/>
                  <a:gd name="connsiteX11" fmla="*/ 9374 w 434412"/>
                  <a:gd name="connsiteY11" fmla="*/ 487490 h 495121"/>
                  <a:gd name="connsiteX12" fmla="*/ 9374 w 434412"/>
                  <a:gd name="connsiteY12" fmla="*/ 487490 h 495121"/>
                  <a:gd name="connsiteX13" fmla="*/ 6174 w 434412"/>
                  <a:gd name="connsiteY13" fmla="*/ 484262 h 495121"/>
                  <a:gd name="connsiteX14" fmla="*/ 6174 w 434412"/>
                  <a:gd name="connsiteY14" fmla="*/ 484262 h 495121"/>
                  <a:gd name="connsiteX15" fmla="*/ -748 w 434412"/>
                  <a:gd name="connsiteY15" fmla="*/ 469109 h 495121"/>
                  <a:gd name="connsiteX16" fmla="*/ -981 w 434412"/>
                  <a:gd name="connsiteY16" fmla="*/ 351872 h 495121"/>
                  <a:gd name="connsiteX17" fmla="*/ -981 w 434412"/>
                  <a:gd name="connsiteY17" fmla="*/ 342361 h 495121"/>
                  <a:gd name="connsiteX18" fmla="*/ -981 w 434412"/>
                  <a:gd name="connsiteY18" fmla="*/ 222215 h 495121"/>
                  <a:gd name="connsiteX19" fmla="*/ -836 w 434412"/>
                  <a:gd name="connsiteY19" fmla="*/ 215933 h 49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4412" h="495121">
                    <a:moveTo>
                      <a:pt x="-836" y="95758"/>
                    </a:moveTo>
                    <a:cubicBezTo>
                      <a:pt x="-836" y="93664"/>
                      <a:pt x="-836" y="91570"/>
                      <a:pt x="-836" y="89447"/>
                    </a:cubicBezTo>
                    <a:cubicBezTo>
                      <a:pt x="-603" y="71037"/>
                      <a:pt x="-371" y="52627"/>
                      <a:pt x="-109" y="34187"/>
                    </a:cubicBezTo>
                    <a:cubicBezTo>
                      <a:pt x="269" y="9583"/>
                      <a:pt x="10102" y="-510"/>
                      <a:pt x="34333" y="-539"/>
                    </a:cubicBezTo>
                    <a:cubicBezTo>
                      <a:pt x="155604" y="-539"/>
                      <a:pt x="276875" y="-539"/>
                      <a:pt x="398088" y="-539"/>
                    </a:cubicBezTo>
                    <a:cubicBezTo>
                      <a:pt x="422901" y="-539"/>
                      <a:pt x="432500" y="8797"/>
                      <a:pt x="432995" y="33635"/>
                    </a:cubicBezTo>
                    <a:cubicBezTo>
                      <a:pt x="433402" y="55215"/>
                      <a:pt x="432995" y="76825"/>
                      <a:pt x="432995" y="98405"/>
                    </a:cubicBezTo>
                    <a:lnTo>
                      <a:pt x="433432" y="469749"/>
                    </a:lnTo>
                    <a:cubicBezTo>
                      <a:pt x="430144" y="471901"/>
                      <a:pt x="430523" y="475275"/>
                      <a:pt x="430523" y="478474"/>
                    </a:cubicBezTo>
                    <a:cubicBezTo>
                      <a:pt x="423454" y="489119"/>
                      <a:pt x="411295" y="495227"/>
                      <a:pt x="398525" y="494529"/>
                    </a:cubicBezTo>
                    <a:cubicBezTo>
                      <a:pt x="272803" y="494092"/>
                      <a:pt x="147110" y="494180"/>
                      <a:pt x="21388" y="494121"/>
                    </a:cubicBezTo>
                    <a:cubicBezTo>
                      <a:pt x="18421" y="490399"/>
                      <a:pt x="14116" y="488014"/>
                      <a:pt x="9374" y="487490"/>
                    </a:cubicBezTo>
                    <a:lnTo>
                      <a:pt x="9374" y="487490"/>
                    </a:lnTo>
                    <a:lnTo>
                      <a:pt x="6174" y="484262"/>
                    </a:lnTo>
                    <a:lnTo>
                      <a:pt x="6174" y="484262"/>
                    </a:lnTo>
                    <a:cubicBezTo>
                      <a:pt x="6174" y="478154"/>
                      <a:pt x="1055" y="474373"/>
                      <a:pt x="-748" y="469109"/>
                    </a:cubicBezTo>
                    <a:cubicBezTo>
                      <a:pt x="-748" y="430020"/>
                      <a:pt x="-836" y="390932"/>
                      <a:pt x="-981" y="351872"/>
                    </a:cubicBezTo>
                    <a:cubicBezTo>
                      <a:pt x="-981" y="348702"/>
                      <a:pt x="-981" y="345531"/>
                      <a:pt x="-981" y="342361"/>
                    </a:cubicBezTo>
                    <a:cubicBezTo>
                      <a:pt x="444" y="302313"/>
                      <a:pt x="357" y="262264"/>
                      <a:pt x="-981" y="222215"/>
                    </a:cubicBezTo>
                    <a:lnTo>
                      <a:pt x="-836" y="215933"/>
                    </a:lnTo>
                    <a:close/>
                  </a:path>
                </a:pathLst>
              </a:custGeom>
              <a:solidFill>
                <a:schemeClr val="accent5"/>
              </a:solidFill>
              <a:ln w="2907" cap="flat">
                <a:noFill/>
                <a:prstDash val="solid"/>
                <a:miter/>
              </a:ln>
            </p:spPr>
            <p:txBody>
              <a:bodyPr rtlCol="0" anchor="ctr"/>
              <a:lstStyle/>
              <a:p>
                <a:endParaRPr lang="en-US" sz="800"/>
              </a:p>
            </p:txBody>
          </p:sp>
          <p:sp>
            <p:nvSpPr>
              <p:cNvPr id="111" name="Graphic 38">
                <a:extLst>
                  <a:ext uri="{FF2B5EF4-FFF2-40B4-BE49-F238E27FC236}">
                    <a16:creationId xmlns:a16="http://schemas.microsoft.com/office/drawing/2014/main" id="{4EBF20EB-1B8A-99F9-A879-AC0BEAE7A2F2}"/>
                  </a:ext>
                </a:extLst>
              </p:cNvPr>
              <p:cNvSpPr/>
              <p:nvPr/>
            </p:nvSpPr>
            <p:spPr>
              <a:xfrm>
                <a:off x="16660727" y="1321701"/>
                <a:ext cx="434150" cy="419799"/>
              </a:xfrm>
              <a:custGeom>
                <a:avLst/>
                <a:gdLst>
                  <a:gd name="connsiteX0" fmla="*/ -341 w 434150"/>
                  <a:gd name="connsiteY0" fmla="*/ 25143 h 419799"/>
                  <a:gd name="connsiteX1" fmla="*/ 3469 w 434150"/>
                  <a:gd name="connsiteY1" fmla="*/ 13509 h 419799"/>
                  <a:gd name="connsiteX2" fmla="*/ 3324 w 434150"/>
                  <a:gd name="connsiteY2" fmla="*/ 13335 h 419799"/>
                  <a:gd name="connsiteX3" fmla="*/ 6233 w 434150"/>
                  <a:gd name="connsiteY3" fmla="*/ 9641 h 419799"/>
                  <a:gd name="connsiteX4" fmla="*/ 38230 w 434150"/>
                  <a:gd name="connsiteY4" fmla="*/ -538 h 419799"/>
                  <a:gd name="connsiteX5" fmla="*/ 393464 w 434150"/>
                  <a:gd name="connsiteY5" fmla="*/ -538 h 419799"/>
                  <a:gd name="connsiteX6" fmla="*/ 433169 w 434150"/>
                  <a:gd name="connsiteY6" fmla="*/ 19122 h 419799"/>
                  <a:gd name="connsiteX7" fmla="*/ 433169 w 434150"/>
                  <a:gd name="connsiteY7" fmla="*/ 398610 h 419799"/>
                  <a:gd name="connsiteX8" fmla="*/ 430261 w 434150"/>
                  <a:gd name="connsiteY8" fmla="*/ 405096 h 419799"/>
                  <a:gd name="connsiteX9" fmla="*/ 395354 w 434150"/>
                  <a:gd name="connsiteY9" fmla="*/ 419260 h 419799"/>
                  <a:gd name="connsiteX10" fmla="*/ 36282 w 434150"/>
                  <a:gd name="connsiteY10" fmla="*/ 419260 h 419799"/>
                  <a:gd name="connsiteX11" fmla="*/ 3092 w 434150"/>
                  <a:gd name="connsiteY11" fmla="*/ 405008 h 419799"/>
                  <a:gd name="connsiteX12" fmla="*/ -283 w 434150"/>
                  <a:gd name="connsiteY12" fmla="*/ 392532 h 419799"/>
                  <a:gd name="connsiteX13" fmla="*/ -894 w 434150"/>
                  <a:gd name="connsiteY13" fmla="*/ 278639 h 419799"/>
                  <a:gd name="connsiteX14" fmla="*/ -719 w 434150"/>
                  <a:gd name="connsiteY14" fmla="*/ 269041 h 419799"/>
                  <a:gd name="connsiteX15" fmla="*/ -719 w 434150"/>
                  <a:gd name="connsiteY15" fmla="*/ 151891 h 419799"/>
                  <a:gd name="connsiteX16" fmla="*/ -981 w 434150"/>
                  <a:gd name="connsiteY16" fmla="*/ 145579 h 41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4150" h="419799">
                    <a:moveTo>
                      <a:pt x="-341" y="25143"/>
                    </a:moveTo>
                    <a:cubicBezTo>
                      <a:pt x="939" y="21245"/>
                      <a:pt x="2190" y="17348"/>
                      <a:pt x="3469" y="13509"/>
                    </a:cubicBezTo>
                    <a:lnTo>
                      <a:pt x="3324" y="13335"/>
                    </a:lnTo>
                    <a:cubicBezTo>
                      <a:pt x="4255" y="12113"/>
                      <a:pt x="5186" y="10862"/>
                      <a:pt x="6233" y="9641"/>
                    </a:cubicBezTo>
                    <a:cubicBezTo>
                      <a:pt x="15483" y="1672"/>
                      <a:pt x="26130" y="-567"/>
                      <a:pt x="38230" y="-538"/>
                    </a:cubicBezTo>
                    <a:cubicBezTo>
                      <a:pt x="156652" y="-218"/>
                      <a:pt x="275072" y="-44"/>
                      <a:pt x="393464" y="-538"/>
                    </a:cubicBezTo>
                    <a:cubicBezTo>
                      <a:pt x="410917" y="-538"/>
                      <a:pt x="423978" y="4348"/>
                      <a:pt x="433169" y="19122"/>
                    </a:cubicBezTo>
                    <a:cubicBezTo>
                      <a:pt x="433169" y="145617"/>
                      <a:pt x="433169" y="272124"/>
                      <a:pt x="433169" y="398610"/>
                    </a:cubicBezTo>
                    <a:cubicBezTo>
                      <a:pt x="430552" y="400064"/>
                      <a:pt x="430261" y="402536"/>
                      <a:pt x="430261" y="405096"/>
                    </a:cubicBezTo>
                    <a:cubicBezTo>
                      <a:pt x="421214" y="416293"/>
                      <a:pt x="409491" y="419318"/>
                      <a:pt x="395354" y="419260"/>
                    </a:cubicBezTo>
                    <a:cubicBezTo>
                      <a:pt x="275654" y="418852"/>
                      <a:pt x="155982" y="418852"/>
                      <a:pt x="36282" y="419260"/>
                    </a:cubicBezTo>
                    <a:cubicBezTo>
                      <a:pt x="22581" y="419260"/>
                      <a:pt x="11498" y="415915"/>
                      <a:pt x="3092" y="405008"/>
                    </a:cubicBezTo>
                    <a:cubicBezTo>
                      <a:pt x="1957" y="400850"/>
                      <a:pt x="852" y="396690"/>
                      <a:pt x="-283" y="392532"/>
                    </a:cubicBezTo>
                    <a:lnTo>
                      <a:pt x="-894" y="278639"/>
                    </a:lnTo>
                    <a:lnTo>
                      <a:pt x="-719" y="269041"/>
                    </a:lnTo>
                    <a:cubicBezTo>
                      <a:pt x="-719" y="230010"/>
                      <a:pt x="-719" y="190959"/>
                      <a:pt x="-719" y="151891"/>
                    </a:cubicBezTo>
                    <a:lnTo>
                      <a:pt x="-981" y="145579"/>
                    </a:lnTo>
                    <a:close/>
                  </a:path>
                </a:pathLst>
              </a:custGeom>
              <a:solidFill>
                <a:schemeClr val="accent5">
                  <a:lumMod val="50000"/>
                </a:schemeClr>
              </a:solidFill>
              <a:ln w="2907" cap="flat">
                <a:noFill/>
                <a:prstDash val="solid"/>
                <a:miter/>
              </a:ln>
            </p:spPr>
            <p:txBody>
              <a:bodyPr rtlCol="0" anchor="ctr"/>
              <a:lstStyle/>
              <a:p>
                <a:endParaRPr lang="en-US" sz="800"/>
              </a:p>
            </p:txBody>
          </p:sp>
          <p:sp>
            <p:nvSpPr>
              <p:cNvPr id="113" name="Graphic 38">
                <a:extLst>
                  <a:ext uri="{FF2B5EF4-FFF2-40B4-BE49-F238E27FC236}">
                    <a16:creationId xmlns:a16="http://schemas.microsoft.com/office/drawing/2014/main" id="{D70318CA-6B1E-C1C9-7A9C-723634C16A40}"/>
                  </a:ext>
                </a:extLst>
              </p:cNvPr>
              <p:cNvSpPr/>
              <p:nvPr/>
            </p:nvSpPr>
            <p:spPr>
              <a:xfrm>
                <a:off x="14814924" y="1246577"/>
                <a:ext cx="431997" cy="388213"/>
              </a:xfrm>
              <a:custGeom>
                <a:avLst/>
                <a:gdLst>
                  <a:gd name="connsiteX0" fmla="*/ 430289 w 431997"/>
                  <a:gd name="connsiteY0" fmla="*/ 18104 h 388213"/>
                  <a:gd name="connsiteX1" fmla="*/ 431017 w 431997"/>
                  <a:gd name="connsiteY1" fmla="*/ 365861 h 388213"/>
                  <a:gd name="connsiteX2" fmla="*/ 430697 w 431997"/>
                  <a:gd name="connsiteY2" fmla="*/ 366996 h 388213"/>
                  <a:gd name="connsiteX3" fmla="*/ 426857 w 431997"/>
                  <a:gd name="connsiteY3" fmla="*/ 375401 h 388213"/>
                  <a:gd name="connsiteX4" fmla="*/ 393928 w 431997"/>
                  <a:gd name="connsiteY4" fmla="*/ 387674 h 388213"/>
                  <a:gd name="connsiteX5" fmla="*/ 33925 w 431997"/>
                  <a:gd name="connsiteY5" fmla="*/ 387674 h 388213"/>
                  <a:gd name="connsiteX6" fmla="*/ -981 w 431997"/>
                  <a:gd name="connsiteY6" fmla="*/ 365920 h 388213"/>
                  <a:gd name="connsiteX7" fmla="*/ -691 w 431997"/>
                  <a:gd name="connsiteY7" fmla="*/ 49690 h 388213"/>
                  <a:gd name="connsiteX8" fmla="*/ -254 w 431997"/>
                  <a:gd name="connsiteY8" fmla="*/ 18075 h 388213"/>
                  <a:gd name="connsiteX9" fmla="*/ 35321 w 431997"/>
                  <a:gd name="connsiteY9" fmla="*/ -539 h 388213"/>
                  <a:gd name="connsiteX10" fmla="*/ 395616 w 431997"/>
                  <a:gd name="connsiteY10" fmla="*/ -539 h 388213"/>
                  <a:gd name="connsiteX11" fmla="*/ 428224 w 431997"/>
                  <a:gd name="connsiteY11" fmla="*/ 14876 h 388213"/>
                  <a:gd name="connsiteX12" fmla="*/ 430086 w 431997"/>
                  <a:gd name="connsiteY12" fmla="*/ 18075 h 38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1997" h="388213">
                    <a:moveTo>
                      <a:pt x="430289" y="18104"/>
                    </a:moveTo>
                    <a:cubicBezTo>
                      <a:pt x="430522" y="134033"/>
                      <a:pt x="430755" y="249953"/>
                      <a:pt x="431017" y="365861"/>
                    </a:cubicBezTo>
                    <a:lnTo>
                      <a:pt x="430697" y="366996"/>
                    </a:lnTo>
                    <a:cubicBezTo>
                      <a:pt x="428224" y="369090"/>
                      <a:pt x="426828" y="372173"/>
                      <a:pt x="426857" y="375401"/>
                    </a:cubicBezTo>
                    <a:cubicBezTo>
                      <a:pt x="417811" y="384679"/>
                      <a:pt x="406670" y="387703"/>
                      <a:pt x="393928" y="387674"/>
                    </a:cubicBezTo>
                    <a:cubicBezTo>
                      <a:pt x="273937" y="387529"/>
                      <a:pt x="153946" y="387529"/>
                      <a:pt x="33925" y="387674"/>
                    </a:cubicBezTo>
                    <a:cubicBezTo>
                      <a:pt x="17403" y="387674"/>
                      <a:pt x="5447" y="381625"/>
                      <a:pt x="-981" y="365920"/>
                    </a:cubicBezTo>
                    <a:cubicBezTo>
                      <a:pt x="-981" y="260519"/>
                      <a:pt x="-894" y="155110"/>
                      <a:pt x="-691" y="49690"/>
                    </a:cubicBezTo>
                    <a:cubicBezTo>
                      <a:pt x="-691" y="39161"/>
                      <a:pt x="-400" y="28633"/>
                      <a:pt x="-254" y="18075"/>
                    </a:cubicBezTo>
                    <a:cubicBezTo>
                      <a:pt x="7600" y="4231"/>
                      <a:pt x="19613" y="-568"/>
                      <a:pt x="35321" y="-539"/>
                    </a:cubicBezTo>
                    <a:cubicBezTo>
                      <a:pt x="155429" y="-210"/>
                      <a:pt x="275508" y="-210"/>
                      <a:pt x="395616" y="-539"/>
                    </a:cubicBezTo>
                    <a:cubicBezTo>
                      <a:pt x="409404" y="-539"/>
                      <a:pt x="420341" y="3359"/>
                      <a:pt x="428224" y="14876"/>
                    </a:cubicBezTo>
                    <a:lnTo>
                      <a:pt x="430086" y="18075"/>
                    </a:lnTo>
                    <a:close/>
                  </a:path>
                </a:pathLst>
              </a:custGeom>
              <a:solidFill>
                <a:schemeClr val="tx2"/>
              </a:solidFill>
              <a:ln w="2907" cap="flat">
                <a:noFill/>
                <a:prstDash val="solid"/>
                <a:miter/>
              </a:ln>
            </p:spPr>
            <p:txBody>
              <a:bodyPr rtlCol="0" anchor="ctr"/>
              <a:lstStyle/>
              <a:p>
                <a:endParaRPr lang="en-US" sz="800"/>
              </a:p>
            </p:txBody>
          </p:sp>
          <p:sp>
            <p:nvSpPr>
              <p:cNvPr id="114" name="Graphic 38">
                <a:extLst>
                  <a:ext uri="{FF2B5EF4-FFF2-40B4-BE49-F238E27FC236}">
                    <a16:creationId xmlns:a16="http://schemas.microsoft.com/office/drawing/2014/main" id="{E472E0DF-C817-83EA-4CCF-14AE1197A25E}"/>
                  </a:ext>
                </a:extLst>
              </p:cNvPr>
              <p:cNvSpPr/>
              <p:nvPr/>
            </p:nvSpPr>
            <p:spPr>
              <a:xfrm>
                <a:off x="14814226" y="2006745"/>
                <a:ext cx="432666" cy="380941"/>
              </a:xfrm>
              <a:custGeom>
                <a:avLst/>
                <a:gdLst>
                  <a:gd name="connsiteX0" fmla="*/ -167 w 432666"/>
                  <a:gd name="connsiteY0" fmla="*/ 358939 h 380941"/>
                  <a:gd name="connsiteX1" fmla="*/ 37 w 432666"/>
                  <a:gd name="connsiteY1" fmla="*/ 39975 h 380941"/>
                  <a:gd name="connsiteX2" fmla="*/ -981 w 432666"/>
                  <a:gd name="connsiteY2" fmla="*/ 24270 h 380941"/>
                  <a:gd name="connsiteX3" fmla="*/ 34478 w 432666"/>
                  <a:gd name="connsiteY3" fmla="*/ -539 h 380941"/>
                  <a:gd name="connsiteX4" fmla="*/ 396634 w 432666"/>
                  <a:gd name="connsiteY4" fmla="*/ -539 h 380941"/>
                  <a:gd name="connsiteX5" fmla="*/ 430901 w 432666"/>
                  <a:gd name="connsiteY5" fmla="*/ 17319 h 380941"/>
                  <a:gd name="connsiteX6" fmla="*/ 431686 w 432666"/>
                  <a:gd name="connsiteY6" fmla="*/ 358939 h 380941"/>
                  <a:gd name="connsiteX7" fmla="*/ 398379 w 432666"/>
                  <a:gd name="connsiteY7" fmla="*/ 380403 h 380941"/>
                  <a:gd name="connsiteX8" fmla="*/ 33111 w 432666"/>
                  <a:gd name="connsiteY8" fmla="*/ 380403 h 380941"/>
                  <a:gd name="connsiteX9" fmla="*/ -167 w 432666"/>
                  <a:gd name="connsiteY9" fmla="*/ 358939 h 38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666" h="380941">
                    <a:moveTo>
                      <a:pt x="-167" y="358939"/>
                    </a:moveTo>
                    <a:cubicBezTo>
                      <a:pt x="-167" y="252608"/>
                      <a:pt x="-109" y="146277"/>
                      <a:pt x="37" y="39975"/>
                    </a:cubicBezTo>
                    <a:cubicBezTo>
                      <a:pt x="37" y="34740"/>
                      <a:pt x="-632" y="29505"/>
                      <a:pt x="-981" y="24270"/>
                    </a:cubicBezTo>
                    <a:cubicBezTo>
                      <a:pt x="4254" y="6558"/>
                      <a:pt x="16152" y="-568"/>
                      <a:pt x="34478" y="-539"/>
                    </a:cubicBezTo>
                    <a:cubicBezTo>
                      <a:pt x="155196" y="-248"/>
                      <a:pt x="275915" y="-248"/>
                      <a:pt x="396634" y="-539"/>
                    </a:cubicBezTo>
                    <a:cubicBezTo>
                      <a:pt x="411673" y="-539"/>
                      <a:pt x="423221" y="4144"/>
                      <a:pt x="430901" y="17319"/>
                    </a:cubicBezTo>
                    <a:lnTo>
                      <a:pt x="431686" y="358939"/>
                    </a:lnTo>
                    <a:cubicBezTo>
                      <a:pt x="425868" y="374267"/>
                      <a:pt x="414232" y="380403"/>
                      <a:pt x="398379" y="380403"/>
                    </a:cubicBezTo>
                    <a:cubicBezTo>
                      <a:pt x="276642" y="380403"/>
                      <a:pt x="154876" y="380403"/>
                      <a:pt x="33111" y="380403"/>
                    </a:cubicBezTo>
                    <a:cubicBezTo>
                      <a:pt x="17315" y="380316"/>
                      <a:pt x="5564" y="374412"/>
                      <a:pt x="-167" y="358939"/>
                    </a:cubicBezTo>
                    <a:close/>
                  </a:path>
                </a:pathLst>
              </a:custGeom>
              <a:solidFill>
                <a:schemeClr val="bg1">
                  <a:lumMod val="50000"/>
                </a:schemeClr>
              </a:solidFill>
              <a:ln w="2907" cap="flat">
                <a:noFill/>
                <a:prstDash val="solid"/>
                <a:miter/>
              </a:ln>
            </p:spPr>
            <p:txBody>
              <a:bodyPr rtlCol="0" anchor="ctr"/>
              <a:lstStyle/>
              <a:p>
                <a:endParaRPr lang="en-US" sz="800"/>
              </a:p>
            </p:txBody>
          </p:sp>
          <p:sp>
            <p:nvSpPr>
              <p:cNvPr id="115" name="Graphic 38">
                <a:extLst>
                  <a:ext uri="{FF2B5EF4-FFF2-40B4-BE49-F238E27FC236}">
                    <a16:creationId xmlns:a16="http://schemas.microsoft.com/office/drawing/2014/main" id="{3FCA5E36-8F24-13A5-80BF-DA0D976D9E76}"/>
                  </a:ext>
                </a:extLst>
              </p:cNvPr>
              <p:cNvSpPr/>
              <p:nvPr/>
            </p:nvSpPr>
            <p:spPr>
              <a:xfrm>
                <a:off x="16199000" y="1454935"/>
                <a:ext cx="434339" cy="369577"/>
              </a:xfrm>
              <a:custGeom>
                <a:avLst/>
                <a:gdLst>
                  <a:gd name="connsiteX0" fmla="*/ -981 w 434339"/>
                  <a:gd name="connsiteY0" fmla="*/ 271484 h 369577"/>
                  <a:gd name="connsiteX1" fmla="*/ -981 w 434339"/>
                  <a:gd name="connsiteY1" fmla="*/ 265376 h 369577"/>
                  <a:gd name="connsiteX2" fmla="*/ -981 w 434339"/>
                  <a:gd name="connsiteY2" fmla="*/ 264998 h 369577"/>
                  <a:gd name="connsiteX3" fmla="*/ -981 w 434339"/>
                  <a:gd name="connsiteY3" fmla="*/ 135691 h 369577"/>
                  <a:gd name="connsiteX4" fmla="*/ -981 w 434339"/>
                  <a:gd name="connsiteY4" fmla="*/ 135254 h 369577"/>
                  <a:gd name="connsiteX5" fmla="*/ 939 w 434339"/>
                  <a:gd name="connsiteY5" fmla="*/ 43116 h 369577"/>
                  <a:gd name="connsiteX6" fmla="*/ 5855 w 434339"/>
                  <a:gd name="connsiteY6" fmla="*/ 9263 h 369577"/>
                  <a:gd name="connsiteX7" fmla="*/ 21446 w 434339"/>
                  <a:gd name="connsiteY7" fmla="*/ -539 h 369577"/>
                  <a:gd name="connsiteX8" fmla="*/ 391689 w 434339"/>
                  <a:gd name="connsiteY8" fmla="*/ -335 h 369577"/>
                  <a:gd name="connsiteX9" fmla="*/ 416822 w 434339"/>
                  <a:gd name="connsiteY9" fmla="*/ 1439 h 369577"/>
                  <a:gd name="connsiteX10" fmla="*/ 418247 w 434339"/>
                  <a:gd name="connsiteY10" fmla="*/ 2544 h 369577"/>
                  <a:gd name="connsiteX11" fmla="*/ 418509 w 434339"/>
                  <a:gd name="connsiteY11" fmla="*/ 3679 h 369577"/>
                  <a:gd name="connsiteX12" fmla="*/ 419614 w 434339"/>
                  <a:gd name="connsiteY12" fmla="*/ 3679 h 369577"/>
                  <a:gd name="connsiteX13" fmla="*/ 424880 w 434339"/>
                  <a:gd name="connsiteY13" fmla="*/ 6587 h 369577"/>
                  <a:gd name="connsiteX14" fmla="*/ 429010 w 434339"/>
                  <a:gd name="connsiteY14" fmla="*/ 9728 h 369577"/>
                  <a:gd name="connsiteX15" fmla="*/ 428835 w 434339"/>
                  <a:gd name="connsiteY15" fmla="*/ 10077 h 369577"/>
                  <a:gd name="connsiteX16" fmla="*/ 432704 w 434339"/>
                  <a:gd name="connsiteY16" fmla="*/ 142235 h 369577"/>
                  <a:gd name="connsiteX17" fmla="*/ 432704 w 434339"/>
                  <a:gd name="connsiteY17" fmla="*/ 310922 h 369577"/>
                  <a:gd name="connsiteX18" fmla="*/ 429097 w 434339"/>
                  <a:gd name="connsiteY18" fmla="*/ 356351 h 369577"/>
                  <a:gd name="connsiteX19" fmla="*/ 429097 w 434339"/>
                  <a:gd name="connsiteY19" fmla="*/ 356525 h 369577"/>
                  <a:gd name="connsiteX20" fmla="*/ 426188 w 434339"/>
                  <a:gd name="connsiteY20" fmla="*/ 359870 h 369577"/>
                  <a:gd name="connsiteX21" fmla="*/ 426188 w 434339"/>
                  <a:gd name="connsiteY21" fmla="*/ 359870 h 369577"/>
                  <a:gd name="connsiteX22" fmla="*/ 422872 w 434339"/>
                  <a:gd name="connsiteY22" fmla="*/ 363069 h 369577"/>
                  <a:gd name="connsiteX23" fmla="*/ 423018 w 434339"/>
                  <a:gd name="connsiteY23" fmla="*/ 363069 h 369577"/>
                  <a:gd name="connsiteX24" fmla="*/ 419091 w 434339"/>
                  <a:gd name="connsiteY24" fmla="*/ 365977 h 369577"/>
                  <a:gd name="connsiteX25" fmla="*/ 400445 w 434339"/>
                  <a:gd name="connsiteY25" fmla="*/ 368886 h 369577"/>
                  <a:gd name="connsiteX26" fmla="*/ 33925 w 434339"/>
                  <a:gd name="connsiteY26" fmla="*/ 368886 h 369577"/>
                  <a:gd name="connsiteX27" fmla="*/ -50 w 434339"/>
                  <a:gd name="connsiteY27" fmla="*/ 334567 h 369577"/>
                  <a:gd name="connsiteX28" fmla="*/ -981 w 434339"/>
                  <a:gd name="connsiteY28" fmla="*/ 271484 h 36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34339" h="369577">
                    <a:moveTo>
                      <a:pt x="-981" y="271484"/>
                    </a:moveTo>
                    <a:lnTo>
                      <a:pt x="-981" y="265376"/>
                    </a:lnTo>
                    <a:lnTo>
                      <a:pt x="-981" y="264998"/>
                    </a:lnTo>
                    <a:cubicBezTo>
                      <a:pt x="2451" y="221954"/>
                      <a:pt x="2451" y="178735"/>
                      <a:pt x="-981" y="135691"/>
                    </a:cubicBezTo>
                    <a:lnTo>
                      <a:pt x="-981" y="135254"/>
                    </a:lnTo>
                    <a:cubicBezTo>
                      <a:pt x="3586" y="104629"/>
                      <a:pt x="183" y="73829"/>
                      <a:pt x="939" y="43116"/>
                    </a:cubicBezTo>
                    <a:cubicBezTo>
                      <a:pt x="1229" y="31483"/>
                      <a:pt x="1608" y="20198"/>
                      <a:pt x="5855" y="9263"/>
                    </a:cubicBezTo>
                    <a:lnTo>
                      <a:pt x="21446" y="-539"/>
                    </a:lnTo>
                    <a:cubicBezTo>
                      <a:pt x="144870" y="-539"/>
                      <a:pt x="268265" y="-472"/>
                      <a:pt x="391689" y="-335"/>
                    </a:cubicBezTo>
                    <a:cubicBezTo>
                      <a:pt x="400067" y="-335"/>
                      <a:pt x="408444" y="828"/>
                      <a:pt x="416822" y="1439"/>
                    </a:cubicBezTo>
                    <a:cubicBezTo>
                      <a:pt x="417025" y="2064"/>
                      <a:pt x="417578" y="2504"/>
                      <a:pt x="418247" y="2544"/>
                    </a:cubicBezTo>
                    <a:lnTo>
                      <a:pt x="418509" y="3679"/>
                    </a:lnTo>
                    <a:lnTo>
                      <a:pt x="419614" y="3679"/>
                    </a:lnTo>
                    <a:lnTo>
                      <a:pt x="424880" y="6587"/>
                    </a:lnTo>
                    <a:lnTo>
                      <a:pt x="429010" y="9728"/>
                    </a:lnTo>
                    <a:lnTo>
                      <a:pt x="428835" y="10077"/>
                    </a:lnTo>
                    <a:cubicBezTo>
                      <a:pt x="436660" y="53907"/>
                      <a:pt x="431744" y="98201"/>
                      <a:pt x="432704" y="142235"/>
                    </a:cubicBezTo>
                    <a:cubicBezTo>
                      <a:pt x="434042" y="198454"/>
                      <a:pt x="432559" y="254731"/>
                      <a:pt x="432704" y="310922"/>
                    </a:cubicBezTo>
                    <a:cubicBezTo>
                      <a:pt x="433199" y="326162"/>
                      <a:pt x="432006" y="341402"/>
                      <a:pt x="429097" y="356351"/>
                    </a:cubicBezTo>
                    <a:lnTo>
                      <a:pt x="429097" y="356525"/>
                    </a:lnTo>
                    <a:lnTo>
                      <a:pt x="426188" y="359870"/>
                    </a:lnTo>
                    <a:lnTo>
                      <a:pt x="426188" y="359870"/>
                    </a:lnTo>
                    <a:lnTo>
                      <a:pt x="422872" y="363069"/>
                    </a:lnTo>
                    <a:lnTo>
                      <a:pt x="423018" y="363069"/>
                    </a:lnTo>
                    <a:lnTo>
                      <a:pt x="419091" y="365977"/>
                    </a:lnTo>
                    <a:cubicBezTo>
                      <a:pt x="412953" y="367432"/>
                      <a:pt x="406728" y="368421"/>
                      <a:pt x="400445" y="368886"/>
                    </a:cubicBezTo>
                    <a:cubicBezTo>
                      <a:pt x="278271" y="369090"/>
                      <a:pt x="156098" y="369090"/>
                      <a:pt x="33925" y="368886"/>
                    </a:cubicBezTo>
                    <a:cubicBezTo>
                      <a:pt x="11004" y="368886"/>
                      <a:pt x="386" y="357543"/>
                      <a:pt x="-50" y="334567"/>
                    </a:cubicBezTo>
                    <a:cubicBezTo>
                      <a:pt x="-545" y="313539"/>
                      <a:pt x="-690" y="292511"/>
                      <a:pt x="-981" y="271484"/>
                    </a:cubicBezTo>
                    <a:close/>
                  </a:path>
                </a:pathLst>
              </a:custGeom>
              <a:solidFill>
                <a:srgbClr val="E75E75"/>
              </a:solidFill>
              <a:ln w="2907" cap="flat">
                <a:noFill/>
                <a:prstDash val="solid"/>
                <a:miter/>
              </a:ln>
            </p:spPr>
            <p:txBody>
              <a:bodyPr rtlCol="0" anchor="ctr"/>
              <a:lstStyle/>
              <a:p>
                <a:endParaRPr lang="en-US" sz="800"/>
              </a:p>
            </p:txBody>
          </p:sp>
          <p:sp>
            <p:nvSpPr>
              <p:cNvPr id="116" name="Graphic 38">
                <a:extLst>
                  <a:ext uri="{FF2B5EF4-FFF2-40B4-BE49-F238E27FC236}">
                    <a16:creationId xmlns:a16="http://schemas.microsoft.com/office/drawing/2014/main" id="{9FD9BDFD-CA7D-B039-C773-2F97E17FCEC0}"/>
                  </a:ext>
                </a:extLst>
              </p:cNvPr>
              <p:cNvSpPr/>
              <p:nvPr/>
            </p:nvSpPr>
            <p:spPr>
              <a:xfrm>
                <a:off x="15276884" y="2782937"/>
                <a:ext cx="432376" cy="359391"/>
              </a:xfrm>
              <a:custGeom>
                <a:avLst/>
                <a:gdLst>
                  <a:gd name="connsiteX0" fmla="*/ 431395 w 432376"/>
                  <a:gd name="connsiteY0" fmla="*/ 26016 h 359391"/>
                  <a:gd name="connsiteX1" fmla="*/ 431395 w 432376"/>
                  <a:gd name="connsiteY1" fmla="*/ 339308 h 359391"/>
                  <a:gd name="connsiteX2" fmla="*/ 392940 w 432376"/>
                  <a:gd name="connsiteY2" fmla="*/ 358853 h 359391"/>
                  <a:gd name="connsiteX3" fmla="*/ 43554 w 432376"/>
                  <a:gd name="connsiteY3" fmla="*/ 358562 h 359391"/>
                  <a:gd name="connsiteX4" fmla="*/ 24617 w 432376"/>
                  <a:gd name="connsiteY4" fmla="*/ 358009 h 359391"/>
                  <a:gd name="connsiteX5" fmla="*/ -981 w 432376"/>
                  <a:gd name="connsiteY5" fmla="*/ 328925 h 359391"/>
                  <a:gd name="connsiteX6" fmla="*/ -690 w 432376"/>
                  <a:gd name="connsiteY6" fmla="*/ 19268 h 359391"/>
                  <a:gd name="connsiteX7" fmla="*/ 35584 w 432376"/>
                  <a:gd name="connsiteY7" fmla="*/ -538 h 359391"/>
                  <a:gd name="connsiteX8" fmla="*/ 396023 w 432376"/>
                  <a:gd name="connsiteY8" fmla="*/ -276 h 359391"/>
                  <a:gd name="connsiteX9" fmla="*/ 431395 w 432376"/>
                  <a:gd name="connsiteY9" fmla="*/ 26016 h 35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376" h="359391">
                    <a:moveTo>
                      <a:pt x="431395" y="26016"/>
                    </a:moveTo>
                    <a:lnTo>
                      <a:pt x="431395" y="339308"/>
                    </a:lnTo>
                    <a:cubicBezTo>
                      <a:pt x="422669" y="353850"/>
                      <a:pt x="409928" y="358911"/>
                      <a:pt x="392940" y="358853"/>
                    </a:cubicBezTo>
                    <a:cubicBezTo>
                      <a:pt x="276585" y="358358"/>
                      <a:pt x="160026" y="358591"/>
                      <a:pt x="43554" y="358562"/>
                    </a:cubicBezTo>
                    <a:cubicBezTo>
                      <a:pt x="37242" y="358824"/>
                      <a:pt x="30900" y="358620"/>
                      <a:pt x="24617" y="358009"/>
                    </a:cubicBezTo>
                    <a:cubicBezTo>
                      <a:pt x="8968" y="355828"/>
                      <a:pt x="-981" y="344718"/>
                      <a:pt x="-981" y="328925"/>
                    </a:cubicBezTo>
                    <a:cubicBezTo>
                      <a:pt x="-981" y="225706"/>
                      <a:pt x="-894" y="122487"/>
                      <a:pt x="-690" y="19268"/>
                    </a:cubicBezTo>
                    <a:cubicBezTo>
                      <a:pt x="7222" y="4988"/>
                      <a:pt x="18916" y="-625"/>
                      <a:pt x="35584" y="-538"/>
                    </a:cubicBezTo>
                    <a:cubicBezTo>
                      <a:pt x="155721" y="-73"/>
                      <a:pt x="275886" y="-334"/>
                      <a:pt x="396023" y="-276"/>
                    </a:cubicBezTo>
                    <a:cubicBezTo>
                      <a:pt x="417316" y="-130"/>
                      <a:pt x="424355" y="5134"/>
                      <a:pt x="431395" y="26016"/>
                    </a:cubicBezTo>
                    <a:close/>
                  </a:path>
                </a:pathLst>
              </a:custGeom>
              <a:solidFill>
                <a:schemeClr val="bg2"/>
              </a:solidFill>
              <a:ln w="2907" cap="flat">
                <a:noFill/>
                <a:prstDash val="solid"/>
                <a:miter/>
              </a:ln>
            </p:spPr>
            <p:txBody>
              <a:bodyPr rtlCol="0" anchor="ctr"/>
              <a:lstStyle/>
              <a:p>
                <a:endParaRPr lang="en-US" sz="800"/>
              </a:p>
            </p:txBody>
          </p:sp>
          <p:sp>
            <p:nvSpPr>
              <p:cNvPr id="117" name="Graphic 38">
                <a:extLst>
                  <a:ext uri="{FF2B5EF4-FFF2-40B4-BE49-F238E27FC236}">
                    <a16:creationId xmlns:a16="http://schemas.microsoft.com/office/drawing/2014/main" id="{66DF8086-B22D-68E3-CC34-2C9CAB8ABE5D}"/>
                  </a:ext>
                </a:extLst>
              </p:cNvPr>
              <p:cNvSpPr/>
              <p:nvPr/>
            </p:nvSpPr>
            <p:spPr>
              <a:xfrm>
                <a:off x="15277146" y="1150774"/>
                <a:ext cx="431926" cy="317803"/>
              </a:xfrm>
              <a:custGeom>
                <a:avLst/>
                <a:gdLst>
                  <a:gd name="connsiteX0" fmla="*/ 428690 w 431926"/>
                  <a:gd name="connsiteY0" fmla="*/ 15836 h 317803"/>
                  <a:gd name="connsiteX1" fmla="*/ 430580 w 431926"/>
                  <a:gd name="connsiteY1" fmla="*/ 75458 h 317803"/>
                  <a:gd name="connsiteX2" fmla="*/ 430580 w 431926"/>
                  <a:gd name="connsiteY2" fmla="*/ 297456 h 317803"/>
                  <a:gd name="connsiteX3" fmla="*/ 430580 w 431926"/>
                  <a:gd name="connsiteY3" fmla="*/ 297456 h 317803"/>
                  <a:gd name="connsiteX4" fmla="*/ 429097 w 431926"/>
                  <a:gd name="connsiteY4" fmla="*/ 300364 h 317803"/>
                  <a:gd name="connsiteX5" fmla="*/ 426828 w 431926"/>
                  <a:gd name="connsiteY5" fmla="*/ 306181 h 317803"/>
                  <a:gd name="connsiteX6" fmla="*/ 423919 w 431926"/>
                  <a:gd name="connsiteY6" fmla="*/ 309642 h 317803"/>
                  <a:gd name="connsiteX7" fmla="*/ 423919 w 431926"/>
                  <a:gd name="connsiteY7" fmla="*/ 309642 h 317803"/>
                  <a:gd name="connsiteX8" fmla="*/ 394161 w 431926"/>
                  <a:gd name="connsiteY8" fmla="*/ 317262 h 317803"/>
                  <a:gd name="connsiteX9" fmla="*/ 34216 w 431926"/>
                  <a:gd name="connsiteY9" fmla="*/ 317262 h 317803"/>
                  <a:gd name="connsiteX10" fmla="*/ 9519 w 431926"/>
                  <a:gd name="connsiteY10" fmla="*/ 313452 h 317803"/>
                  <a:gd name="connsiteX11" fmla="*/ 3266 w 431926"/>
                  <a:gd name="connsiteY11" fmla="*/ 312754 h 317803"/>
                  <a:gd name="connsiteX12" fmla="*/ 4051 w 431926"/>
                  <a:gd name="connsiteY12" fmla="*/ 312347 h 317803"/>
                  <a:gd name="connsiteX13" fmla="*/ 3207 w 431926"/>
                  <a:gd name="connsiteY13" fmla="*/ 306530 h 317803"/>
                  <a:gd name="connsiteX14" fmla="*/ -487 w 431926"/>
                  <a:gd name="connsiteY14" fmla="*/ 298183 h 317803"/>
                  <a:gd name="connsiteX15" fmla="*/ -981 w 431926"/>
                  <a:gd name="connsiteY15" fmla="*/ 296962 h 317803"/>
                  <a:gd name="connsiteX16" fmla="*/ -400 w 431926"/>
                  <a:gd name="connsiteY16" fmla="*/ 18861 h 317803"/>
                  <a:gd name="connsiteX17" fmla="*/ -167 w 431926"/>
                  <a:gd name="connsiteY17" fmla="*/ 18395 h 317803"/>
                  <a:gd name="connsiteX18" fmla="*/ 938 w 431926"/>
                  <a:gd name="connsiteY18" fmla="*/ 15836 h 317803"/>
                  <a:gd name="connsiteX19" fmla="*/ 32646 w 431926"/>
                  <a:gd name="connsiteY19" fmla="*/ -539 h 317803"/>
                  <a:gd name="connsiteX20" fmla="*/ 397128 w 431926"/>
                  <a:gd name="connsiteY20" fmla="*/ -539 h 317803"/>
                  <a:gd name="connsiteX21" fmla="*/ 428690 w 431926"/>
                  <a:gd name="connsiteY21" fmla="*/ 15836 h 31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1926" h="317803">
                    <a:moveTo>
                      <a:pt x="428690" y="15836"/>
                    </a:moveTo>
                    <a:cubicBezTo>
                      <a:pt x="432209" y="35613"/>
                      <a:pt x="430551" y="55594"/>
                      <a:pt x="430580" y="75458"/>
                    </a:cubicBezTo>
                    <a:cubicBezTo>
                      <a:pt x="430726" y="149448"/>
                      <a:pt x="430726" y="223446"/>
                      <a:pt x="430580" y="297456"/>
                    </a:cubicBezTo>
                    <a:lnTo>
                      <a:pt x="430580" y="297456"/>
                    </a:lnTo>
                    <a:lnTo>
                      <a:pt x="429097" y="300364"/>
                    </a:lnTo>
                    <a:lnTo>
                      <a:pt x="426828" y="306181"/>
                    </a:lnTo>
                    <a:lnTo>
                      <a:pt x="423919" y="309642"/>
                    </a:lnTo>
                    <a:lnTo>
                      <a:pt x="423919" y="309642"/>
                    </a:lnTo>
                    <a:cubicBezTo>
                      <a:pt x="414960" y="315982"/>
                      <a:pt x="404983" y="317291"/>
                      <a:pt x="394161" y="317262"/>
                    </a:cubicBezTo>
                    <a:cubicBezTo>
                      <a:pt x="274169" y="317067"/>
                      <a:pt x="154207" y="317067"/>
                      <a:pt x="34216" y="317262"/>
                    </a:cubicBezTo>
                    <a:cubicBezTo>
                      <a:pt x="25838" y="317329"/>
                      <a:pt x="17490" y="316043"/>
                      <a:pt x="9519" y="313452"/>
                    </a:cubicBezTo>
                    <a:cubicBezTo>
                      <a:pt x="7483" y="312696"/>
                      <a:pt x="5622" y="310544"/>
                      <a:pt x="3266" y="312754"/>
                    </a:cubicBezTo>
                    <a:lnTo>
                      <a:pt x="4051" y="312347"/>
                    </a:lnTo>
                    <a:cubicBezTo>
                      <a:pt x="3760" y="310398"/>
                      <a:pt x="3469" y="308450"/>
                      <a:pt x="3207" y="306530"/>
                    </a:cubicBezTo>
                    <a:cubicBezTo>
                      <a:pt x="3818" y="303249"/>
                      <a:pt x="2364" y="299925"/>
                      <a:pt x="-487" y="298183"/>
                    </a:cubicBezTo>
                    <a:lnTo>
                      <a:pt x="-981" y="296962"/>
                    </a:lnTo>
                    <a:cubicBezTo>
                      <a:pt x="-778" y="204280"/>
                      <a:pt x="-574" y="111580"/>
                      <a:pt x="-400" y="18861"/>
                    </a:cubicBezTo>
                    <a:lnTo>
                      <a:pt x="-167" y="18395"/>
                    </a:lnTo>
                    <a:cubicBezTo>
                      <a:pt x="1259" y="17988"/>
                      <a:pt x="1869" y="17261"/>
                      <a:pt x="938" y="15836"/>
                    </a:cubicBezTo>
                    <a:cubicBezTo>
                      <a:pt x="8240" y="4202"/>
                      <a:pt x="18625" y="-568"/>
                      <a:pt x="32646" y="-539"/>
                    </a:cubicBezTo>
                    <a:cubicBezTo>
                      <a:pt x="154150" y="-227"/>
                      <a:pt x="275653" y="-227"/>
                      <a:pt x="397128" y="-539"/>
                    </a:cubicBezTo>
                    <a:cubicBezTo>
                      <a:pt x="410742" y="-422"/>
                      <a:pt x="421388" y="3708"/>
                      <a:pt x="428690" y="15836"/>
                    </a:cubicBezTo>
                    <a:close/>
                  </a:path>
                </a:pathLst>
              </a:custGeom>
              <a:solidFill>
                <a:schemeClr val="bg1">
                  <a:lumMod val="50000"/>
                </a:schemeClr>
              </a:solidFill>
              <a:ln w="2907" cap="flat">
                <a:noFill/>
                <a:prstDash val="solid"/>
                <a:miter/>
              </a:ln>
            </p:spPr>
            <p:txBody>
              <a:bodyPr rtlCol="0" anchor="ctr"/>
              <a:lstStyle/>
              <a:p>
                <a:endParaRPr lang="en-US" sz="800"/>
              </a:p>
            </p:txBody>
          </p:sp>
          <p:sp>
            <p:nvSpPr>
              <p:cNvPr id="118" name="Graphic 38">
                <a:extLst>
                  <a:ext uri="{FF2B5EF4-FFF2-40B4-BE49-F238E27FC236}">
                    <a16:creationId xmlns:a16="http://schemas.microsoft.com/office/drawing/2014/main" id="{7552AF13-7207-7880-C90F-7F03DA508922}"/>
                  </a:ext>
                </a:extLst>
              </p:cNvPr>
              <p:cNvSpPr/>
              <p:nvPr/>
            </p:nvSpPr>
            <p:spPr>
              <a:xfrm>
                <a:off x="15274644" y="3156751"/>
                <a:ext cx="436885" cy="311550"/>
              </a:xfrm>
              <a:custGeom>
                <a:avLst/>
                <a:gdLst>
                  <a:gd name="connsiteX0" fmla="*/ -981 w 436885"/>
                  <a:gd name="connsiteY0" fmla="*/ 221229 h 311550"/>
                  <a:gd name="connsiteX1" fmla="*/ -981 w 436885"/>
                  <a:gd name="connsiteY1" fmla="*/ 212504 h 311550"/>
                  <a:gd name="connsiteX2" fmla="*/ -981 w 436885"/>
                  <a:gd name="connsiteY2" fmla="*/ 94598 h 311550"/>
                  <a:gd name="connsiteX3" fmla="*/ -981 w 436885"/>
                  <a:gd name="connsiteY3" fmla="*/ 88781 h 311550"/>
                  <a:gd name="connsiteX4" fmla="*/ -225 w 436885"/>
                  <a:gd name="connsiteY4" fmla="*/ 38349 h 311550"/>
                  <a:gd name="connsiteX5" fmla="*/ 38667 w 436885"/>
                  <a:gd name="connsiteY5" fmla="*/ -536 h 311550"/>
                  <a:gd name="connsiteX6" fmla="*/ 397158 w 436885"/>
                  <a:gd name="connsiteY6" fmla="*/ -536 h 311550"/>
                  <a:gd name="connsiteX7" fmla="*/ 434363 w 436885"/>
                  <a:gd name="connsiteY7" fmla="*/ 38524 h 311550"/>
                  <a:gd name="connsiteX8" fmla="*/ 435904 w 436885"/>
                  <a:gd name="connsiteY8" fmla="*/ 88752 h 311550"/>
                  <a:gd name="connsiteX9" fmla="*/ 435730 w 436885"/>
                  <a:gd name="connsiteY9" fmla="*/ 94569 h 311550"/>
                  <a:gd name="connsiteX10" fmla="*/ 435730 w 436885"/>
                  <a:gd name="connsiteY10" fmla="*/ 212562 h 311550"/>
                  <a:gd name="connsiteX11" fmla="*/ 435730 w 436885"/>
                  <a:gd name="connsiteY11" fmla="*/ 221287 h 311550"/>
                  <a:gd name="connsiteX12" fmla="*/ 434770 w 436885"/>
                  <a:gd name="connsiteY12" fmla="*/ 276547 h 311550"/>
                  <a:gd name="connsiteX13" fmla="*/ 400503 w 436885"/>
                  <a:gd name="connsiteY13" fmla="*/ 310605 h 311550"/>
                  <a:gd name="connsiteX14" fmla="*/ 35525 w 436885"/>
                  <a:gd name="connsiteY14" fmla="*/ 311011 h 311550"/>
                  <a:gd name="connsiteX15" fmla="*/ -225 w 436885"/>
                  <a:gd name="connsiteY15" fmla="*/ 275093 h 311550"/>
                  <a:gd name="connsiteX16" fmla="*/ -981 w 436885"/>
                  <a:gd name="connsiteY16" fmla="*/ 221229 h 31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6885" h="311550">
                    <a:moveTo>
                      <a:pt x="-981" y="221229"/>
                    </a:moveTo>
                    <a:cubicBezTo>
                      <a:pt x="-981" y="218321"/>
                      <a:pt x="-981" y="215412"/>
                      <a:pt x="-981" y="212504"/>
                    </a:cubicBezTo>
                    <a:cubicBezTo>
                      <a:pt x="-981" y="173183"/>
                      <a:pt x="-981" y="133890"/>
                      <a:pt x="-981" y="94598"/>
                    </a:cubicBezTo>
                    <a:cubicBezTo>
                      <a:pt x="-981" y="92649"/>
                      <a:pt x="-981" y="90700"/>
                      <a:pt x="-981" y="88781"/>
                    </a:cubicBezTo>
                    <a:cubicBezTo>
                      <a:pt x="-690" y="71970"/>
                      <a:pt x="328" y="55131"/>
                      <a:pt x="-225" y="38349"/>
                    </a:cubicBezTo>
                    <a:cubicBezTo>
                      <a:pt x="-1040" y="14384"/>
                      <a:pt x="11847" y="-769"/>
                      <a:pt x="38667" y="-536"/>
                    </a:cubicBezTo>
                    <a:cubicBezTo>
                      <a:pt x="158164" y="453"/>
                      <a:pt x="277661" y="453"/>
                      <a:pt x="397158" y="-536"/>
                    </a:cubicBezTo>
                    <a:cubicBezTo>
                      <a:pt x="419294" y="-710"/>
                      <a:pt x="434217" y="10516"/>
                      <a:pt x="434363" y="38524"/>
                    </a:cubicBezTo>
                    <a:cubicBezTo>
                      <a:pt x="434363" y="55247"/>
                      <a:pt x="432210" y="72116"/>
                      <a:pt x="435904" y="88752"/>
                    </a:cubicBezTo>
                    <a:lnTo>
                      <a:pt x="435730" y="94569"/>
                    </a:lnTo>
                    <a:cubicBezTo>
                      <a:pt x="434217" y="133890"/>
                      <a:pt x="434392" y="173095"/>
                      <a:pt x="435730" y="212562"/>
                    </a:cubicBezTo>
                    <a:cubicBezTo>
                      <a:pt x="435730" y="215471"/>
                      <a:pt x="435730" y="218379"/>
                      <a:pt x="435730" y="221287"/>
                    </a:cubicBezTo>
                    <a:cubicBezTo>
                      <a:pt x="435438" y="239698"/>
                      <a:pt x="435293" y="258108"/>
                      <a:pt x="434770" y="276547"/>
                    </a:cubicBezTo>
                    <a:cubicBezTo>
                      <a:pt x="434159" y="298535"/>
                      <a:pt x="422116" y="310605"/>
                      <a:pt x="400503" y="310605"/>
                    </a:cubicBezTo>
                    <a:cubicBezTo>
                      <a:pt x="278853" y="310605"/>
                      <a:pt x="157175" y="310197"/>
                      <a:pt x="35525" y="311011"/>
                    </a:cubicBezTo>
                    <a:cubicBezTo>
                      <a:pt x="11585" y="311011"/>
                      <a:pt x="-283" y="295015"/>
                      <a:pt x="-225" y="275093"/>
                    </a:cubicBezTo>
                    <a:cubicBezTo>
                      <a:pt x="-196" y="256974"/>
                      <a:pt x="-719" y="239087"/>
                      <a:pt x="-981" y="221229"/>
                    </a:cubicBezTo>
                    <a:close/>
                  </a:path>
                </a:pathLst>
              </a:custGeom>
              <a:solidFill>
                <a:schemeClr val="accent6"/>
              </a:solidFill>
              <a:ln w="2907" cap="flat">
                <a:noFill/>
                <a:prstDash val="solid"/>
                <a:miter/>
              </a:ln>
            </p:spPr>
            <p:txBody>
              <a:bodyPr rtlCol="0" anchor="ctr"/>
              <a:lstStyle/>
              <a:p>
                <a:endParaRPr lang="en-US" sz="800"/>
              </a:p>
            </p:txBody>
          </p:sp>
          <p:sp>
            <p:nvSpPr>
              <p:cNvPr id="119" name="Graphic 38">
                <a:extLst>
                  <a:ext uri="{FF2B5EF4-FFF2-40B4-BE49-F238E27FC236}">
                    <a16:creationId xmlns:a16="http://schemas.microsoft.com/office/drawing/2014/main" id="{35B856E5-6F80-AFB4-7882-45FBEDDE84C7}"/>
                  </a:ext>
                </a:extLst>
              </p:cNvPr>
              <p:cNvSpPr/>
              <p:nvPr/>
            </p:nvSpPr>
            <p:spPr>
              <a:xfrm>
                <a:off x="16198942" y="2087976"/>
                <a:ext cx="434216" cy="290579"/>
              </a:xfrm>
              <a:custGeom>
                <a:avLst/>
                <a:gdLst>
                  <a:gd name="connsiteX0" fmla="*/ 5098 w 434216"/>
                  <a:gd name="connsiteY0" fmla="*/ 277533 h 290579"/>
                  <a:gd name="connsiteX1" fmla="*/ -719 w 434216"/>
                  <a:gd name="connsiteY1" fmla="*/ 265406 h 290579"/>
                  <a:gd name="connsiteX2" fmla="*/ -981 w 434216"/>
                  <a:gd name="connsiteY2" fmla="*/ 147732 h 290579"/>
                  <a:gd name="connsiteX3" fmla="*/ -981 w 434216"/>
                  <a:gd name="connsiteY3" fmla="*/ 138716 h 290579"/>
                  <a:gd name="connsiteX4" fmla="*/ -661 w 434216"/>
                  <a:gd name="connsiteY4" fmla="*/ 21275 h 290579"/>
                  <a:gd name="connsiteX5" fmla="*/ 4895 w 434216"/>
                  <a:gd name="connsiteY5" fmla="*/ 11939 h 290579"/>
                  <a:gd name="connsiteX6" fmla="*/ 38899 w 434216"/>
                  <a:gd name="connsiteY6" fmla="*/ -538 h 290579"/>
                  <a:gd name="connsiteX7" fmla="*/ 386482 w 434216"/>
                  <a:gd name="connsiteY7" fmla="*/ -538 h 290579"/>
                  <a:gd name="connsiteX8" fmla="*/ 429795 w 434216"/>
                  <a:gd name="connsiteY8" fmla="*/ 12026 h 290579"/>
                  <a:gd name="connsiteX9" fmla="*/ 432704 w 434216"/>
                  <a:gd name="connsiteY9" fmla="*/ 230156 h 290579"/>
                  <a:gd name="connsiteX10" fmla="*/ 429388 w 434216"/>
                  <a:gd name="connsiteY10" fmla="*/ 277243 h 290579"/>
                  <a:gd name="connsiteX11" fmla="*/ 387529 w 434216"/>
                  <a:gd name="connsiteY11" fmla="*/ 290040 h 290579"/>
                  <a:gd name="connsiteX12" fmla="*/ 39453 w 434216"/>
                  <a:gd name="connsiteY12" fmla="*/ 290040 h 290579"/>
                  <a:gd name="connsiteX13" fmla="*/ 5098 w 434216"/>
                  <a:gd name="connsiteY13" fmla="*/ 277533 h 29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216" h="290579">
                    <a:moveTo>
                      <a:pt x="5098" y="277533"/>
                    </a:moveTo>
                    <a:cubicBezTo>
                      <a:pt x="6088" y="272066"/>
                      <a:pt x="-457" y="270233"/>
                      <a:pt x="-719" y="265406"/>
                    </a:cubicBezTo>
                    <a:lnTo>
                      <a:pt x="-981" y="147732"/>
                    </a:lnTo>
                    <a:cubicBezTo>
                      <a:pt x="-981" y="144823"/>
                      <a:pt x="-981" y="141711"/>
                      <a:pt x="-981" y="138716"/>
                    </a:cubicBezTo>
                    <a:cubicBezTo>
                      <a:pt x="-865" y="99569"/>
                      <a:pt x="-748" y="60422"/>
                      <a:pt x="-661" y="21275"/>
                    </a:cubicBezTo>
                    <a:cubicBezTo>
                      <a:pt x="1608" y="18366"/>
                      <a:pt x="5476" y="16505"/>
                      <a:pt x="4895" y="11939"/>
                    </a:cubicBezTo>
                    <a:cubicBezTo>
                      <a:pt x="14145" y="2108"/>
                      <a:pt x="25664" y="-568"/>
                      <a:pt x="38899" y="-538"/>
                    </a:cubicBezTo>
                    <a:cubicBezTo>
                      <a:pt x="154760" y="-276"/>
                      <a:pt x="270621" y="-276"/>
                      <a:pt x="386482" y="-538"/>
                    </a:cubicBezTo>
                    <a:cubicBezTo>
                      <a:pt x="402539" y="-538"/>
                      <a:pt x="417520" y="363"/>
                      <a:pt x="429795" y="12026"/>
                    </a:cubicBezTo>
                    <a:cubicBezTo>
                      <a:pt x="436370" y="84736"/>
                      <a:pt x="431221" y="157446"/>
                      <a:pt x="432704" y="230156"/>
                    </a:cubicBezTo>
                    <a:cubicBezTo>
                      <a:pt x="433053" y="245948"/>
                      <a:pt x="432995" y="261712"/>
                      <a:pt x="429388" y="277243"/>
                    </a:cubicBezTo>
                    <a:cubicBezTo>
                      <a:pt x="417345" y="287800"/>
                      <a:pt x="403208" y="290098"/>
                      <a:pt x="387529" y="290040"/>
                    </a:cubicBezTo>
                    <a:cubicBezTo>
                      <a:pt x="271494" y="289545"/>
                      <a:pt x="155458" y="289545"/>
                      <a:pt x="39453" y="290040"/>
                    </a:cubicBezTo>
                    <a:cubicBezTo>
                      <a:pt x="25955" y="289865"/>
                      <a:pt x="14844" y="286433"/>
                      <a:pt x="5098" y="277533"/>
                    </a:cubicBezTo>
                    <a:close/>
                  </a:path>
                </a:pathLst>
              </a:custGeom>
              <a:solidFill>
                <a:schemeClr val="accent6"/>
              </a:solidFill>
              <a:ln w="2907" cap="flat">
                <a:noFill/>
                <a:prstDash val="solid"/>
                <a:miter/>
              </a:ln>
            </p:spPr>
            <p:txBody>
              <a:bodyPr rtlCol="0" anchor="ctr"/>
              <a:lstStyle/>
              <a:p>
                <a:endParaRPr lang="en-US" sz="800"/>
              </a:p>
            </p:txBody>
          </p:sp>
          <p:sp>
            <p:nvSpPr>
              <p:cNvPr id="120" name="Graphic 38">
                <a:extLst>
                  <a:ext uri="{FF2B5EF4-FFF2-40B4-BE49-F238E27FC236}">
                    <a16:creationId xmlns:a16="http://schemas.microsoft.com/office/drawing/2014/main" id="{67FE6C30-43EB-6AEB-2899-1EA6AF41B284}"/>
                  </a:ext>
                </a:extLst>
              </p:cNvPr>
              <p:cNvSpPr/>
              <p:nvPr/>
            </p:nvSpPr>
            <p:spPr>
              <a:xfrm>
                <a:off x="16198854" y="1150658"/>
                <a:ext cx="433165" cy="288935"/>
              </a:xfrm>
              <a:custGeom>
                <a:avLst/>
                <a:gdLst>
                  <a:gd name="connsiteX0" fmla="*/ -748 w 433165"/>
                  <a:gd name="connsiteY0" fmla="*/ 69437 h 288935"/>
                  <a:gd name="connsiteX1" fmla="*/ -981 w 433165"/>
                  <a:gd name="connsiteY1" fmla="*/ 62864 h 288935"/>
                  <a:gd name="connsiteX2" fmla="*/ 5942 w 433165"/>
                  <a:gd name="connsiteY2" fmla="*/ 9757 h 288935"/>
                  <a:gd name="connsiteX3" fmla="*/ 5797 w 433165"/>
                  <a:gd name="connsiteY3" fmla="*/ 9931 h 288935"/>
                  <a:gd name="connsiteX4" fmla="*/ 8997 w 433165"/>
                  <a:gd name="connsiteY4" fmla="*/ 6529 h 288935"/>
                  <a:gd name="connsiteX5" fmla="*/ 8997 w 433165"/>
                  <a:gd name="connsiteY5" fmla="*/ 6529 h 288935"/>
                  <a:gd name="connsiteX6" fmla="*/ 21097 w 433165"/>
                  <a:gd name="connsiteY6" fmla="*/ -161 h 288935"/>
                  <a:gd name="connsiteX7" fmla="*/ 24675 w 433165"/>
                  <a:gd name="connsiteY7" fmla="*/ -539 h 288935"/>
                  <a:gd name="connsiteX8" fmla="*/ 410888 w 433165"/>
                  <a:gd name="connsiteY8" fmla="*/ -539 h 288935"/>
                  <a:gd name="connsiteX9" fmla="*/ 413971 w 433165"/>
                  <a:gd name="connsiteY9" fmla="*/ 14 h 288935"/>
                  <a:gd name="connsiteX10" fmla="*/ 432181 w 433165"/>
                  <a:gd name="connsiteY10" fmla="*/ 38870 h 288935"/>
                  <a:gd name="connsiteX11" fmla="*/ 431948 w 433165"/>
                  <a:gd name="connsiteY11" fmla="*/ 249176 h 288935"/>
                  <a:gd name="connsiteX12" fmla="*/ 394132 w 433165"/>
                  <a:gd name="connsiteY12" fmla="*/ 288207 h 288935"/>
                  <a:gd name="connsiteX13" fmla="*/ 36573 w 433165"/>
                  <a:gd name="connsiteY13" fmla="*/ 288207 h 288935"/>
                  <a:gd name="connsiteX14" fmla="*/ 764 w 433165"/>
                  <a:gd name="connsiteY14" fmla="*/ 252637 h 288935"/>
                  <a:gd name="connsiteX15" fmla="*/ -719 w 433165"/>
                  <a:gd name="connsiteY15" fmla="*/ 192782 h 288935"/>
                  <a:gd name="connsiteX16" fmla="*/ -574 w 433165"/>
                  <a:gd name="connsiteY16" fmla="*/ 186617 h 288935"/>
                  <a:gd name="connsiteX17" fmla="*/ -748 w 433165"/>
                  <a:gd name="connsiteY17" fmla="*/ 69437 h 28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3165" h="288935">
                    <a:moveTo>
                      <a:pt x="-748" y="69437"/>
                    </a:moveTo>
                    <a:cubicBezTo>
                      <a:pt x="-748" y="67256"/>
                      <a:pt x="-894" y="65046"/>
                      <a:pt x="-981" y="62864"/>
                    </a:cubicBezTo>
                    <a:cubicBezTo>
                      <a:pt x="2800" y="45414"/>
                      <a:pt x="-2639" y="26655"/>
                      <a:pt x="5942" y="9757"/>
                    </a:cubicBezTo>
                    <a:lnTo>
                      <a:pt x="5797" y="9931"/>
                    </a:lnTo>
                    <a:lnTo>
                      <a:pt x="8997" y="6529"/>
                    </a:lnTo>
                    <a:lnTo>
                      <a:pt x="8997" y="6529"/>
                    </a:lnTo>
                    <a:cubicBezTo>
                      <a:pt x="13680" y="5793"/>
                      <a:pt x="17985" y="3423"/>
                      <a:pt x="21097" y="-161"/>
                    </a:cubicBezTo>
                    <a:lnTo>
                      <a:pt x="24675" y="-539"/>
                    </a:lnTo>
                    <a:lnTo>
                      <a:pt x="410888" y="-539"/>
                    </a:lnTo>
                    <a:lnTo>
                      <a:pt x="413971" y="14"/>
                    </a:lnTo>
                    <a:cubicBezTo>
                      <a:pt x="428777" y="8739"/>
                      <a:pt x="432297" y="22321"/>
                      <a:pt x="432181" y="38870"/>
                    </a:cubicBezTo>
                    <a:cubicBezTo>
                      <a:pt x="431599" y="108963"/>
                      <a:pt x="431948" y="179084"/>
                      <a:pt x="431948" y="249176"/>
                    </a:cubicBezTo>
                    <a:cubicBezTo>
                      <a:pt x="431948" y="279365"/>
                      <a:pt x="423949" y="288120"/>
                      <a:pt x="394132" y="288207"/>
                    </a:cubicBezTo>
                    <a:cubicBezTo>
                      <a:pt x="274956" y="288460"/>
                      <a:pt x="155750" y="288460"/>
                      <a:pt x="36573" y="288207"/>
                    </a:cubicBezTo>
                    <a:cubicBezTo>
                      <a:pt x="11381" y="288207"/>
                      <a:pt x="1375" y="277475"/>
                      <a:pt x="764" y="252637"/>
                    </a:cubicBezTo>
                    <a:cubicBezTo>
                      <a:pt x="241" y="232686"/>
                      <a:pt x="2655" y="212647"/>
                      <a:pt x="-719" y="192782"/>
                    </a:cubicBezTo>
                    <a:cubicBezTo>
                      <a:pt x="-719" y="190718"/>
                      <a:pt x="-719" y="188653"/>
                      <a:pt x="-574" y="186617"/>
                    </a:cubicBezTo>
                    <a:cubicBezTo>
                      <a:pt x="-719" y="147664"/>
                      <a:pt x="-778" y="108605"/>
                      <a:pt x="-748" y="69437"/>
                    </a:cubicBezTo>
                    <a:close/>
                  </a:path>
                </a:pathLst>
              </a:custGeom>
              <a:solidFill>
                <a:schemeClr val="accent1"/>
              </a:solidFill>
              <a:ln w="2907" cap="flat">
                <a:noFill/>
                <a:prstDash val="solid"/>
                <a:miter/>
              </a:ln>
            </p:spPr>
            <p:txBody>
              <a:bodyPr rtlCol="0" anchor="ctr"/>
              <a:lstStyle/>
              <a:p>
                <a:endParaRPr lang="en-US" sz="800"/>
              </a:p>
            </p:txBody>
          </p:sp>
          <p:sp>
            <p:nvSpPr>
              <p:cNvPr id="121" name="Graphic 38">
                <a:extLst>
                  <a:ext uri="{FF2B5EF4-FFF2-40B4-BE49-F238E27FC236}">
                    <a16:creationId xmlns:a16="http://schemas.microsoft.com/office/drawing/2014/main" id="{CFEC2FBA-8EA8-AA06-E618-3EA4F12D0848}"/>
                  </a:ext>
                </a:extLst>
              </p:cNvPr>
              <p:cNvSpPr/>
              <p:nvPr/>
            </p:nvSpPr>
            <p:spPr>
              <a:xfrm>
                <a:off x="15276306" y="2483664"/>
                <a:ext cx="432751" cy="284557"/>
              </a:xfrm>
              <a:custGeom>
                <a:avLst/>
                <a:gdLst>
                  <a:gd name="connsiteX0" fmla="*/ 431770 w 432751"/>
                  <a:gd name="connsiteY0" fmla="*/ 21391 h 284557"/>
                  <a:gd name="connsiteX1" fmla="*/ 431421 w 432751"/>
                  <a:gd name="connsiteY1" fmla="*/ 261683 h 284557"/>
                  <a:gd name="connsiteX2" fmla="*/ 393605 w 432751"/>
                  <a:gd name="connsiteY2" fmla="*/ 284019 h 284557"/>
                  <a:gd name="connsiteX3" fmla="*/ 34911 w 432751"/>
                  <a:gd name="connsiteY3" fmla="*/ 284019 h 284557"/>
                  <a:gd name="connsiteX4" fmla="*/ -578 w 432751"/>
                  <a:gd name="connsiteY4" fmla="*/ 248391 h 284557"/>
                  <a:gd name="connsiteX5" fmla="*/ -926 w 432751"/>
                  <a:gd name="connsiteY5" fmla="*/ 129961 h 284557"/>
                  <a:gd name="connsiteX6" fmla="*/ 848 w 432751"/>
                  <a:gd name="connsiteY6" fmla="*/ 16330 h 284557"/>
                  <a:gd name="connsiteX7" fmla="*/ 3321 w 432751"/>
                  <a:gd name="connsiteY7" fmla="*/ 11880 h 284557"/>
                  <a:gd name="connsiteX8" fmla="*/ 6433 w 432751"/>
                  <a:gd name="connsiteY8" fmla="*/ 8187 h 284557"/>
                  <a:gd name="connsiteX9" fmla="*/ 34387 w 432751"/>
                  <a:gd name="connsiteY9" fmla="*/ -539 h 284557"/>
                  <a:gd name="connsiteX10" fmla="*/ 396718 w 432751"/>
                  <a:gd name="connsiteY10" fmla="*/ -539 h 284557"/>
                  <a:gd name="connsiteX11" fmla="*/ 424817 w 432751"/>
                  <a:gd name="connsiteY11" fmla="*/ 8187 h 284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751" h="284557">
                    <a:moveTo>
                      <a:pt x="431770" y="21391"/>
                    </a:moveTo>
                    <a:lnTo>
                      <a:pt x="431421" y="261683"/>
                    </a:lnTo>
                    <a:cubicBezTo>
                      <a:pt x="424847" y="279133"/>
                      <a:pt x="411059" y="284048"/>
                      <a:pt x="393605" y="284019"/>
                    </a:cubicBezTo>
                    <a:cubicBezTo>
                      <a:pt x="274051" y="283786"/>
                      <a:pt x="154466" y="284019"/>
                      <a:pt x="34911" y="284019"/>
                    </a:cubicBezTo>
                    <a:cubicBezTo>
                      <a:pt x="9778" y="284019"/>
                      <a:pt x="-578" y="273229"/>
                      <a:pt x="-578" y="248391"/>
                    </a:cubicBezTo>
                    <a:cubicBezTo>
                      <a:pt x="-578" y="208924"/>
                      <a:pt x="-1159" y="169428"/>
                      <a:pt x="-926" y="129961"/>
                    </a:cubicBezTo>
                    <a:cubicBezTo>
                      <a:pt x="-693" y="92152"/>
                      <a:pt x="237" y="54343"/>
                      <a:pt x="848" y="16330"/>
                    </a:cubicBezTo>
                    <a:cubicBezTo>
                      <a:pt x="1691" y="14847"/>
                      <a:pt x="2506" y="13421"/>
                      <a:pt x="3321" y="11880"/>
                    </a:cubicBezTo>
                    <a:lnTo>
                      <a:pt x="6433" y="8187"/>
                    </a:lnTo>
                    <a:cubicBezTo>
                      <a:pt x="14549" y="1410"/>
                      <a:pt x="23887" y="-539"/>
                      <a:pt x="34387" y="-539"/>
                    </a:cubicBezTo>
                    <a:cubicBezTo>
                      <a:pt x="155164" y="-422"/>
                      <a:pt x="275941" y="-422"/>
                      <a:pt x="396718" y="-539"/>
                    </a:cubicBezTo>
                    <a:cubicBezTo>
                      <a:pt x="406724" y="-422"/>
                      <a:pt x="416498" y="2631"/>
                      <a:pt x="424817" y="8187"/>
                    </a:cubicBezTo>
                    <a:close/>
                  </a:path>
                </a:pathLst>
              </a:custGeom>
              <a:solidFill>
                <a:schemeClr val="tx2"/>
              </a:solidFill>
              <a:ln w="2907" cap="flat">
                <a:noFill/>
                <a:prstDash val="solid"/>
                <a:miter/>
              </a:ln>
            </p:spPr>
            <p:txBody>
              <a:bodyPr rtlCol="0" anchor="ctr"/>
              <a:lstStyle/>
              <a:p>
                <a:endParaRPr lang="en-US" sz="800"/>
              </a:p>
            </p:txBody>
          </p:sp>
          <p:sp>
            <p:nvSpPr>
              <p:cNvPr id="122" name="Graphic 38">
                <a:extLst>
                  <a:ext uri="{FF2B5EF4-FFF2-40B4-BE49-F238E27FC236}">
                    <a16:creationId xmlns:a16="http://schemas.microsoft.com/office/drawing/2014/main" id="{F4156354-94BC-4125-9ED2-0CF86F659336}"/>
                  </a:ext>
                </a:extLst>
              </p:cNvPr>
              <p:cNvSpPr/>
              <p:nvPr/>
            </p:nvSpPr>
            <p:spPr>
              <a:xfrm>
                <a:off x="15736808" y="2992924"/>
                <a:ext cx="434470" cy="277112"/>
              </a:xfrm>
              <a:custGeom>
                <a:avLst/>
                <a:gdLst>
                  <a:gd name="connsiteX0" fmla="*/ -981 w 434470"/>
                  <a:gd name="connsiteY0" fmla="*/ 132055 h 277112"/>
                  <a:gd name="connsiteX1" fmla="*/ -981 w 434470"/>
                  <a:gd name="connsiteY1" fmla="*/ 122690 h 277112"/>
                  <a:gd name="connsiteX2" fmla="*/ -22 w 434470"/>
                  <a:gd name="connsiteY2" fmla="*/ 41255 h 277112"/>
                  <a:gd name="connsiteX3" fmla="*/ 11847 w 434470"/>
                  <a:gd name="connsiteY3" fmla="*/ 5278 h 277112"/>
                  <a:gd name="connsiteX4" fmla="*/ 42244 w 434470"/>
                  <a:gd name="connsiteY4" fmla="*/ -539 h 277112"/>
                  <a:gd name="connsiteX5" fmla="*/ 395877 w 434470"/>
                  <a:gd name="connsiteY5" fmla="*/ -539 h 277112"/>
                  <a:gd name="connsiteX6" fmla="*/ 421592 w 434470"/>
                  <a:gd name="connsiteY6" fmla="*/ 4638 h 277112"/>
                  <a:gd name="connsiteX7" fmla="*/ 433228 w 434470"/>
                  <a:gd name="connsiteY7" fmla="*/ 37794 h 277112"/>
                  <a:gd name="connsiteX8" fmla="*/ 433489 w 434470"/>
                  <a:gd name="connsiteY8" fmla="*/ 254295 h 277112"/>
                  <a:gd name="connsiteX9" fmla="*/ 430115 w 434470"/>
                  <a:gd name="connsiteY9" fmla="*/ 261595 h 277112"/>
                  <a:gd name="connsiteX10" fmla="*/ 430115 w 434470"/>
                  <a:gd name="connsiteY10" fmla="*/ 262526 h 277112"/>
                  <a:gd name="connsiteX11" fmla="*/ 422959 w 434470"/>
                  <a:gd name="connsiteY11" fmla="*/ 270757 h 277112"/>
                  <a:gd name="connsiteX12" fmla="*/ 392591 w 434470"/>
                  <a:gd name="connsiteY12" fmla="*/ 276574 h 277112"/>
                  <a:gd name="connsiteX13" fmla="*/ 38463 w 434470"/>
                  <a:gd name="connsiteY13" fmla="*/ 276574 h 277112"/>
                  <a:gd name="connsiteX14" fmla="*/ 5622 w 434470"/>
                  <a:gd name="connsiteY14" fmla="*/ 264504 h 277112"/>
                  <a:gd name="connsiteX15" fmla="*/ -545 w 434470"/>
                  <a:gd name="connsiteY15" fmla="*/ 249293 h 277112"/>
                  <a:gd name="connsiteX16" fmla="*/ -981 w 434470"/>
                  <a:gd name="connsiteY16" fmla="*/ 132055 h 277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4470" h="277112">
                    <a:moveTo>
                      <a:pt x="-981" y="132055"/>
                    </a:moveTo>
                    <a:lnTo>
                      <a:pt x="-981" y="122690"/>
                    </a:lnTo>
                    <a:cubicBezTo>
                      <a:pt x="1724" y="95642"/>
                      <a:pt x="95" y="68507"/>
                      <a:pt x="-22" y="41255"/>
                    </a:cubicBezTo>
                    <a:cubicBezTo>
                      <a:pt x="-22" y="27557"/>
                      <a:pt x="2597" y="15545"/>
                      <a:pt x="11847" y="5278"/>
                    </a:cubicBezTo>
                    <a:cubicBezTo>
                      <a:pt x="21359" y="-44"/>
                      <a:pt x="31656" y="-539"/>
                      <a:pt x="42244" y="-539"/>
                    </a:cubicBezTo>
                    <a:cubicBezTo>
                      <a:pt x="160112" y="-393"/>
                      <a:pt x="277980" y="-393"/>
                      <a:pt x="395877" y="-539"/>
                    </a:cubicBezTo>
                    <a:cubicBezTo>
                      <a:pt x="404924" y="-539"/>
                      <a:pt x="413593" y="72"/>
                      <a:pt x="421592" y="4638"/>
                    </a:cubicBezTo>
                    <a:cubicBezTo>
                      <a:pt x="430726" y="13829"/>
                      <a:pt x="433228" y="24997"/>
                      <a:pt x="433228" y="37794"/>
                    </a:cubicBezTo>
                    <a:cubicBezTo>
                      <a:pt x="433228" y="109951"/>
                      <a:pt x="433228" y="182138"/>
                      <a:pt x="433489" y="254295"/>
                    </a:cubicBezTo>
                    <a:cubicBezTo>
                      <a:pt x="429271" y="255284"/>
                      <a:pt x="430231" y="258716"/>
                      <a:pt x="430115" y="261595"/>
                    </a:cubicBezTo>
                    <a:lnTo>
                      <a:pt x="430115" y="262526"/>
                    </a:lnTo>
                    <a:cubicBezTo>
                      <a:pt x="426683" y="264358"/>
                      <a:pt x="423395" y="266336"/>
                      <a:pt x="422959" y="270757"/>
                    </a:cubicBezTo>
                    <a:cubicBezTo>
                      <a:pt x="413447" y="276021"/>
                      <a:pt x="403179" y="276574"/>
                      <a:pt x="392591" y="276574"/>
                    </a:cubicBezTo>
                    <a:cubicBezTo>
                      <a:pt x="274548" y="276428"/>
                      <a:pt x="156505" y="276428"/>
                      <a:pt x="38463" y="276574"/>
                    </a:cubicBezTo>
                    <a:cubicBezTo>
                      <a:pt x="25576" y="276574"/>
                      <a:pt x="14668" y="273665"/>
                      <a:pt x="5622" y="264504"/>
                    </a:cubicBezTo>
                    <a:cubicBezTo>
                      <a:pt x="3557" y="259414"/>
                      <a:pt x="1520" y="254353"/>
                      <a:pt x="-545" y="249293"/>
                    </a:cubicBezTo>
                    <a:cubicBezTo>
                      <a:pt x="328" y="210407"/>
                      <a:pt x="1026" y="171231"/>
                      <a:pt x="-981" y="132055"/>
                    </a:cubicBezTo>
                    <a:close/>
                  </a:path>
                </a:pathLst>
              </a:custGeom>
              <a:solidFill>
                <a:schemeClr val="accent1"/>
              </a:solidFill>
              <a:ln w="2907" cap="flat">
                <a:noFill/>
                <a:prstDash val="solid"/>
                <a:miter/>
              </a:ln>
            </p:spPr>
            <p:txBody>
              <a:bodyPr rtlCol="0" anchor="ctr"/>
              <a:lstStyle/>
              <a:p>
                <a:endParaRPr lang="en-US" sz="800"/>
              </a:p>
            </p:txBody>
          </p:sp>
          <p:sp>
            <p:nvSpPr>
              <p:cNvPr id="123" name="Graphic 38">
                <a:extLst>
                  <a:ext uri="{FF2B5EF4-FFF2-40B4-BE49-F238E27FC236}">
                    <a16:creationId xmlns:a16="http://schemas.microsoft.com/office/drawing/2014/main" id="{42567594-15E7-BAEF-59CF-D5D3F45A0980}"/>
                  </a:ext>
                </a:extLst>
              </p:cNvPr>
              <p:cNvSpPr/>
              <p:nvPr/>
            </p:nvSpPr>
            <p:spPr>
              <a:xfrm>
                <a:off x="15274702" y="2005960"/>
                <a:ext cx="433854" cy="236714"/>
              </a:xfrm>
              <a:custGeom>
                <a:avLst/>
                <a:gdLst>
                  <a:gd name="connsiteX0" fmla="*/ -836 w 433854"/>
                  <a:gd name="connsiteY0" fmla="*/ 103088 h 236714"/>
                  <a:gd name="connsiteX1" fmla="*/ -981 w 433854"/>
                  <a:gd name="connsiteY1" fmla="*/ 94101 h 236714"/>
                  <a:gd name="connsiteX2" fmla="*/ 793 w 433854"/>
                  <a:gd name="connsiteY2" fmla="*/ 35933 h 236714"/>
                  <a:gd name="connsiteX3" fmla="*/ 37765 w 433854"/>
                  <a:gd name="connsiteY3" fmla="*/ -277 h 236714"/>
                  <a:gd name="connsiteX4" fmla="*/ 396808 w 433854"/>
                  <a:gd name="connsiteY4" fmla="*/ -539 h 236714"/>
                  <a:gd name="connsiteX5" fmla="*/ 432384 w 433854"/>
                  <a:gd name="connsiteY5" fmla="*/ 18133 h 236714"/>
                  <a:gd name="connsiteX6" fmla="*/ 432850 w 433854"/>
                  <a:gd name="connsiteY6" fmla="*/ 203398 h 236714"/>
                  <a:gd name="connsiteX7" fmla="*/ 429039 w 433854"/>
                  <a:gd name="connsiteY7" fmla="*/ 226520 h 236714"/>
                  <a:gd name="connsiteX8" fmla="*/ 391980 w 433854"/>
                  <a:gd name="connsiteY8" fmla="*/ 236176 h 236714"/>
                  <a:gd name="connsiteX9" fmla="*/ 39539 w 433854"/>
                  <a:gd name="connsiteY9" fmla="*/ 236176 h 236714"/>
                  <a:gd name="connsiteX10" fmla="*/ 5738 w 433854"/>
                  <a:gd name="connsiteY10" fmla="*/ 226316 h 236714"/>
                  <a:gd name="connsiteX11" fmla="*/ 1229 w 433854"/>
                  <a:gd name="connsiteY11" fmla="*/ 123475 h 236714"/>
                  <a:gd name="connsiteX12" fmla="*/ -690 w 433854"/>
                  <a:gd name="connsiteY12" fmla="*/ 103495 h 23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854" h="236714">
                    <a:moveTo>
                      <a:pt x="-836" y="103088"/>
                    </a:moveTo>
                    <a:cubicBezTo>
                      <a:pt x="-836" y="100179"/>
                      <a:pt x="-836" y="97096"/>
                      <a:pt x="-981" y="94101"/>
                    </a:cubicBezTo>
                    <a:cubicBezTo>
                      <a:pt x="2888" y="74818"/>
                      <a:pt x="95" y="55302"/>
                      <a:pt x="793" y="35933"/>
                    </a:cubicBezTo>
                    <a:cubicBezTo>
                      <a:pt x="1753" y="9961"/>
                      <a:pt x="11440" y="-248"/>
                      <a:pt x="37765" y="-277"/>
                    </a:cubicBezTo>
                    <a:cubicBezTo>
                      <a:pt x="157465" y="-277"/>
                      <a:pt x="277137" y="-277"/>
                      <a:pt x="396808" y="-539"/>
                    </a:cubicBezTo>
                    <a:cubicBezTo>
                      <a:pt x="412488" y="-539"/>
                      <a:pt x="424297" y="4725"/>
                      <a:pt x="432384" y="18133"/>
                    </a:cubicBezTo>
                    <a:cubicBezTo>
                      <a:pt x="432617" y="79879"/>
                      <a:pt x="432966" y="141653"/>
                      <a:pt x="432850" y="203398"/>
                    </a:cubicBezTo>
                    <a:cubicBezTo>
                      <a:pt x="432850" y="211105"/>
                      <a:pt x="430377" y="218812"/>
                      <a:pt x="429039" y="226520"/>
                    </a:cubicBezTo>
                    <a:cubicBezTo>
                      <a:pt x="417985" y="234751"/>
                      <a:pt x="405419" y="236205"/>
                      <a:pt x="391980" y="236176"/>
                    </a:cubicBezTo>
                    <a:cubicBezTo>
                      <a:pt x="274490" y="235943"/>
                      <a:pt x="157000" y="235943"/>
                      <a:pt x="39539" y="236176"/>
                    </a:cubicBezTo>
                    <a:cubicBezTo>
                      <a:pt x="27119" y="236176"/>
                      <a:pt x="15425" y="235100"/>
                      <a:pt x="5738" y="226316"/>
                    </a:cubicBezTo>
                    <a:cubicBezTo>
                      <a:pt x="-2755" y="192346"/>
                      <a:pt x="2829" y="157765"/>
                      <a:pt x="1229" y="123475"/>
                    </a:cubicBezTo>
                    <a:cubicBezTo>
                      <a:pt x="910" y="116815"/>
                      <a:pt x="2859" y="109893"/>
                      <a:pt x="-690" y="103495"/>
                    </a:cubicBezTo>
                    <a:close/>
                  </a:path>
                </a:pathLst>
              </a:custGeom>
              <a:solidFill>
                <a:schemeClr val="accent5"/>
              </a:solidFill>
              <a:ln w="2907" cap="flat">
                <a:noFill/>
                <a:prstDash val="solid"/>
                <a:miter/>
              </a:ln>
            </p:spPr>
            <p:txBody>
              <a:bodyPr rtlCol="0" anchor="ctr"/>
              <a:lstStyle/>
              <a:p>
                <a:endParaRPr lang="en-US" sz="800"/>
              </a:p>
            </p:txBody>
          </p:sp>
          <p:sp>
            <p:nvSpPr>
              <p:cNvPr id="124" name="Graphic 38">
                <a:extLst>
                  <a:ext uri="{FF2B5EF4-FFF2-40B4-BE49-F238E27FC236}">
                    <a16:creationId xmlns:a16="http://schemas.microsoft.com/office/drawing/2014/main" id="{D969D5DB-E267-BC9C-1A1E-BB2756B7420B}"/>
                  </a:ext>
                </a:extLst>
              </p:cNvPr>
              <p:cNvSpPr/>
              <p:nvPr/>
            </p:nvSpPr>
            <p:spPr>
              <a:xfrm>
                <a:off x="16199087" y="1838349"/>
                <a:ext cx="433665" cy="235958"/>
              </a:xfrm>
              <a:custGeom>
                <a:avLst/>
                <a:gdLst>
                  <a:gd name="connsiteX0" fmla="*/ -981 w 433665"/>
                  <a:gd name="connsiteY0" fmla="*/ 141275 h 235958"/>
                  <a:gd name="connsiteX1" fmla="*/ 1026 w 433665"/>
                  <a:gd name="connsiteY1" fmla="*/ 51871 h 235958"/>
                  <a:gd name="connsiteX2" fmla="*/ 4400 w 433665"/>
                  <a:gd name="connsiteY2" fmla="*/ 11357 h 235958"/>
                  <a:gd name="connsiteX3" fmla="*/ 5128 w 433665"/>
                  <a:gd name="connsiteY3" fmla="*/ 10397 h 235958"/>
                  <a:gd name="connsiteX4" fmla="*/ 7512 w 433665"/>
                  <a:gd name="connsiteY4" fmla="*/ 8361 h 235958"/>
                  <a:gd name="connsiteX5" fmla="*/ 8327 w 433665"/>
                  <a:gd name="connsiteY5" fmla="*/ 7750 h 235958"/>
                  <a:gd name="connsiteX6" fmla="*/ 11381 w 433665"/>
                  <a:gd name="connsiteY6" fmla="*/ 5278 h 235958"/>
                  <a:gd name="connsiteX7" fmla="*/ 42129 w 433665"/>
                  <a:gd name="connsiteY7" fmla="*/ -539 h 235958"/>
                  <a:gd name="connsiteX8" fmla="*/ 393376 w 433665"/>
                  <a:gd name="connsiteY8" fmla="*/ -539 h 235958"/>
                  <a:gd name="connsiteX9" fmla="*/ 426101 w 433665"/>
                  <a:gd name="connsiteY9" fmla="*/ 8710 h 235958"/>
                  <a:gd name="connsiteX10" fmla="*/ 432617 w 433665"/>
                  <a:gd name="connsiteY10" fmla="*/ 40702 h 235958"/>
                  <a:gd name="connsiteX11" fmla="*/ 432617 w 433665"/>
                  <a:gd name="connsiteY11" fmla="*/ 190601 h 235958"/>
                  <a:gd name="connsiteX12" fmla="*/ 429941 w 433665"/>
                  <a:gd name="connsiteY12" fmla="*/ 220325 h 235958"/>
                  <a:gd name="connsiteX13" fmla="*/ 395500 w 433665"/>
                  <a:gd name="connsiteY13" fmla="*/ 235420 h 235958"/>
                  <a:gd name="connsiteX14" fmla="*/ 36427 w 433665"/>
                  <a:gd name="connsiteY14" fmla="*/ 235100 h 235958"/>
                  <a:gd name="connsiteX15" fmla="*/ 17635 w 433665"/>
                  <a:gd name="connsiteY15" fmla="*/ 233122 h 235958"/>
                  <a:gd name="connsiteX16" fmla="*/ 6291 w 433665"/>
                  <a:gd name="connsiteY16" fmla="*/ 225851 h 235958"/>
                  <a:gd name="connsiteX17" fmla="*/ 5476 w 433665"/>
                  <a:gd name="connsiteY17" fmla="*/ 226491 h 235958"/>
                  <a:gd name="connsiteX18" fmla="*/ 6349 w 433665"/>
                  <a:gd name="connsiteY18" fmla="*/ 225909 h 235958"/>
                  <a:gd name="connsiteX19" fmla="*/ 1986 w 433665"/>
                  <a:gd name="connsiteY19" fmla="*/ 217853 h 235958"/>
                  <a:gd name="connsiteX20" fmla="*/ 1665 w 433665"/>
                  <a:gd name="connsiteY20" fmla="*/ 217097 h 235958"/>
                  <a:gd name="connsiteX21" fmla="*/ -836 w 433665"/>
                  <a:gd name="connsiteY21" fmla="*/ 141478 h 235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3665" h="235958">
                    <a:moveTo>
                      <a:pt x="-981" y="141275"/>
                    </a:moveTo>
                    <a:cubicBezTo>
                      <a:pt x="3673" y="111551"/>
                      <a:pt x="-21" y="81653"/>
                      <a:pt x="1026" y="51871"/>
                    </a:cubicBezTo>
                    <a:cubicBezTo>
                      <a:pt x="1491" y="38288"/>
                      <a:pt x="269" y="24619"/>
                      <a:pt x="4400" y="11357"/>
                    </a:cubicBezTo>
                    <a:lnTo>
                      <a:pt x="5128" y="10397"/>
                    </a:lnTo>
                    <a:lnTo>
                      <a:pt x="7512" y="8361"/>
                    </a:lnTo>
                    <a:lnTo>
                      <a:pt x="8327" y="7750"/>
                    </a:lnTo>
                    <a:lnTo>
                      <a:pt x="11381" y="5278"/>
                    </a:lnTo>
                    <a:cubicBezTo>
                      <a:pt x="21039" y="72"/>
                      <a:pt x="31452" y="-539"/>
                      <a:pt x="42129" y="-539"/>
                    </a:cubicBezTo>
                    <a:cubicBezTo>
                      <a:pt x="159211" y="-422"/>
                      <a:pt x="276294" y="-422"/>
                      <a:pt x="393376" y="-539"/>
                    </a:cubicBezTo>
                    <a:cubicBezTo>
                      <a:pt x="405477" y="-539"/>
                      <a:pt x="416298" y="1701"/>
                      <a:pt x="426101" y="8710"/>
                    </a:cubicBezTo>
                    <a:cubicBezTo>
                      <a:pt x="430871" y="18686"/>
                      <a:pt x="433111" y="29651"/>
                      <a:pt x="432617" y="40702"/>
                    </a:cubicBezTo>
                    <a:cubicBezTo>
                      <a:pt x="432297" y="90669"/>
                      <a:pt x="432355" y="140635"/>
                      <a:pt x="432617" y="190601"/>
                    </a:cubicBezTo>
                    <a:cubicBezTo>
                      <a:pt x="432763" y="200577"/>
                      <a:pt x="431890" y="210553"/>
                      <a:pt x="429941" y="220325"/>
                    </a:cubicBezTo>
                    <a:cubicBezTo>
                      <a:pt x="421388" y="231958"/>
                      <a:pt x="409753" y="235449"/>
                      <a:pt x="395500" y="235420"/>
                    </a:cubicBezTo>
                    <a:cubicBezTo>
                      <a:pt x="275828" y="235071"/>
                      <a:pt x="156127" y="235245"/>
                      <a:pt x="36427" y="235100"/>
                    </a:cubicBezTo>
                    <a:cubicBezTo>
                      <a:pt x="30144" y="234780"/>
                      <a:pt x="23861" y="234111"/>
                      <a:pt x="17635" y="233122"/>
                    </a:cubicBezTo>
                    <a:lnTo>
                      <a:pt x="6291" y="225851"/>
                    </a:lnTo>
                    <a:lnTo>
                      <a:pt x="5476" y="226491"/>
                    </a:lnTo>
                    <a:lnTo>
                      <a:pt x="6349" y="225909"/>
                    </a:lnTo>
                    <a:cubicBezTo>
                      <a:pt x="6378" y="222652"/>
                      <a:pt x="4720" y="219598"/>
                      <a:pt x="1986" y="217853"/>
                    </a:cubicBezTo>
                    <a:lnTo>
                      <a:pt x="1665" y="217097"/>
                    </a:lnTo>
                    <a:cubicBezTo>
                      <a:pt x="-312" y="191910"/>
                      <a:pt x="3702" y="166490"/>
                      <a:pt x="-836" y="141478"/>
                    </a:cubicBezTo>
                    <a:close/>
                  </a:path>
                </a:pathLst>
              </a:custGeom>
              <a:solidFill>
                <a:schemeClr val="tx2"/>
              </a:solidFill>
              <a:ln w="2907" cap="flat">
                <a:noFill/>
                <a:prstDash val="solid"/>
                <a:miter/>
              </a:ln>
            </p:spPr>
            <p:txBody>
              <a:bodyPr rtlCol="0" anchor="ctr"/>
              <a:lstStyle/>
              <a:p>
                <a:endParaRPr lang="en-US" sz="800"/>
              </a:p>
            </p:txBody>
          </p:sp>
          <p:sp>
            <p:nvSpPr>
              <p:cNvPr id="125" name="Graphic 38">
                <a:extLst>
                  <a:ext uri="{FF2B5EF4-FFF2-40B4-BE49-F238E27FC236}">
                    <a16:creationId xmlns:a16="http://schemas.microsoft.com/office/drawing/2014/main" id="{DA004BCB-C286-8288-3D5D-D87CC25F86FE}"/>
                  </a:ext>
                </a:extLst>
              </p:cNvPr>
              <p:cNvSpPr/>
              <p:nvPr/>
            </p:nvSpPr>
            <p:spPr>
              <a:xfrm>
                <a:off x="14812801" y="3100505"/>
                <a:ext cx="435174" cy="159361"/>
              </a:xfrm>
              <a:custGeom>
                <a:avLst/>
                <a:gdLst>
                  <a:gd name="connsiteX0" fmla="*/ 4720 w 435174"/>
                  <a:gd name="connsiteY0" fmla="*/ 147965 h 159361"/>
                  <a:gd name="connsiteX1" fmla="*/ -458 w 435174"/>
                  <a:gd name="connsiteY1" fmla="*/ 138135 h 159361"/>
                  <a:gd name="connsiteX2" fmla="*/ -981 w 435174"/>
                  <a:gd name="connsiteY2" fmla="*/ 24504 h 159361"/>
                  <a:gd name="connsiteX3" fmla="*/ 4836 w 435174"/>
                  <a:gd name="connsiteY3" fmla="*/ 12143 h 159361"/>
                  <a:gd name="connsiteX4" fmla="*/ 43495 w 435174"/>
                  <a:gd name="connsiteY4" fmla="*/ -538 h 159361"/>
                  <a:gd name="connsiteX5" fmla="*/ 390613 w 435174"/>
                  <a:gd name="connsiteY5" fmla="*/ -538 h 159361"/>
                  <a:gd name="connsiteX6" fmla="*/ 429475 w 435174"/>
                  <a:gd name="connsiteY6" fmla="*/ 11940 h 159361"/>
                  <a:gd name="connsiteX7" fmla="*/ 434188 w 435174"/>
                  <a:gd name="connsiteY7" fmla="*/ 38115 h 159361"/>
                  <a:gd name="connsiteX8" fmla="*/ 434188 w 435174"/>
                  <a:gd name="connsiteY8" fmla="*/ 120219 h 159361"/>
                  <a:gd name="connsiteX9" fmla="*/ 394830 w 435174"/>
                  <a:gd name="connsiteY9" fmla="*/ 158814 h 159361"/>
                  <a:gd name="connsiteX10" fmla="*/ 36165 w 435174"/>
                  <a:gd name="connsiteY10" fmla="*/ 158814 h 159361"/>
                  <a:gd name="connsiteX11" fmla="*/ 4720 w 435174"/>
                  <a:gd name="connsiteY11" fmla="*/ 147965 h 159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5174" h="159361">
                    <a:moveTo>
                      <a:pt x="4720" y="147965"/>
                    </a:moveTo>
                    <a:cubicBezTo>
                      <a:pt x="4371" y="143981"/>
                      <a:pt x="5185" y="139240"/>
                      <a:pt x="-458" y="138135"/>
                    </a:cubicBezTo>
                    <a:lnTo>
                      <a:pt x="-981" y="24504"/>
                    </a:lnTo>
                    <a:cubicBezTo>
                      <a:pt x="95" y="19996"/>
                      <a:pt x="5651" y="17582"/>
                      <a:pt x="4836" y="12143"/>
                    </a:cubicBezTo>
                    <a:cubicBezTo>
                      <a:pt x="15716" y="1731"/>
                      <a:pt x="28631" y="-596"/>
                      <a:pt x="43495" y="-538"/>
                    </a:cubicBezTo>
                    <a:cubicBezTo>
                      <a:pt x="159182" y="-72"/>
                      <a:pt x="274868" y="-72"/>
                      <a:pt x="390613" y="-538"/>
                    </a:cubicBezTo>
                    <a:cubicBezTo>
                      <a:pt x="405419" y="-538"/>
                      <a:pt x="418480" y="1615"/>
                      <a:pt x="429475" y="11940"/>
                    </a:cubicBezTo>
                    <a:cubicBezTo>
                      <a:pt x="430260" y="20665"/>
                      <a:pt x="434362" y="28895"/>
                      <a:pt x="434188" y="38115"/>
                    </a:cubicBezTo>
                    <a:cubicBezTo>
                      <a:pt x="433693" y="65483"/>
                      <a:pt x="434188" y="92851"/>
                      <a:pt x="434188" y="120219"/>
                    </a:cubicBezTo>
                    <a:cubicBezTo>
                      <a:pt x="434013" y="151194"/>
                      <a:pt x="426275" y="158814"/>
                      <a:pt x="394830" y="158814"/>
                    </a:cubicBezTo>
                    <a:cubicBezTo>
                      <a:pt x="275275" y="158814"/>
                      <a:pt x="155720" y="158814"/>
                      <a:pt x="36165" y="158814"/>
                    </a:cubicBezTo>
                    <a:cubicBezTo>
                      <a:pt x="24035" y="158959"/>
                      <a:pt x="13098" y="157534"/>
                      <a:pt x="4720" y="147965"/>
                    </a:cubicBezTo>
                    <a:close/>
                  </a:path>
                </a:pathLst>
              </a:custGeom>
              <a:solidFill>
                <a:schemeClr val="accent6"/>
              </a:solidFill>
              <a:ln w="2907" cap="flat">
                <a:noFill/>
                <a:prstDash val="solid"/>
                <a:miter/>
              </a:ln>
            </p:spPr>
            <p:txBody>
              <a:bodyPr rtlCol="0" anchor="ctr"/>
              <a:lstStyle/>
              <a:p>
                <a:endParaRPr lang="en-US" sz="800"/>
              </a:p>
            </p:txBody>
          </p:sp>
          <p:sp>
            <p:nvSpPr>
              <p:cNvPr id="126" name="Graphic 38">
                <a:extLst>
                  <a:ext uri="{FF2B5EF4-FFF2-40B4-BE49-F238E27FC236}">
                    <a16:creationId xmlns:a16="http://schemas.microsoft.com/office/drawing/2014/main" id="{A61761D3-3DB1-EE16-31B2-3DE176EABE1B}"/>
                  </a:ext>
                </a:extLst>
              </p:cNvPr>
              <p:cNvSpPr/>
              <p:nvPr/>
            </p:nvSpPr>
            <p:spPr>
              <a:xfrm>
                <a:off x="15264713" y="2359680"/>
                <a:ext cx="456183" cy="122992"/>
              </a:xfrm>
              <a:custGeom>
                <a:avLst/>
                <a:gdLst>
                  <a:gd name="connsiteX0" fmla="*/ 217285 w 456183"/>
                  <a:gd name="connsiteY0" fmla="*/ -162 h 122992"/>
                  <a:gd name="connsiteX1" fmla="*/ 400544 w 456183"/>
                  <a:gd name="connsiteY1" fmla="*/ -162 h 122992"/>
                  <a:gd name="connsiteX2" fmla="*/ 446097 w 456183"/>
                  <a:gd name="connsiteY2" fmla="*/ 2572 h 122992"/>
                  <a:gd name="connsiteX3" fmla="*/ 455202 w 456183"/>
                  <a:gd name="connsiteY3" fmla="*/ 12664 h 122992"/>
                  <a:gd name="connsiteX4" fmla="*/ 455202 w 456183"/>
                  <a:gd name="connsiteY4" fmla="*/ 113789 h 122992"/>
                  <a:gd name="connsiteX5" fmla="*/ 446824 w 456183"/>
                  <a:gd name="connsiteY5" fmla="*/ 121525 h 122992"/>
                  <a:gd name="connsiteX6" fmla="*/ 407700 w 456183"/>
                  <a:gd name="connsiteY6" fmla="*/ 119605 h 122992"/>
                  <a:gd name="connsiteX7" fmla="*/ 47202 w 456183"/>
                  <a:gd name="connsiteY7" fmla="*/ 119897 h 122992"/>
                  <a:gd name="connsiteX8" fmla="*/ 12790 w 456183"/>
                  <a:gd name="connsiteY8" fmla="*/ 121176 h 122992"/>
                  <a:gd name="connsiteX9" fmla="*/ -969 w 456183"/>
                  <a:gd name="connsiteY9" fmla="*/ 106634 h 122992"/>
                  <a:gd name="connsiteX10" fmla="*/ -969 w 456183"/>
                  <a:gd name="connsiteY10" fmla="*/ 16474 h 122992"/>
                  <a:gd name="connsiteX11" fmla="*/ 14768 w 456183"/>
                  <a:gd name="connsiteY11" fmla="*/ -279 h 122992"/>
                  <a:gd name="connsiteX12" fmla="*/ 28964 w 456183"/>
                  <a:gd name="connsiteY12" fmla="*/ -511 h 12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183" h="122992">
                    <a:moveTo>
                      <a:pt x="217285" y="-162"/>
                    </a:moveTo>
                    <a:cubicBezTo>
                      <a:pt x="278371" y="-162"/>
                      <a:pt x="339458" y="-366"/>
                      <a:pt x="400544" y="-162"/>
                    </a:cubicBezTo>
                    <a:cubicBezTo>
                      <a:pt x="415729" y="-162"/>
                      <a:pt x="430884" y="1845"/>
                      <a:pt x="446097" y="2572"/>
                    </a:cubicBezTo>
                    <a:cubicBezTo>
                      <a:pt x="452962" y="2891"/>
                      <a:pt x="455202" y="6382"/>
                      <a:pt x="455202" y="12664"/>
                    </a:cubicBezTo>
                    <a:cubicBezTo>
                      <a:pt x="455202" y="46372"/>
                      <a:pt x="455202" y="80080"/>
                      <a:pt x="455202" y="113789"/>
                    </a:cubicBezTo>
                    <a:cubicBezTo>
                      <a:pt x="455202" y="119780"/>
                      <a:pt x="452642" y="120275"/>
                      <a:pt x="446824" y="121525"/>
                    </a:cubicBezTo>
                    <a:cubicBezTo>
                      <a:pt x="433298" y="124434"/>
                      <a:pt x="420644" y="119576"/>
                      <a:pt x="407700" y="119605"/>
                    </a:cubicBezTo>
                    <a:cubicBezTo>
                      <a:pt x="287534" y="119984"/>
                      <a:pt x="167368" y="119809"/>
                      <a:pt x="47202" y="119897"/>
                    </a:cubicBezTo>
                    <a:cubicBezTo>
                      <a:pt x="35741" y="119897"/>
                      <a:pt x="24251" y="121234"/>
                      <a:pt x="12790" y="121176"/>
                    </a:cubicBezTo>
                    <a:cubicBezTo>
                      <a:pt x="3772" y="121176"/>
                      <a:pt x="-1231" y="117512"/>
                      <a:pt x="-969" y="106634"/>
                    </a:cubicBezTo>
                    <a:cubicBezTo>
                      <a:pt x="-242" y="76620"/>
                      <a:pt x="-184" y="46576"/>
                      <a:pt x="-969" y="16474"/>
                    </a:cubicBezTo>
                    <a:cubicBezTo>
                      <a:pt x="-1289" y="4375"/>
                      <a:pt x="4645" y="594"/>
                      <a:pt x="14768" y="-279"/>
                    </a:cubicBezTo>
                    <a:cubicBezTo>
                      <a:pt x="19481" y="-657"/>
                      <a:pt x="24222" y="-511"/>
                      <a:pt x="28964" y="-511"/>
                    </a:cubicBezTo>
                    <a:close/>
                  </a:path>
                </a:pathLst>
              </a:custGeom>
              <a:solidFill>
                <a:srgbClr val="FCFDFD"/>
              </a:solidFill>
              <a:ln w="2907" cap="flat">
                <a:noFill/>
                <a:prstDash val="solid"/>
                <a:miter/>
              </a:ln>
            </p:spPr>
            <p:txBody>
              <a:bodyPr rtlCol="0" anchor="ctr"/>
              <a:lstStyle/>
              <a:p>
                <a:endParaRPr lang="en-US" sz="800"/>
              </a:p>
            </p:txBody>
          </p:sp>
          <p:sp>
            <p:nvSpPr>
              <p:cNvPr id="127" name="Graphic 38">
                <a:extLst>
                  <a:ext uri="{FF2B5EF4-FFF2-40B4-BE49-F238E27FC236}">
                    <a16:creationId xmlns:a16="http://schemas.microsoft.com/office/drawing/2014/main" id="{7F1B1E38-715F-B3F7-FF39-10056E5C4404}"/>
                  </a:ext>
                </a:extLst>
              </p:cNvPr>
              <p:cNvSpPr/>
              <p:nvPr/>
            </p:nvSpPr>
            <p:spPr>
              <a:xfrm>
                <a:off x="15727045" y="3378345"/>
                <a:ext cx="453356" cy="120843"/>
              </a:xfrm>
              <a:custGeom>
                <a:avLst/>
                <a:gdLst>
                  <a:gd name="connsiteX0" fmla="*/ 224126 w 453356"/>
                  <a:gd name="connsiteY0" fmla="*/ 120072 h 120843"/>
                  <a:gd name="connsiteX1" fmla="*/ 15239 w 453356"/>
                  <a:gd name="connsiteY1" fmla="*/ 120305 h 120843"/>
                  <a:gd name="connsiteX2" fmla="*/ -964 w 453356"/>
                  <a:gd name="connsiteY2" fmla="*/ 104164 h 120843"/>
                  <a:gd name="connsiteX3" fmla="*/ -964 w 453356"/>
                  <a:gd name="connsiteY3" fmla="*/ 14003 h 120843"/>
                  <a:gd name="connsiteX4" fmla="*/ 13726 w 453356"/>
                  <a:gd name="connsiteY4" fmla="*/ -539 h 120843"/>
                  <a:gd name="connsiteX5" fmla="*/ 437812 w 453356"/>
                  <a:gd name="connsiteY5" fmla="*/ -539 h 120843"/>
                  <a:gd name="connsiteX6" fmla="*/ 452357 w 453356"/>
                  <a:gd name="connsiteY6" fmla="*/ 14003 h 120843"/>
                  <a:gd name="connsiteX7" fmla="*/ 452357 w 453356"/>
                  <a:gd name="connsiteY7" fmla="*/ 104164 h 120843"/>
                  <a:gd name="connsiteX8" fmla="*/ 435979 w 453356"/>
                  <a:gd name="connsiteY8" fmla="*/ 120218 h 120843"/>
                  <a:gd name="connsiteX9" fmla="*/ 224126 w 453356"/>
                  <a:gd name="connsiteY9" fmla="*/ 120072 h 120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356" h="120843">
                    <a:moveTo>
                      <a:pt x="224126" y="120072"/>
                    </a:moveTo>
                    <a:cubicBezTo>
                      <a:pt x="154487" y="120072"/>
                      <a:pt x="84848" y="119782"/>
                      <a:pt x="15239" y="120305"/>
                    </a:cubicBezTo>
                    <a:cubicBezTo>
                      <a:pt x="2759" y="120305"/>
                      <a:pt x="-1284" y="116728"/>
                      <a:pt x="-964" y="104164"/>
                    </a:cubicBezTo>
                    <a:cubicBezTo>
                      <a:pt x="-149" y="74120"/>
                      <a:pt x="-295" y="44047"/>
                      <a:pt x="-964" y="14003"/>
                    </a:cubicBezTo>
                    <a:cubicBezTo>
                      <a:pt x="-1168" y="2806"/>
                      <a:pt x="2818" y="-539"/>
                      <a:pt x="13726" y="-539"/>
                    </a:cubicBezTo>
                    <a:cubicBezTo>
                      <a:pt x="155069" y="-277"/>
                      <a:pt x="296411" y="-277"/>
                      <a:pt x="437812" y="-539"/>
                    </a:cubicBezTo>
                    <a:cubicBezTo>
                      <a:pt x="448837" y="-539"/>
                      <a:pt x="452589" y="3039"/>
                      <a:pt x="452357" y="14003"/>
                    </a:cubicBezTo>
                    <a:cubicBezTo>
                      <a:pt x="451804" y="44047"/>
                      <a:pt x="451629" y="74120"/>
                      <a:pt x="452357" y="104164"/>
                    </a:cubicBezTo>
                    <a:cubicBezTo>
                      <a:pt x="452705" y="116932"/>
                      <a:pt x="448284" y="120305"/>
                      <a:pt x="435979" y="120218"/>
                    </a:cubicBezTo>
                    <a:cubicBezTo>
                      <a:pt x="365497" y="119840"/>
                      <a:pt x="294811" y="120072"/>
                      <a:pt x="224126" y="120072"/>
                    </a:cubicBezTo>
                    <a:close/>
                  </a:path>
                </a:pathLst>
              </a:custGeom>
              <a:solidFill>
                <a:srgbClr val="FEFEFE"/>
              </a:solidFill>
              <a:ln w="2907" cap="flat">
                <a:noFill/>
                <a:prstDash val="solid"/>
                <a:miter/>
              </a:ln>
            </p:spPr>
            <p:txBody>
              <a:bodyPr rtlCol="0" anchor="ctr"/>
              <a:lstStyle/>
              <a:p>
                <a:endParaRPr lang="en-US" sz="800"/>
              </a:p>
            </p:txBody>
          </p:sp>
          <p:sp>
            <p:nvSpPr>
              <p:cNvPr id="192" name="Graphic 38">
                <a:extLst>
                  <a:ext uri="{FF2B5EF4-FFF2-40B4-BE49-F238E27FC236}">
                    <a16:creationId xmlns:a16="http://schemas.microsoft.com/office/drawing/2014/main" id="{C6ED386E-81FD-9E9F-0841-6B04FE71B15B}"/>
                  </a:ext>
                </a:extLst>
              </p:cNvPr>
              <p:cNvSpPr/>
              <p:nvPr/>
            </p:nvSpPr>
            <p:spPr>
              <a:xfrm>
                <a:off x="14802891" y="1093828"/>
                <a:ext cx="456312" cy="117790"/>
              </a:xfrm>
              <a:custGeom>
                <a:avLst/>
                <a:gdLst>
                  <a:gd name="connsiteX0" fmla="*/ 228666 w 456312"/>
                  <a:gd name="connsiteY0" fmla="*/ -248 h 117790"/>
                  <a:gd name="connsiteX1" fmla="*/ 437494 w 456312"/>
                  <a:gd name="connsiteY1" fmla="*/ -539 h 117790"/>
                  <a:gd name="connsiteX2" fmla="*/ 455297 w 456312"/>
                  <a:gd name="connsiteY2" fmla="*/ 17348 h 117790"/>
                  <a:gd name="connsiteX3" fmla="*/ 455297 w 456312"/>
                  <a:gd name="connsiteY3" fmla="*/ 102709 h 117790"/>
                  <a:gd name="connsiteX4" fmla="*/ 440753 w 456312"/>
                  <a:gd name="connsiteY4" fmla="*/ 117251 h 117790"/>
                  <a:gd name="connsiteX5" fmla="*/ 13583 w 456312"/>
                  <a:gd name="connsiteY5" fmla="*/ 117251 h 117790"/>
                  <a:gd name="connsiteX6" fmla="*/ -962 w 456312"/>
                  <a:gd name="connsiteY6" fmla="*/ 102709 h 117790"/>
                  <a:gd name="connsiteX7" fmla="*/ -962 w 456312"/>
                  <a:gd name="connsiteY7" fmla="*/ 15748 h 117790"/>
                  <a:gd name="connsiteX8" fmla="*/ 15299 w 456312"/>
                  <a:gd name="connsiteY8" fmla="*/ -422 h 117790"/>
                  <a:gd name="connsiteX9" fmla="*/ 228666 w 456312"/>
                  <a:gd name="connsiteY9" fmla="*/ -248 h 11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312" h="117790">
                    <a:moveTo>
                      <a:pt x="228666" y="-248"/>
                    </a:moveTo>
                    <a:cubicBezTo>
                      <a:pt x="298275" y="-248"/>
                      <a:pt x="367885" y="130"/>
                      <a:pt x="437494" y="-539"/>
                    </a:cubicBezTo>
                    <a:cubicBezTo>
                      <a:pt x="451515" y="-539"/>
                      <a:pt x="455762" y="3417"/>
                      <a:pt x="455297" y="17348"/>
                    </a:cubicBezTo>
                    <a:cubicBezTo>
                      <a:pt x="454279" y="45763"/>
                      <a:pt x="454570" y="74265"/>
                      <a:pt x="455297" y="102709"/>
                    </a:cubicBezTo>
                    <a:cubicBezTo>
                      <a:pt x="455529" y="113819"/>
                      <a:pt x="451661" y="117251"/>
                      <a:pt x="440753" y="117251"/>
                    </a:cubicBezTo>
                    <a:cubicBezTo>
                      <a:pt x="298363" y="116960"/>
                      <a:pt x="155973" y="116960"/>
                      <a:pt x="13583" y="117251"/>
                    </a:cubicBezTo>
                    <a:cubicBezTo>
                      <a:pt x="2558" y="117251"/>
                      <a:pt x="-1194" y="113761"/>
                      <a:pt x="-962" y="102709"/>
                    </a:cubicBezTo>
                    <a:cubicBezTo>
                      <a:pt x="-380" y="73625"/>
                      <a:pt x="-205" y="44716"/>
                      <a:pt x="-962" y="15748"/>
                    </a:cubicBezTo>
                    <a:cubicBezTo>
                      <a:pt x="-1311" y="3126"/>
                      <a:pt x="2907" y="-510"/>
                      <a:pt x="15299" y="-422"/>
                    </a:cubicBezTo>
                    <a:cubicBezTo>
                      <a:pt x="86276" y="101"/>
                      <a:pt x="157456" y="-248"/>
                      <a:pt x="228666" y="-248"/>
                    </a:cubicBezTo>
                    <a:close/>
                  </a:path>
                </a:pathLst>
              </a:custGeom>
              <a:solidFill>
                <a:srgbClr val="FEFEFE"/>
              </a:solidFill>
              <a:ln w="2907" cap="flat">
                <a:noFill/>
                <a:prstDash val="solid"/>
                <a:miter/>
              </a:ln>
            </p:spPr>
            <p:txBody>
              <a:bodyPr rtlCol="0" anchor="ctr"/>
              <a:lstStyle/>
              <a:p>
                <a:endParaRPr lang="en-US" sz="800"/>
              </a:p>
            </p:txBody>
          </p:sp>
          <p:sp>
            <p:nvSpPr>
              <p:cNvPr id="193" name="Graphic 38">
                <a:extLst>
                  <a:ext uri="{FF2B5EF4-FFF2-40B4-BE49-F238E27FC236}">
                    <a16:creationId xmlns:a16="http://schemas.microsoft.com/office/drawing/2014/main" id="{0C53DAF9-ED52-93D4-6456-32B364C7C387}"/>
                  </a:ext>
                </a:extLst>
              </p:cNvPr>
              <p:cNvSpPr/>
              <p:nvPr/>
            </p:nvSpPr>
            <p:spPr>
              <a:xfrm>
                <a:off x="15726943" y="1220399"/>
                <a:ext cx="456445" cy="117996"/>
              </a:xfrm>
              <a:custGeom>
                <a:avLst/>
                <a:gdLst>
                  <a:gd name="connsiteX0" fmla="*/ 225624 w 456445"/>
                  <a:gd name="connsiteY0" fmla="*/ -274 h 117996"/>
                  <a:gd name="connsiteX1" fmla="*/ 432853 w 456445"/>
                  <a:gd name="connsiteY1" fmla="*/ -274 h 117996"/>
                  <a:gd name="connsiteX2" fmla="*/ 452807 w 456445"/>
                  <a:gd name="connsiteY2" fmla="*/ 20317 h 117996"/>
                  <a:gd name="connsiteX3" fmla="*/ 455368 w 456445"/>
                  <a:gd name="connsiteY3" fmla="*/ 92765 h 117996"/>
                  <a:gd name="connsiteX4" fmla="*/ 431311 w 456445"/>
                  <a:gd name="connsiteY4" fmla="*/ 117108 h 117996"/>
                  <a:gd name="connsiteX5" fmla="*/ 18453 w 456445"/>
                  <a:gd name="connsiteY5" fmla="*/ 117457 h 117996"/>
                  <a:gd name="connsiteX6" fmla="*/ -920 w 456445"/>
                  <a:gd name="connsiteY6" fmla="*/ 97942 h 117996"/>
                  <a:gd name="connsiteX7" fmla="*/ -920 w 456445"/>
                  <a:gd name="connsiteY7" fmla="*/ 15780 h 117996"/>
                  <a:gd name="connsiteX8" fmla="*/ 15166 w 456445"/>
                  <a:gd name="connsiteY8" fmla="*/ -536 h 117996"/>
                  <a:gd name="connsiteX9" fmla="*/ 225624 w 456445"/>
                  <a:gd name="connsiteY9" fmla="*/ -274 h 11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445" h="117996">
                    <a:moveTo>
                      <a:pt x="225624" y="-274"/>
                    </a:moveTo>
                    <a:lnTo>
                      <a:pt x="432853" y="-274"/>
                    </a:lnTo>
                    <a:cubicBezTo>
                      <a:pt x="453971" y="-274"/>
                      <a:pt x="452604" y="-274"/>
                      <a:pt x="452807" y="20317"/>
                    </a:cubicBezTo>
                    <a:cubicBezTo>
                      <a:pt x="453011" y="44457"/>
                      <a:pt x="456037" y="68538"/>
                      <a:pt x="455368" y="92765"/>
                    </a:cubicBezTo>
                    <a:cubicBezTo>
                      <a:pt x="454757" y="115567"/>
                      <a:pt x="453593" y="117108"/>
                      <a:pt x="431311" y="117108"/>
                    </a:cubicBezTo>
                    <a:cubicBezTo>
                      <a:pt x="293692" y="117108"/>
                      <a:pt x="156072" y="116905"/>
                      <a:pt x="18453" y="117457"/>
                    </a:cubicBezTo>
                    <a:cubicBezTo>
                      <a:pt x="3124" y="117457"/>
                      <a:pt x="-1589" y="113211"/>
                      <a:pt x="-920" y="97942"/>
                    </a:cubicBezTo>
                    <a:cubicBezTo>
                      <a:pt x="244" y="70603"/>
                      <a:pt x="-47" y="43148"/>
                      <a:pt x="-920" y="15780"/>
                    </a:cubicBezTo>
                    <a:cubicBezTo>
                      <a:pt x="-1269" y="3390"/>
                      <a:pt x="2513" y="-653"/>
                      <a:pt x="15166" y="-536"/>
                    </a:cubicBezTo>
                    <a:cubicBezTo>
                      <a:pt x="85387" y="16"/>
                      <a:pt x="155520" y="-274"/>
                      <a:pt x="225624" y="-274"/>
                    </a:cubicBezTo>
                    <a:close/>
                  </a:path>
                </a:pathLst>
              </a:custGeom>
              <a:solidFill>
                <a:srgbClr val="FEFEFE"/>
              </a:solidFill>
              <a:ln w="2907" cap="flat">
                <a:noFill/>
                <a:prstDash val="solid"/>
                <a:miter/>
              </a:ln>
            </p:spPr>
            <p:txBody>
              <a:bodyPr rtlCol="0" anchor="ctr"/>
              <a:lstStyle/>
              <a:p>
                <a:endParaRPr lang="en-US" sz="800"/>
              </a:p>
            </p:txBody>
          </p:sp>
          <p:sp>
            <p:nvSpPr>
              <p:cNvPr id="194" name="Graphic 38">
                <a:extLst>
                  <a:ext uri="{FF2B5EF4-FFF2-40B4-BE49-F238E27FC236}">
                    <a16:creationId xmlns:a16="http://schemas.microsoft.com/office/drawing/2014/main" id="{1A52DBC1-55BB-5FB0-F44D-D6002E5FE9B8}"/>
                  </a:ext>
                </a:extLst>
              </p:cNvPr>
              <p:cNvSpPr/>
              <p:nvPr/>
            </p:nvSpPr>
            <p:spPr>
              <a:xfrm>
                <a:off x="15727156" y="1093944"/>
                <a:ext cx="453975" cy="117732"/>
              </a:xfrm>
              <a:custGeom>
                <a:avLst/>
                <a:gdLst>
                  <a:gd name="connsiteX0" fmla="*/ 225935 w 453975"/>
                  <a:gd name="connsiteY0" fmla="*/ 116961 h 117732"/>
                  <a:gd name="connsiteX1" fmla="*/ 15564 w 453975"/>
                  <a:gd name="connsiteY1" fmla="*/ 117194 h 117732"/>
                  <a:gd name="connsiteX2" fmla="*/ -958 w 453975"/>
                  <a:gd name="connsiteY2" fmla="*/ 101372 h 117732"/>
                  <a:gd name="connsiteX3" fmla="*/ -958 w 453975"/>
                  <a:gd name="connsiteY3" fmla="*/ 16011 h 117732"/>
                  <a:gd name="connsiteX4" fmla="*/ 14895 w 453975"/>
                  <a:gd name="connsiteY4" fmla="*/ -538 h 117732"/>
                  <a:gd name="connsiteX5" fmla="*/ 435695 w 453975"/>
                  <a:gd name="connsiteY5" fmla="*/ -538 h 117732"/>
                  <a:gd name="connsiteX6" fmla="*/ 452479 w 453975"/>
                  <a:gd name="connsiteY6" fmla="*/ 15080 h 117732"/>
                  <a:gd name="connsiteX7" fmla="*/ 452479 w 453975"/>
                  <a:gd name="connsiteY7" fmla="*/ 102535 h 117732"/>
                  <a:gd name="connsiteX8" fmla="*/ 436131 w 453975"/>
                  <a:gd name="connsiteY8" fmla="*/ 117077 h 117732"/>
                  <a:gd name="connsiteX9" fmla="*/ 225935 w 453975"/>
                  <a:gd name="connsiteY9" fmla="*/ 116961 h 11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975" h="117732">
                    <a:moveTo>
                      <a:pt x="225935" y="116961"/>
                    </a:moveTo>
                    <a:cubicBezTo>
                      <a:pt x="155831" y="116961"/>
                      <a:pt x="85698" y="116728"/>
                      <a:pt x="15564" y="117194"/>
                    </a:cubicBezTo>
                    <a:cubicBezTo>
                      <a:pt x="3493" y="117194"/>
                      <a:pt x="-1365" y="114285"/>
                      <a:pt x="-958" y="101372"/>
                    </a:cubicBezTo>
                    <a:cubicBezTo>
                      <a:pt x="-56" y="72928"/>
                      <a:pt x="-231" y="44426"/>
                      <a:pt x="-958" y="16011"/>
                    </a:cubicBezTo>
                    <a:cubicBezTo>
                      <a:pt x="-1249" y="3999"/>
                      <a:pt x="1951" y="-596"/>
                      <a:pt x="14895" y="-538"/>
                    </a:cubicBezTo>
                    <a:cubicBezTo>
                      <a:pt x="155162" y="-111"/>
                      <a:pt x="295428" y="-111"/>
                      <a:pt x="435695" y="-538"/>
                    </a:cubicBezTo>
                    <a:cubicBezTo>
                      <a:pt x="447330" y="-538"/>
                      <a:pt x="452944" y="1789"/>
                      <a:pt x="452479" y="15080"/>
                    </a:cubicBezTo>
                    <a:cubicBezTo>
                      <a:pt x="451519" y="44164"/>
                      <a:pt x="454020" y="73248"/>
                      <a:pt x="452479" y="102535"/>
                    </a:cubicBezTo>
                    <a:cubicBezTo>
                      <a:pt x="451868" y="115071"/>
                      <a:pt x="447010" y="117077"/>
                      <a:pt x="436131" y="117077"/>
                    </a:cubicBezTo>
                    <a:cubicBezTo>
                      <a:pt x="366085" y="116816"/>
                      <a:pt x="295952" y="116990"/>
                      <a:pt x="225935" y="116961"/>
                    </a:cubicBezTo>
                    <a:close/>
                  </a:path>
                </a:pathLst>
              </a:custGeom>
              <a:solidFill>
                <a:srgbClr val="FEFEFE"/>
              </a:solidFill>
              <a:ln w="2907" cap="flat">
                <a:noFill/>
                <a:prstDash val="solid"/>
                <a:miter/>
              </a:ln>
            </p:spPr>
            <p:txBody>
              <a:bodyPr rtlCol="0" anchor="ctr"/>
              <a:lstStyle/>
              <a:p>
                <a:endParaRPr lang="en-US" sz="800"/>
              </a:p>
            </p:txBody>
          </p:sp>
          <p:sp>
            <p:nvSpPr>
              <p:cNvPr id="195" name="Graphic 38">
                <a:extLst>
                  <a:ext uri="{FF2B5EF4-FFF2-40B4-BE49-F238E27FC236}">
                    <a16:creationId xmlns:a16="http://schemas.microsoft.com/office/drawing/2014/main" id="{5E53C09C-BCB1-3116-3C55-1213D12CF3D4}"/>
                  </a:ext>
                </a:extLst>
              </p:cNvPr>
              <p:cNvSpPr/>
              <p:nvPr/>
            </p:nvSpPr>
            <p:spPr>
              <a:xfrm>
                <a:off x="15264935" y="2232786"/>
                <a:ext cx="456467" cy="121250"/>
              </a:xfrm>
              <a:custGeom>
                <a:avLst/>
                <a:gdLst>
                  <a:gd name="connsiteX0" fmla="*/ 15506 w 456467"/>
                  <a:gd name="connsiteY0" fmla="*/ -539 h 121250"/>
                  <a:gd name="connsiteX1" fmla="*/ 49307 w 456467"/>
                  <a:gd name="connsiteY1" fmla="*/ 9321 h 121250"/>
                  <a:gd name="connsiteX2" fmla="*/ 401748 w 456467"/>
                  <a:gd name="connsiteY2" fmla="*/ 9321 h 121250"/>
                  <a:gd name="connsiteX3" fmla="*/ 438807 w 456467"/>
                  <a:gd name="connsiteY3" fmla="*/ -335 h 121250"/>
                  <a:gd name="connsiteX4" fmla="*/ 455446 w 456467"/>
                  <a:gd name="connsiteY4" fmla="*/ 20838 h 121250"/>
                  <a:gd name="connsiteX5" fmla="*/ 455446 w 456467"/>
                  <a:gd name="connsiteY5" fmla="*/ 106170 h 121250"/>
                  <a:gd name="connsiteX6" fmla="*/ 440901 w 456467"/>
                  <a:gd name="connsiteY6" fmla="*/ 120712 h 121250"/>
                  <a:gd name="connsiteX7" fmla="*/ 13848 w 456467"/>
                  <a:gd name="connsiteY7" fmla="*/ 120712 h 121250"/>
                  <a:gd name="connsiteX8" fmla="*/ -697 w 456467"/>
                  <a:gd name="connsiteY8" fmla="*/ 106170 h 121250"/>
                  <a:gd name="connsiteX9" fmla="*/ -842 w 456467"/>
                  <a:gd name="connsiteY9" fmla="*/ 24008 h 121250"/>
                  <a:gd name="connsiteX10" fmla="*/ 15506 w 456467"/>
                  <a:gd name="connsiteY10" fmla="*/ -539 h 12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467" h="121250">
                    <a:moveTo>
                      <a:pt x="15506" y="-539"/>
                    </a:moveTo>
                    <a:cubicBezTo>
                      <a:pt x="25193" y="8187"/>
                      <a:pt x="36887" y="9350"/>
                      <a:pt x="49307" y="9321"/>
                    </a:cubicBezTo>
                    <a:cubicBezTo>
                      <a:pt x="166768" y="9146"/>
                      <a:pt x="284257" y="9146"/>
                      <a:pt x="401748" y="9321"/>
                    </a:cubicBezTo>
                    <a:cubicBezTo>
                      <a:pt x="415186" y="9321"/>
                      <a:pt x="427753" y="7896"/>
                      <a:pt x="438807" y="-335"/>
                    </a:cubicBezTo>
                    <a:cubicBezTo>
                      <a:pt x="451547" y="1119"/>
                      <a:pt x="455969" y="7634"/>
                      <a:pt x="455446" y="20838"/>
                    </a:cubicBezTo>
                    <a:cubicBezTo>
                      <a:pt x="454369" y="49253"/>
                      <a:pt x="454718" y="77756"/>
                      <a:pt x="455446" y="106170"/>
                    </a:cubicBezTo>
                    <a:cubicBezTo>
                      <a:pt x="455708" y="117339"/>
                      <a:pt x="451693" y="120712"/>
                      <a:pt x="440901" y="120712"/>
                    </a:cubicBezTo>
                    <a:cubicBezTo>
                      <a:pt x="298541" y="120451"/>
                      <a:pt x="156180" y="120451"/>
                      <a:pt x="13848" y="120712"/>
                    </a:cubicBezTo>
                    <a:cubicBezTo>
                      <a:pt x="2969" y="120712"/>
                      <a:pt x="-1045" y="117397"/>
                      <a:pt x="-697" y="106170"/>
                    </a:cubicBezTo>
                    <a:cubicBezTo>
                      <a:pt x="-86" y="78773"/>
                      <a:pt x="322" y="51347"/>
                      <a:pt x="-842" y="24008"/>
                    </a:cubicBezTo>
                    <a:cubicBezTo>
                      <a:pt x="-1714" y="10397"/>
                      <a:pt x="1253" y="1788"/>
                      <a:pt x="15506" y="-539"/>
                    </a:cubicBezTo>
                    <a:close/>
                  </a:path>
                </a:pathLst>
              </a:custGeom>
              <a:solidFill>
                <a:srgbClr val="FCFDFD"/>
              </a:solidFill>
              <a:ln w="2907" cap="flat">
                <a:noFill/>
                <a:prstDash val="solid"/>
                <a:miter/>
              </a:ln>
            </p:spPr>
            <p:txBody>
              <a:bodyPr rtlCol="0" anchor="ctr"/>
              <a:lstStyle/>
              <a:p>
                <a:endParaRPr lang="en-US" sz="800"/>
              </a:p>
            </p:txBody>
          </p:sp>
          <p:sp>
            <p:nvSpPr>
              <p:cNvPr id="196" name="Graphic 38">
                <a:extLst>
                  <a:ext uri="{FF2B5EF4-FFF2-40B4-BE49-F238E27FC236}">
                    <a16:creationId xmlns:a16="http://schemas.microsoft.com/office/drawing/2014/main" id="{40052589-0732-E067-1521-01F965A0034A}"/>
                  </a:ext>
                </a:extLst>
              </p:cNvPr>
              <p:cNvSpPr/>
              <p:nvPr/>
            </p:nvSpPr>
            <p:spPr>
              <a:xfrm>
                <a:off x="15727045" y="3252120"/>
                <a:ext cx="456218" cy="120524"/>
              </a:xfrm>
              <a:custGeom>
                <a:avLst/>
                <a:gdLst>
                  <a:gd name="connsiteX0" fmla="*/ 15268 w 456218"/>
                  <a:gd name="connsiteY0" fmla="*/ 5627 h 120524"/>
                  <a:gd name="connsiteX1" fmla="*/ 48110 w 456218"/>
                  <a:gd name="connsiteY1" fmla="*/ 17697 h 120524"/>
                  <a:gd name="connsiteX2" fmla="*/ 402237 w 456218"/>
                  <a:gd name="connsiteY2" fmla="*/ 17697 h 120524"/>
                  <a:gd name="connsiteX3" fmla="*/ 432606 w 456218"/>
                  <a:gd name="connsiteY3" fmla="*/ 11880 h 120524"/>
                  <a:gd name="connsiteX4" fmla="*/ 439762 w 456218"/>
                  <a:gd name="connsiteY4" fmla="*/ 3650 h 120524"/>
                  <a:gd name="connsiteX5" fmla="*/ 439762 w 456218"/>
                  <a:gd name="connsiteY5" fmla="*/ 2719 h 120524"/>
                  <a:gd name="connsiteX6" fmla="*/ 443165 w 456218"/>
                  <a:gd name="connsiteY6" fmla="*/ -190 h 120524"/>
                  <a:gd name="connsiteX7" fmla="*/ 445667 w 456218"/>
                  <a:gd name="connsiteY7" fmla="*/ -539 h 120524"/>
                  <a:gd name="connsiteX8" fmla="*/ 455033 w 456218"/>
                  <a:gd name="connsiteY8" fmla="*/ 15428 h 120524"/>
                  <a:gd name="connsiteX9" fmla="*/ 455237 w 456218"/>
                  <a:gd name="connsiteY9" fmla="*/ 105589 h 120524"/>
                  <a:gd name="connsiteX10" fmla="*/ 439791 w 456218"/>
                  <a:gd name="connsiteY10" fmla="*/ 119985 h 120524"/>
                  <a:gd name="connsiteX11" fmla="*/ 13291 w 456218"/>
                  <a:gd name="connsiteY11" fmla="*/ 119985 h 120524"/>
                  <a:gd name="connsiteX12" fmla="*/ -963 w 456218"/>
                  <a:gd name="connsiteY12" fmla="*/ 105211 h 120524"/>
                  <a:gd name="connsiteX13" fmla="*/ -760 w 456218"/>
                  <a:gd name="connsiteY13" fmla="*/ 15225 h 120524"/>
                  <a:gd name="connsiteX14" fmla="*/ 15268 w 456218"/>
                  <a:gd name="connsiteY14" fmla="*/ 5627 h 120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6218" h="120524">
                    <a:moveTo>
                      <a:pt x="15268" y="5627"/>
                    </a:moveTo>
                    <a:cubicBezTo>
                      <a:pt x="24315" y="14818"/>
                      <a:pt x="35223" y="17726"/>
                      <a:pt x="48110" y="17697"/>
                    </a:cubicBezTo>
                    <a:cubicBezTo>
                      <a:pt x="166152" y="17377"/>
                      <a:pt x="284195" y="17377"/>
                      <a:pt x="402237" y="17697"/>
                    </a:cubicBezTo>
                    <a:cubicBezTo>
                      <a:pt x="412825" y="17697"/>
                      <a:pt x="423094" y="17232"/>
                      <a:pt x="432606" y="11880"/>
                    </a:cubicBezTo>
                    <a:cubicBezTo>
                      <a:pt x="438424" y="12055"/>
                      <a:pt x="439499" y="8245"/>
                      <a:pt x="439762" y="3650"/>
                    </a:cubicBezTo>
                    <a:lnTo>
                      <a:pt x="439762" y="2719"/>
                    </a:lnTo>
                    <a:lnTo>
                      <a:pt x="443165" y="-190"/>
                    </a:lnTo>
                    <a:cubicBezTo>
                      <a:pt x="444008" y="-248"/>
                      <a:pt x="444852" y="-364"/>
                      <a:pt x="445667" y="-539"/>
                    </a:cubicBezTo>
                    <a:cubicBezTo>
                      <a:pt x="454568" y="1381"/>
                      <a:pt x="455004" y="8565"/>
                      <a:pt x="455033" y="15428"/>
                    </a:cubicBezTo>
                    <a:cubicBezTo>
                      <a:pt x="455208" y="45443"/>
                      <a:pt x="454858" y="75429"/>
                      <a:pt x="455237" y="105589"/>
                    </a:cubicBezTo>
                    <a:cubicBezTo>
                      <a:pt x="455237" y="116873"/>
                      <a:pt x="450146" y="119985"/>
                      <a:pt x="439791" y="119985"/>
                    </a:cubicBezTo>
                    <a:cubicBezTo>
                      <a:pt x="297605" y="119811"/>
                      <a:pt x="155447" y="119811"/>
                      <a:pt x="13291" y="119985"/>
                    </a:cubicBezTo>
                    <a:cubicBezTo>
                      <a:pt x="1916" y="119985"/>
                      <a:pt x="-1254" y="115885"/>
                      <a:pt x="-963" y="105211"/>
                    </a:cubicBezTo>
                    <a:cubicBezTo>
                      <a:pt x="-440" y="75225"/>
                      <a:pt x="-963" y="45239"/>
                      <a:pt x="-760" y="15225"/>
                    </a:cubicBezTo>
                    <a:cubicBezTo>
                      <a:pt x="-614" y="-2225"/>
                      <a:pt x="-469" y="-2225"/>
                      <a:pt x="15268" y="5627"/>
                    </a:cubicBezTo>
                    <a:close/>
                  </a:path>
                </a:pathLst>
              </a:custGeom>
              <a:solidFill>
                <a:srgbClr val="FCFDFD"/>
              </a:solidFill>
              <a:ln w="2907" cap="flat">
                <a:noFill/>
                <a:prstDash val="solid"/>
                <a:miter/>
              </a:ln>
            </p:spPr>
            <p:txBody>
              <a:bodyPr rtlCol="0" anchor="ctr"/>
              <a:lstStyle/>
              <a:p>
                <a:endParaRPr lang="en-US" sz="800"/>
              </a:p>
            </p:txBody>
          </p:sp>
          <p:sp>
            <p:nvSpPr>
              <p:cNvPr id="197" name="Graphic 38">
                <a:extLst>
                  <a:ext uri="{FF2B5EF4-FFF2-40B4-BE49-F238E27FC236}">
                    <a16:creationId xmlns:a16="http://schemas.microsoft.com/office/drawing/2014/main" id="{6418F732-BE9C-6E91-7070-1D32EB04A15D}"/>
                  </a:ext>
                </a:extLst>
              </p:cNvPr>
              <p:cNvSpPr/>
              <p:nvPr/>
            </p:nvSpPr>
            <p:spPr>
              <a:xfrm>
                <a:off x="16651053" y="2233600"/>
                <a:ext cx="456602" cy="120349"/>
              </a:xfrm>
              <a:custGeom>
                <a:avLst/>
                <a:gdLst>
                  <a:gd name="connsiteX0" fmla="*/ 31150 w 456602"/>
                  <a:gd name="connsiteY0" fmla="*/ 17988 h 120349"/>
                  <a:gd name="connsiteX1" fmla="*/ 408287 w 456602"/>
                  <a:gd name="connsiteY1" fmla="*/ 18395 h 120349"/>
                  <a:gd name="connsiteX2" fmla="*/ 440284 w 456602"/>
                  <a:gd name="connsiteY2" fmla="*/ 2370 h 120349"/>
                  <a:gd name="connsiteX3" fmla="*/ 443950 w 456602"/>
                  <a:gd name="connsiteY3" fmla="*/ -539 h 120349"/>
                  <a:gd name="connsiteX4" fmla="*/ 445753 w 456602"/>
                  <a:gd name="connsiteY4" fmla="*/ -539 h 120349"/>
                  <a:gd name="connsiteX5" fmla="*/ 452356 w 456602"/>
                  <a:gd name="connsiteY5" fmla="*/ -539 h 120349"/>
                  <a:gd name="connsiteX6" fmla="*/ 455265 w 456602"/>
                  <a:gd name="connsiteY6" fmla="*/ 5540 h 120349"/>
                  <a:gd name="connsiteX7" fmla="*/ 455614 w 456602"/>
                  <a:gd name="connsiteY7" fmla="*/ 105007 h 120349"/>
                  <a:gd name="connsiteX8" fmla="*/ 441360 w 456602"/>
                  <a:gd name="connsiteY8" fmla="*/ 119811 h 120349"/>
                  <a:gd name="connsiteX9" fmla="*/ 13231 w 456602"/>
                  <a:gd name="connsiteY9" fmla="*/ 119811 h 120349"/>
                  <a:gd name="connsiteX10" fmla="*/ -586 w 456602"/>
                  <a:gd name="connsiteY10" fmla="*/ 106199 h 120349"/>
                  <a:gd name="connsiteX11" fmla="*/ -295 w 456602"/>
                  <a:gd name="connsiteY11" fmla="*/ 16039 h 120349"/>
                  <a:gd name="connsiteX12" fmla="*/ 3429 w 456602"/>
                  <a:gd name="connsiteY12" fmla="*/ 450 h 120349"/>
                  <a:gd name="connsiteX13" fmla="*/ 16023 w 456602"/>
                  <a:gd name="connsiteY13" fmla="*/ 8070 h 120349"/>
                  <a:gd name="connsiteX14" fmla="*/ 16023 w 456602"/>
                  <a:gd name="connsiteY14" fmla="*/ 8070 h 120349"/>
                  <a:gd name="connsiteX15" fmla="*/ 19224 w 456602"/>
                  <a:gd name="connsiteY15" fmla="*/ 11298 h 120349"/>
                  <a:gd name="connsiteX16" fmla="*/ 19224 w 456602"/>
                  <a:gd name="connsiteY16" fmla="*/ 11298 h 120349"/>
                  <a:gd name="connsiteX17" fmla="*/ 31150 w 456602"/>
                  <a:gd name="connsiteY17" fmla="*/ 17988 h 12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6602" h="120349">
                    <a:moveTo>
                      <a:pt x="31150" y="17988"/>
                    </a:moveTo>
                    <a:cubicBezTo>
                      <a:pt x="156872" y="17988"/>
                      <a:pt x="282565" y="17988"/>
                      <a:pt x="408287" y="18395"/>
                    </a:cubicBezTo>
                    <a:cubicBezTo>
                      <a:pt x="421027" y="19064"/>
                      <a:pt x="433187" y="12985"/>
                      <a:pt x="440284" y="2370"/>
                    </a:cubicBezTo>
                    <a:lnTo>
                      <a:pt x="443950" y="-539"/>
                    </a:lnTo>
                    <a:lnTo>
                      <a:pt x="445753" y="-539"/>
                    </a:lnTo>
                    <a:lnTo>
                      <a:pt x="452356" y="-539"/>
                    </a:lnTo>
                    <a:lnTo>
                      <a:pt x="455265" y="5540"/>
                    </a:lnTo>
                    <a:cubicBezTo>
                      <a:pt x="455265" y="38696"/>
                      <a:pt x="455061" y="71851"/>
                      <a:pt x="455614" y="105007"/>
                    </a:cubicBezTo>
                    <a:cubicBezTo>
                      <a:pt x="455788" y="115681"/>
                      <a:pt x="452705" y="119840"/>
                      <a:pt x="441360" y="119811"/>
                    </a:cubicBezTo>
                    <a:cubicBezTo>
                      <a:pt x="298651" y="119520"/>
                      <a:pt x="155941" y="119520"/>
                      <a:pt x="13231" y="119811"/>
                    </a:cubicBezTo>
                    <a:cubicBezTo>
                      <a:pt x="3079" y="119811"/>
                      <a:pt x="-761" y="116553"/>
                      <a:pt x="-586" y="106199"/>
                    </a:cubicBezTo>
                    <a:cubicBezTo>
                      <a:pt x="-92" y="76185"/>
                      <a:pt x="-586" y="46199"/>
                      <a:pt x="-295" y="16039"/>
                    </a:cubicBezTo>
                    <a:cubicBezTo>
                      <a:pt x="-295" y="10688"/>
                      <a:pt x="-3349" y="3271"/>
                      <a:pt x="3429" y="450"/>
                    </a:cubicBezTo>
                    <a:cubicBezTo>
                      <a:pt x="9246" y="-2022"/>
                      <a:pt x="10380" y="7721"/>
                      <a:pt x="16023" y="8070"/>
                    </a:cubicBezTo>
                    <a:lnTo>
                      <a:pt x="16023" y="8070"/>
                    </a:lnTo>
                    <a:lnTo>
                      <a:pt x="19224" y="11298"/>
                    </a:lnTo>
                    <a:lnTo>
                      <a:pt x="19224" y="11298"/>
                    </a:lnTo>
                    <a:cubicBezTo>
                      <a:pt x="20998" y="17522"/>
                      <a:pt x="25623" y="18569"/>
                      <a:pt x="31150" y="17988"/>
                    </a:cubicBezTo>
                    <a:close/>
                  </a:path>
                </a:pathLst>
              </a:custGeom>
              <a:solidFill>
                <a:srgbClr val="FCFDFD"/>
              </a:solidFill>
              <a:ln w="2907" cap="flat">
                <a:noFill/>
                <a:prstDash val="solid"/>
                <a:miter/>
              </a:ln>
            </p:spPr>
            <p:txBody>
              <a:bodyPr rtlCol="0" anchor="ctr"/>
              <a:lstStyle/>
              <a:p>
                <a:endParaRPr lang="en-US" sz="800"/>
              </a:p>
            </p:txBody>
          </p:sp>
          <p:sp>
            <p:nvSpPr>
              <p:cNvPr id="198" name="Graphic 38">
                <a:extLst>
                  <a:ext uri="{FF2B5EF4-FFF2-40B4-BE49-F238E27FC236}">
                    <a16:creationId xmlns:a16="http://schemas.microsoft.com/office/drawing/2014/main" id="{6D9DB7A8-C3C4-0672-2701-23653EA39D62}"/>
                  </a:ext>
                </a:extLst>
              </p:cNvPr>
              <p:cNvSpPr/>
              <p:nvPr/>
            </p:nvSpPr>
            <p:spPr>
              <a:xfrm>
                <a:off x="16189365" y="2364037"/>
                <a:ext cx="453367" cy="116398"/>
              </a:xfrm>
              <a:custGeom>
                <a:avLst/>
                <a:gdLst>
                  <a:gd name="connsiteX0" fmla="*/ 14676 w 453367"/>
                  <a:gd name="connsiteY0" fmla="*/ 1472 h 116398"/>
                  <a:gd name="connsiteX1" fmla="*/ 49030 w 453367"/>
                  <a:gd name="connsiteY1" fmla="*/ 13746 h 116398"/>
                  <a:gd name="connsiteX2" fmla="*/ 397106 w 453367"/>
                  <a:gd name="connsiteY2" fmla="*/ 13746 h 116398"/>
                  <a:gd name="connsiteX3" fmla="*/ 438965 w 453367"/>
                  <a:gd name="connsiteY3" fmla="*/ 949 h 116398"/>
                  <a:gd name="connsiteX4" fmla="*/ 452375 w 453367"/>
                  <a:gd name="connsiteY4" fmla="*/ 10780 h 116398"/>
                  <a:gd name="connsiteX5" fmla="*/ 452375 w 453367"/>
                  <a:gd name="connsiteY5" fmla="*/ 102365 h 116398"/>
                  <a:gd name="connsiteX6" fmla="*/ 438383 w 453367"/>
                  <a:gd name="connsiteY6" fmla="*/ 115860 h 116398"/>
                  <a:gd name="connsiteX7" fmla="*/ 13308 w 453367"/>
                  <a:gd name="connsiteY7" fmla="*/ 115860 h 116398"/>
                  <a:gd name="connsiteX8" fmla="*/ -945 w 453367"/>
                  <a:gd name="connsiteY8" fmla="*/ 100998 h 116398"/>
                  <a:gd name="connsiteX9" fmla="*/ -945 w 453367"/>
                  <a:gd name="connsiteY9" fmla="*/ 12583 h 116398"/>
                  <a:gd name="connsiteX10" fmla="*/ 14676 w 453367"/>
                  <a:gd name="connsiteY10" fmla="*/ 1472 h 116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3367" h="116398">
                    <a:moveTo>
                      <a:pt x="14676" y="1472"/>
                    </a:moveTo>
                    <a:cubicBezTo>
                      <a:pt x="24421" y="10372"/>
                      <a:pt x="35532" y="13804"/>
                      <a:pt x="49030" y="13746"/>
                    </a:cubicBezTo>
                    <a:cubicBezTo>
                      <a:pt x="165065" y="13339"/>
                      <a:pt x="281100" y="13339"/>
                      <a:pt x="397106" y="13746"/>
                    </a:cubicBezTo>
                    <a:cubicBezTo>
                      <a:pt x="412901" y="13746"/>
                      <a:pt x="426922" y="11507"/>
                      <a:pt x="438965" y="949"/>
                    </a:cubicBezTo>
                    <a:cubicBezTo>
                      <a:pt x="447110" y="-796"/>
                      <a:pt x="452666" y="-1000"/>
                      <a:pt x="452375" y="10780"/>
                    </a:cubicBezTo>
                    <a:cubicBezTo>
                      <a:pt x="451590" y="41289"/>
                      <a:pt x="451823" y="71856"/>
                      <a:pt x="452375" y="102365"/>
                    </a:cubicBezTo>
                    <a:cubicBezTo>
                      <a:pt x="452550" y="112864"/>
                      <a:pt x="448390" y="115889"/>
                      <a:pt x="438383" y="115860"/>
                    </a:cubicBezTo>
                    <a:cubicBezTo>
                      <a:pt x="296692" y="115656"/>
                      <a:pt x="155000" y="115656"/>
                      <a:pt x="13308" y="115860"/>
                    </a:cubicBezTo>
                    <a:cubicBezTo>
                      <a:pt x="1934" y="115860"/>
                      <a:pt x="-1236" y="111643"/>
                      <a:pt x="-945" y="100998"/>
                    </a:cubicBezTo>
                    <a:cubicBezTo>
                      <a:pt x="-421" y="71536"/>
                      <a:pt x="-160" y="42016"/>
                      <a:pt x="-945" y="12583"/>
                    </a:cubicBezTo>
                    <a:cubicBezTo>
                      <a:pt x="-1469" y="-912"/>
                      <a:pt x="3738" y="-2745"/>
                      <a:pt x="14676" y="1472"/>
                    </a:cubicBezTo>
                    <a:close/>
                  </a:path>
                </a:pathLst>
              </a:custGeom>
              <a:solidFill>
                <a:srgbClr val="FEFEFE"/>
              </a:solidFill>
              <a:ln w="2907" cap="flat">
                <a:noFill/>
                <a:prstDash val="solid"/>
                <a:miter/>
              </a:ln>
            </p:spPr>
            <p:txBody>
              <a:bodyPr rtlCol="0" anchor="ctr"/>
              <a:lstStyle/>
              <a:p>
                <a:endParaRPr lang="en-US" sz="800"/>
              </a:p>
            </p:txBody>
          </p:sp>
          <p:sp>
            <p:nvSpPr>
              <p:cNvPr id="199" name="Graphic 38">
                <a:extLst>
                  <a:ext uri="{FF2B5EF4-FFF2-40B4-BE49-F238E27FC236}">
                    <a16:creationId xmlns:a16="http://schemas.microsoft.com/office/drawing/2014/main" id="{5F1AB0DD-E5DE-39E1-40A9-35CFFC787D50}"/>
                  </a:ext>
                </a:extLst>
              </p:cNvPr>
              <p:cNvSpPr/>
              <p:nvPr/>
            </p:nvSpPr>
            <p:spPr>
              <a:xfrm>
                <a:off x="14802431" y="2363623"/>
                <a:ext cx="456388" cy="116899"/>
              </a:xfrm>
              <a:custGeom>
                <a:avLst/>
                <a:gdLst>
                  <a:gd name="connsiteX0" fmla="*/ 11628 w 456388"/>
                  <a:gd name="connsiteY0" fmla="*/ 2061 h 116899"/>
                  <a:gd name="connsiteX1" fmla="*/ 44906 w 456388"/>
                  <a:gd name="connsiteY1" fmla="*/ 23438 h 116899"/>
                  <a:gd name="connsiteX2" fmla="*/ 410174 w 456388"/>
                  <a:gd name="connsiteY2" fmla="*/ 23438 h 116899"/>
                  <a:gd name="connsiteX3" fmla="*/ 443481 w 456388"/>
                  <a:gd name="connsiteY3" fmla="*/ 1974 h 116899"/>
                  <a:gd name="connsiteX4" fmla="*/ 455407 w 456388"/>
                  <a:gd name="connsiteY4" fmla="*/ 8315 h 116899"/>
                  <a:gd name="connsiteX5" fmla="*/ 455407 w 456388"/>
                  <a:gd name="connsiteY5" fmla="*/ 106182 h 116899"/>
                  <a:gd name="connsiteX6" fmla="*/ 444586 w 456388"/>
                  <a:gd name="connsiteY6" fmla="*/ 116129 h 116899"/>
                  <a:gd name="connsiteX7" fmla="*/ 438274 w 456388"/>
                  <a:gd name="connsiteY7" fmla="*/ 116129 h 116899"/>
                  <a:gd name="connsiteX8" fmla="*/ 16486 w 456388"/>
                  <a:gd name="connsiteY8" fmla="*/ 116361 h 116899"/>
                  <a:gd name="connsiteX9" fmla="*/ -967 w 456388"/>
                  <a:gd name="connsiteY9" fmla="*/ 99754 h 116899"/>
                  <a:gd name="connsiteX10" fmla="*/ -677 w 456388"/>
                  <a:gd name="connsiteY10" fmla="*/ 11368 h 116899"/>
                  <a:gd name="connsiteX11" fmla="*/ 11628 w 456388"/>
                  <a:gd name="connsiteY11" fmla="*/ 2061 h 11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388" h="116899">
                    <a:moveTo>
                      <a:pt x="11628" y="2061"/>
                    </a:moveTo>
                    <a:cubicBezTo>
                      <a:pt x="17446" y="17534"/>
                      <a:pt x="29082" y="23438"/>
                      <a:pt x="44906" y="23438"/>
                    </a:cubicBezTo>
                    <a:cubicBezTo>
                      <a:pt x="166672" y="23438"/>
                      <a:pt x="288437" y="23438"/>
                      <a:pt x="410174" y="23438"/>
                    </a:cubicBezTo>
                    <a:cubicBezTo>
                      <a:pt x="426027" y="23438"/>
                      <a:pt x="437663" y="17301"/>
                      <a:pt x="443481" y="1974"/>
                    </a:cubicBezTo>
                    <a:cubicBezTo>
                      <a:pt x="450957" y="-2476"/>
                      <a:pt x="455407" y="-1400"/>
                      <a:pt x="455407" y="8315"/>
                    </a:cubicBezTo>
                    <a:cubicBezTo>
                      <a:pt x="455407" y="40947"/>
                      <a:pt x="455407" y="73579"/>
                      <a:pt x="455407" y="106182"/>
                    </a:cubicBezTo>
                    <a:cubicBezTo>
                      <a:pt x="455407" y="113773"/>
                      <a:pt x="451626" y="116507"/>
                      <a:pt x="444586" y="116129"/>
                    </a:cubicBezTo>
                    <a:cubicBezTo>
                      <a:pt x="442492" y="116129"/>
                      <a:pt x="440369" y="116129"/>
                      <a:pt x="438274" y="116129"/>
                    </a:cubicBezTo>
                    <a:cubicBezTo>
                      <a:pt x="297717" y="116129"/>
                      <a:pt x="157130" y="116216"/>
                      <a:pt x="16486" y="116361"/>
                    </a:cubicBezTo>
                    <a:cubicBezTo>
                      <a:pt x="3861" y="116361"/>
                      <a:pt x="-1287" y="113453"/>
                      <a:pt x="-967" y="99754"/>
                    </a:cubicBezTo>
                    <a:cubicBezTo>
                      <a:pt x="-36" y="70321"/>
                      <a:pt x="-618" y="40830"/>
                      <a:pt x="-677" y="11368"/>
                    </a:cubicBezTo>
                    <a:cubicBezTo>
                      <a:pt x="-502" y="2934"/>
                      <a:pt x="80" y="-4512"/>
                      <a:pt x="11628" y="2061"/>
                    </a:cubicBezTo>
                    <a:close/>
                  </a:path>
                </a:pathLst>
              </a:custGeom>
              <a:solidFill>
                <a:srgbClr val="FCFDFD"/>
              </a:solidFill>
              <a:ln w="2907" cap="flat">
                <a:noFill/>
                <a:prstDash val="solid"/>
                <a:miter/>
              </a:ln>
            </p:spPr>
            <p:txBody>
              <a:bodyPr rtlCol="0" anchor="ctr"/>
              <a:lstStyle/>
              <a:p>
                <a:endParaRPr lang="en-US" sz="800"/>
              </a:p>
            </p:txBody>
          </p:sp>
          <p:sp>
            <p:nvSpPr>
              <p:cNvPr id="200" name="Graphic 38">
                <a:extLst>
                  <a:ext uri="{FF2B5EF4-FFF2-40B4-BE49-F238E27FC236}">
                    <a16:creationId xmlns:a16="http://schemas.microsoft.com/office/drawing/2014/main" id="{88D9F571-F370-24E7-2A69-FE904D83829C}"/>
                  </a:ext>
                </a:extLst>
              </p:cNvPr>
              <p:cNvSpPr/>
              <p:nvPr/>
            </p:nvSpPr>
            <p:spPr>
              <a:xfrm>
                <a:off x="14802940" y="2489393"/>
                <a:ext cx="456174" cy="116885"/>
              </a:xfrm>
              <a:custGeom>
                <a:avLst/>
                <a:gdLst>
                  <a:gd name="connsiteX0" fmla="*/ 8153 w 456174"/>
                  <a:gd name="connsiteY0" fmla="*/ 116117 h 116885"/>
                  <a:gd name="connsiteX1" fmla="*/ -981 w 456174"/>
                  <a:gd name="connsiteY1" fmla="*/ 105444 h 116885"/>
                  <a:gd name="connsiteX2" fmla="*/ -981 w 456174"/>
                  <a:gd name="connsiteY2" fmla="*/ 12171 h 116885"/>
                  <a:gd name="connsiteX3" fmla="*/ 12167 w 456174"/>
                  <a:gd name="connsiteY3" fmla="*/ -539 h 116885"/>
                  <a:gd name="connsiteX4" fmla="*/ 442390 w 456174"/>
                  <a:gd name="connsiteY4" fmla="*/ -539 h 116885"/>
                  <a:gd name="connsiteX5" fmla="*/ 455190 w 456174"/>
                  <a:gd name="connsiteY5" fmla="*/ 12462 h 116885"/>
                  <a:gd name="connsiteX6" fmla="*/ 455190 w 456174"/>
                  <a:gd name="connsiteY6" fmla="*/ 97852 h 116885"/>
                  <a:gd name="connsiteX7" fmla="*/ 436282 w 456174"/>
                  <a:gd name="connsiteY7" fmla="*/ 92298 h 116885"/>
                  <a:gd name="connsiteX8" fmla="*/ 412691 w 456174"/>
                  <a:gd name="connsiteY8" fmla="*/ 84997 h 116885"/>
                  <a:gd name="connsiteX9" fmla="*/ 41052 w 456174"/>
                  <a:gd name="connsiteY9" fmla="*/ 84997 h 116885"/>
                  <a:gd name="connsiteX10" fmla="*/ 24908 w 456174"/>
                  <a:gd name="connsiteY10" fmla="*/ 91657 h 116885"/>
                  <a:gd name="connsiteX11" fmla="*/ 24908 w 456174"/>
                  <a:gd name="connsiteY11" fmla="*/ 91657 h 116885"/>
                  <a:gd name="connsiteX12" fmla="*/ 8153 w 456174"/>
                  <a:gd name="connsiteY12" fmla="*/ 116117 h 11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174" h="116885">
                    <a:moveTo>
                      <a:pt x="8153" y="116117"/>
                    </a:moveTo>
                    <a:cubicBezTo>
                      <a:pt x="-807" y="117600"/>
                      <a:pt x="-981" y="111638"/>
                      <a:pt x="-981" y="105444"/>
                    </a:cubicBezTo>
                    <a:cubicBezTo>
                      <a:pt x="-981" y="74353"/>
                      <a:pt x="-720" y="43262"/>
                      <a:pt x="-981" y="12171"/>
                    </a:cubicBezTo>
                    <a:cubicBezTo>
                      <a:pt x="-981" y="2399"/>
                      <a:pt x="2829" y="-539"/>
                      <a:pt x="12167" y="-539"/>
                    </a:cubicBezTo>
                    <a:cubicBezTo>
                      <a:pt x="155575" y="-364"/>
                      <a:pt x="298983" y="-364"/>
                      <a:pt x="442390" y="-539"/>
                    </a:cubicBezTo>
                    <a:cubicBezTo>
                      <a:pt x="452077" y="-539"/>
                      <a:pt x="455306" y="3009"/>
                      <a:pt x="455190" y="12462"/>
                    </a:cubicBezTo>
                    <a:cubicBezTo>
                      <a:pt x="454782" y="40935"/>
                      <a:pt x="455044" y="69379"/>
                      <a:pt x="455190" y="97852"/>
                    </a:cubicBezTo>
                    <a:cubicBezTo>
                      <a:pt x="448237" y="98230"/>
                      <a:pt x="442071" y="97503"/>
                      <a:pt x="436282" y="92298"/>
                    </a:cubicBezTo>
                    <a:cubicBezTo>
                      <a:pt x="429882" y="86481"/>
                      <a:pt x="421563" y="84997"/>
                      <a:pt x="412691" y="84997"/>
                    </a:cubicBezTo>
                    <a:cubicBezTo>
                      <a:pt x="288802" y="85172"/>
                      <a:pt x="164912" y="85172"/>
                      <a:pt x="41052" y="84997"/>
                    </a:cubicBezTo>
                    <a:cubicBezTo>
                      <a:pt x="34827" y="84997"/>
                      <a:pt x="27991" y="83921"/>
                      <a:pt x="24908" y="91657"/>
                    </a:cubicBezTo>
                    <a:lnTo>
                      <a:pt x="24908" y="91657"/>
                    </a:lnTo>
                    <a:cubicBezTo>
                      <a:pt x="8123" y="92443"/>
                      <a:pt x="8589" y="104600"/>
                      <a:pt x="8153" y="116117"/>
                    </a:cubicBezTo>
                    <a:close/>
                  </a:path>
                </a:pathLst>
              </a:custGeom>
              <a:solidFill>
                <a:srgbClr val="FCFDFD"/>
              </a:solidFill>
              <a:ln w="2907" cap="flat">
                <a:noFill/>
                <a:prstDash val="solid"/>
                <a:miter/>
              </a:ln>
            </p:spPr>
            <p:txBody>
              <a:bodyPr rtlCol="0" anchor="ctr"/>
              <a:lstStyle/>
              <a:p>
                <a:endParaRPr lang="en-US" sz="800"/>
              </a:p>
            </p:txBody>
          </p:sp>
          <p:sp>
            <p:nvSpPr>
              <p:cNvPr id="201" name="Graphic 38">
                <a:extLst>
                  <a:ext uri="{FF2B5EF4-FFF2-40B4-BE49-F238E27FC236}">
                    <a16:creationId xmlns:a16="http://schemas.microsoft.com/office/drawing/2014/main" id="{369AD86E-0A07-BE6D-2237-A92D276B6697}"/>
                  </a:ext>
                </a:extLst>
              </p:cNvPr>
              <p:cNvSpPr/>
              <p:nvPr/>
            </p:nvSpPr>
            <p:spPr>
              <a:xfrm>
                <a:off x="16651622" y="2359991"/>
                <a:ext cx="455852" cy="123876"/>
              </a:xfrm>
              <a:custGeom>
                <a:avLst/>
                <a:gdLst>
                  <a:gd name="connsiteX0" fmla="*/ 8327 w 455852"/>
                  <a:gd name="connsiteY0" fmla="*/ 119848 h 123876"/>
                  <a:gd name="connsiteX1" fmla="*/ -981 w 455852"/>
                  <a:gd name="connsiteY1" fmla="*/ 108476 h 123876"/>
                  <a:gd name="connsiteX2" fmla="*/ -981 w 455852"/>
                  <a:gd name="connsiteY2" fmla="*/ 13633 h 123876"/>
                  <a:gd name="connsiteX3" fmla="*/ 8589 w 455852"/>
                  <a:gd name="connsiteY3" fmla="*/ 2378 h 123876"/>
                  <a:gd name="connsiteX4" fmla="*/ 54171 w 455852"/>
                  <a:gd name="connsiteY4" fmla="*/ -530 h 123876"/>
                  <a:gd name="connsiteX5" fmla="*/ 379966 w 455852"/>
                  <a:gd name="connsiteY5" fmla="*/ -240 h 123876"/>
                  <a:gd name="connsiteX6" fmla="*/ 444514 w 455852"/>
                  <a:gd name="connsiteY6" fmla="*/ 2669 h 123876"/>
                  <a:gd name="connsiteX7" fmla="*/ 454870 w 455852"/>
                  <a:gd name="connsiteY7" fmla="*/ 13023 h 123876"/>
                  <a:gd name="connsiteX8" fmla="*/ 454870 w 455852"/>
                  <a:gd name="connsiteY8" fmla="*/ 112606 h 123876"/>
                  <a:gd name="connsiteX9" fmla="*/ 444631 w 455852"/>
                  <a:gd name="connsiteY9" fmla="*/ 123338 h 123876"/>
                  <a:gd name="connsiteX10" fmla="*/ 397797 w 455852"/>
                  <a:gd name="connsiteY10" fmla="*/ 82620 h 123876"/>
                  <a:gd name="connsiteX11" fmla="*/ 49052 w 455852"/>
                  <a:gd name="connsiteY11" fmla="*/ 83057 h 123876"/>
                  <a:gd name="connsiteX12" fmla="*/ 8327 w 455852"/>
                  <a:gd name="connsiteY12" fmla="*/ 119848 h 12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5852" h="123876">
                    <a:moveTo>
                      <a:pt x="8327" y="119848"/>
                    </a:moveTo>
                    <a:cubicBezTo>
                      <a:pt x="270" y="120081"/>
                      <a:pt x="-1010" y="115107"/>
                      <a:pt x="-981" y="108476"/>
                    </a:cubicBezTo>
                    <a:cubicBezTo>
                      <a:pt x="-835" y="76862"/>
                      <a:pt x="-835" y="45248"/>
                      <a:pt x="-981" y="13633"/>
                    </a:cubicBezTo>
                    <a:cubicBezTo>
                      <a:pt x="-981" y="6886"/>
                      <a:pt x="735" y="2581"/>
                      <a:pt x="8589" y="2378"/>
                    </a:cubicBezTo>
                    <a:cubicBezTo>
                      <a:pt x="23803" y="1971"/>
                      <a:pt x="38812" y="-705"/>
                      <a:pt x="54171" y="-530"/>
                    </a:cubicBezTo>
                    <a:cubicBezTo>
                      <a:pt x="162789" y="-152"/>
                      <a:pt x="271378" y="-530"/>
                      <a:pt x="379966" y="-240"/>
                    </a:cubicBezTo>
                    <a:cubicBezTo>
                      <a:pt x="401492" y="-240"/>
                      <a:pt x="422872" y="4036"/>
                      <a:pt x="444514" y="2669"/>
                    </a:cubicBezTo>
                    <a:cubicBezTo>
                      <a:pt x="451845" y="2203"/>
                      <a:pt x="454928" y="5577"/>
                      <a:pt x="454870" y="13023"/>
                    </a:cubicBezTo>
                    <a:cubicBezTo>
                      <a:pt x="454870" y="46236"/>
                      <a:pt x="454695" y="79421"/>
                      <a:pt x="454870" y="112606"/>
                    </a:cubicBezTo>
                    <a:cubicBezTo>
                      <a:pt x="454870" y="120022"/>
                      <a:pt x="451757" y="123309"/>
                      <a:pt x="444631" y="123338"/>
                    </a:cubicBezTo>
                    <a:cubicBezTo>
                      <a:pt x="441576" y="94603"/>
                      <a:pt x="431483" y="82213"/>
                      <a:pt x="397797" y="82620"/>
                    </a:cubicBezTo>
                    <a:cubicBezTo>
                      <a:pt x="281442" y="83638"/>
                      <a:pt x="165291" y="83028"/>
                      <a:pt x="49052" y="83057"/>
                    </a:cubicBezTo>
                    <a:cubicBezTo>
                      <a:pt x="20312" y="82737"/>
                      <a:pt x="10626" y="91549"/>
                      <a:pt x="8327" y="119848"/>
                    </a:cubicBezTo>
                    <a:close/>
                  </a:path>
                </a:pathLst>
              </a:custGeom>
              <a:solidFill>
                <a:srgbClr val="FCFDFD"/>
              </a:solidFill>
              <a:ln w="2907" cap="flat">
                <a:noFill/>
                <a:prstDash val="solid"/>
                <a:miter/>
              </a:ln>
            </p:spPr>
            <p:txBody>
              <a:bodyPr rtlCol="0" anchor="ctr"/>
              <a:lstStyle/>
              <a:p>
                <a:endParaRPr lang="en-US" sz="800"/>
              </a:p>
            </p:txBody>
          </p:sp>
          <p:sp>
            <p:nvSpPr>
              <p:cNvPr id="203" name="Graphic 38">
                <a:extLst>
                  <a:ext uri="{FF2B5EF4-FFF2-40B4-BE49-F238E27FC236}">
                    <a16:creationId xmlns:a16="http://schemas.microsoft.com/office/drawing/2014/main" id="{A1D37326-7D75-C8A5-CE6B-0E7F957A744F}"/>
                  </a:ext>
                </a:extLst>
              </p:cNvPr>
              <p:cNvSpPr/>
              <p:nvPr/>
            </p:nvSpPr>
            <p:spPr>
              <a:xfrm>
                <a:off x="15265423" y="1093915"/>
                <a:ext cx="456648" cy="116159"/>
              </a:xfrm>
              <a:custGeom>
                <a:avLst/>
                <a:gdLst>
                  <a:gd name="connsiteX0" fmla="*/ 440413 w 456648"/>
                  <a:gd name="connsiteY0" fmla="*/ 72695 h 116159"/>
                  <a:gd name="connsiteX1" fmla="*/ 408677 w 456648"/>
                  <a:gd name="connsiteY1" fmla="*/ 56466 h 116159"/>
                  <a:gd name="connsiteX2" fmla="*/ 44194 w 456648"/>
                  <a:gd name="connsiteY2" fmla="*/ 56466 h 116159"/>
                  <a:gd name="connsiteX3" fmla="*/ 12486 w 456648"/>
                  <a:gd name="connsiteY3" fmla="*/ 72840 h 116159"/>
                  <a:gd name="connsiteX4" fmla="*/ 11381 w 456648"/>
                  <a:gd name="connsiteY4" fmla="*/ 75400 h 116159"/>
                  <a:gd name="connsiteX5" fmla="*/ 11148 w 456648"/>
                  <a:gd name="connsiteY5" fmla="*/ 75865 h 116159"/>
                  <a:gd name="connsiteX6" fmla="*/ 8240 w 456648"/>
                  <a:gd name="connsiteY6" fmla="*/ 106723 h 116159"/>
                  <a:gd name="connsiteX7" fmla="*/ 4051 w 456648"/>
                  <a:gd name="connsiteY7" fmla="*/ 115594 h 116159"/>
                  <a:gd name="connsiteX8" fmla="*/ -981 w 456648"/>
                  <a:gd name="connsiteY8" fmla="*/ 107625 h 116159"/>
                  <a:gd name="connsiteX9" fmla="*/ -981 w 456648"/>
                  <a:gd name="connsiteY9" fmla="*/ 9670 h 116159"/>
                  <a:gd name="connsiteX10" fmla="*/ 8298 w 456648"/>
                  <a:gd name="connsiteY10" fmla="*/ -161 h 116159"/>
                  <a:gd name="connsiteX11" fmla="*/ 17781 w 456648"/>
                  <a:gd name="connsiteY11" fmla="*/ -161 h 116159"/>
                  <a:gd name="connsiteX12" fmla="*/ 435206 w 456648"/>
                  <a:gd name="connsiteY12" fmla="*/ -539 h 116159"/>
                  <a:gd name="connsiteX13" fmla="*/ 455219 w 456648"/>
                  <a:gd name="connsiteY13" fmla="*/ 19966 h 116159"/>
                  <a:gd name="connsiteX14" fmla="*/ 454666 w 456648"/>
                  <a:gd name="connsiteY14" fmla="*/ 92675 h 116159"/>
                  <a:gd name="connsiteX15" fmla="*/ 450535 w 456648"/>
                  <a:gd name="connsiteY15" fmla="*/ 114605 h 116159"/>
                  <a:gd name="connsiteX16" fmla="*/ 445620 w 456648"/>
                  <a:gd name="connsiteY16" fmla="*/ 93461 h 116159"/>
                  <a:gd name="connsiteX17" fmla="*/ 440413 w 456648"/>
                  <a:gd name="connsiteY17" fmla="*/ 72695 h 116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6648" h="116159">
                    <a:moveTo>
                      <a:pt x="440413" y="72695"/>
                    </a:moveTo>
                    <a:cubicBezTo>
                      <a:pt x="433257" y="60567"/>
                      <a:pt x="422610" y="56437"/>
                      <a:pt x="408677" y="56466"/>
                    </a:cubicBezTo>
                    <a:cubicBezTo>
                      <a:pt x="287173" y="56757"/>
                      <a:pt x="165698" y="56757"/>
                      <a:pt x="44194" y="56466"/>
                    </a:cubicBezTo>
                    <a:cubicBezTo>
                      <a:pt x="30173" y="56466"/>
                      <a:pt x="19788" y="61061"/>
                      <a:pt x="12486" y="72840"/>
                    </a:cubicBezTo>
                    <a:cubicBezTo>
                      <a:pt x="11817" y="73532"/>
                      <a:pt x="11440" y="74443"/>
                      <a:pt x="11381" y="75400"/>
                    </a:cubicBezTo>
                    <a:lnTo>
                      <a:pt x="11148" y="75865"/>
                    </a:lnTo>
                    <a:cubicBezTo>
                      <a:pt x="5331" y="85695"/>
                      <a:pt x="9491" y="96485"/>
                      <a:pt x="8240" y="106723"/>
                    </a:cubicBezTo>
                    <a:cubicBezTo>
                      <a:pt x="7833" y="110184"/>
                      <a:pt x="9112" y="115157"/>
                      <a:pt x="4051" y="115594"/>
                    </a:cubicBezTo>
                    <a:cubicBezTo>
                      <a:pt x="-1010" y="116030"/>
                      <a:pt x="-981" y="111144"/>
                      <a:pt x="-981" y="107625"/>
                    </a:cubicBezTo>
                    <a:cubicBezTo>
                      <a:pt x="-981" y="74993"/>
                      <a:pt x="-981" y="42331"/>
                      <a:pt x="-981" y="9670"/>
                    </a:cubicBezTo>
                    <a:cubicBezTo>
                      <a:pt x="-981" y="3300"/>
                      <a:pt x="1521" y="-306"/>
                      <a:pt x="8298" y="-161"/>
                    </a:cubicBezTo>
                    <a:cubicBezTo>
                      <a:pt x="11469" y="-161"/>
                      <a:pt x="14639" y="-161"/>
                      <a:pt x="17781" y="-161"/>
                    </a:cubicBezTo>
                    <a:cubicBezTo>
                      <a:pt x="156942" y="-161"/>
                      <a:pt x="296073" y="130"/>
                      <a:pt x="435206" y="-539"/>
                    </a:cubicBezTo>
                    <a:cubicBezTo>
                      <a:pt x="451612" y="-539"/>
                      <a:pt x="456062" y="4202"/>
                      <a:pt x="455219" y="19966"/>
                    </a:cubicBezTo>
                    <a:cubicBezTo>
                      <a:pt x="453939" y="44134"/>
                      <a:pt x="455219" y="68419"/>
                      <a:pt x="454666" y="92675"/>
                    </a:cubicBezTo>
                    <a:cubicBezTo>
                      <a:pt x="454463" y="100441"/>
                      <a:pt x="458913" y="114605"/>
                      <a:pt x="450535" y="114605"/>
                    </a:cubicBezTo>
                    <a:cubicBezTo>
                      <a:pt x="440529" y="114605"/>
                      <a:pt x="446958" y="100994"/>
                      <a:pt x="445620" y="93461"/>
                    </a:cubicBezTo>
                    <a:cubicBezTo>
                      <a:pt x="444107" y="86306"/>
                      <a:pt x="447103" y="78337"/>
                      <a:pt x="440413" y="72695"/>
                    </a:cubicBezTo>
                    <a:close/>
                  </a:path>
                </a:pathLst>
              </a:custGeom>
              <a:solidFill>
                <a:srgbClr val="FCFDFD"/>
              </a:solidFill>
              <a:ln w="2907" cap="flat">
                <a:noFill/>
                <a:prstDash val="solid"/>
                <a:miter/>
              </a:ln>
            </p:spPr>
            <p:txBody>
              <a:bodyPr rtlCol="0" anchor="ctr"/>
              <a:lstStyle/>
              <a:p>
                <a:endParaRPr lang="en-US" sz="800"/>
              </a:p>
            </p:txBody>
          </p:sp>
          <p:sp>
            <p:nvSpPr>
              <p:cNvPr id="204" name="Graphic 38">
                <a:extLst>
                  <a:ext uri="{FF2B5EF4-FFF2-40B4-BE49-F238E27FC236}">
                    <a16:creationId xmlns:a16="http://schemas.microsoft.com/office/drawing/2014/main" id="{BB5FE684-9794-938A-436A-8017A18656C4}"/>
                  </a:ext>
                </a:extLst>
              </p:cNvPr>
              <p:cNvSpPr/>
              <p:nvPr/>
            </p:nvSpPr>
            <p:spPr>
              <a:xfrm>
                <a:off x="16651382" y="1091036"/>
                <a:ext cx="456488" cy="120291"/>
              </a:xfrm>
              <a:custGeom>
                <a:avLst/>
                <a:gdLst>
                  <a:gd name="connsiteX0" fmla="*/ 5659 w 456488"/>
                  <a:gd name="connsiteY0" fmla="*/ 119753 h 120291"/>
                  <a:gd name="connsiteX1" fmla="*/ -741 w 456488"/>
                  <a:gd name="connsiteY1" fmla="*/ 107392 h 120291"/>
                  <a:gd name="connsiteX2" fmla="*/ -974 w 456488"/>
                  <a:gd name="connsiteY2" fmla="*/ 15748 h 120291"/>
                  <a:gd name="connsiteX3" fmla="*/ 12611 w 456488"/>
                  <a:gd name="connsiteY3" fmla="*/ 363 h 120291"/>
                  <a:gd name="connsiteX4" fmla="*/ 26806 w 456488"/>
                  <a:gd name="connsiteY4" fmla="*/ -131 h 120291"/>
                  <a:gd name="connsiteX5" fmla="*/ 436377 w 456488"/>
                  <a:gd name="connsiteY5" fmla="*/ -539 h 120291"/>
                  <a:gd name="connsiteX6" fmla="*/ 455314 w 456488"/>
                  <a:gd name="connsiteY6" fmla="*/ 19238 h 120291"/>
                  <a:gd name="connsiteX7" fmla="*/ 452405 w 456488"/>
                  <a:gd name="connsiteY7" fmla="*/ 91599 h 120291"/>
                  <a:gd name="connsiteX8" fmla="*/ 441991 w 456488"/>
                  <a:gd name="connsiteY8" fmla="*/ 79413 h 120291"/>
                  <a:gd name="connsiteX9" fmla="*/ 442224 w 456488"/>
                  <a:gd name="connsiteY9" fmla="*/ 79180 h 120291"/>
                  <a:gd name="connsiteX10" fmla="*/ 440246 w 456488"/>
                  <a:gd name="connsiteY10" fmla="*/ 75341 h 120291"/>
                  <a:gd name="connsiteX11" fmla="*/ 439781 w 456488"/>
                  <a:gd name="connsiteY11" fmla="*/ 74033 h 120291"/>
                  <a:gd name="connsiteX12" fmla="*/ 439199 w 456488"/>
                  <a:gd name="connsiteY12" fmla="*/ 73131 h 120291"/>
                  <a:gd name="connsiteX13" fmla="*/ 436290 w 456488"/>
                  <a:gd name="connsiteY13" fmla="*/ 69321 h 120291"/>
                  <a:gd name="connsiteX14" fmla="*/ 427970 w 456488"/>
                  <a:gd name="connsiteY14" fmla="*/ 62370 h 120291"/>
                  <a:gd name="connsiteX15" fmla="*/ 427011 w 456488"/>
                  <a:gd name="connsiteY15" fmla="*/ 61876 h 120291"/>
                  <a:gd name="connsiteX16" fmla="*/ 423346 w 456488"/>
                  <a:gd name="connsiteY16" fmla="*/ 59927 h 120291"/>
                  <a:gd name="connsiteX17" fmla="*/ 423549 w 456488"/>
                  <a:gd name="connsiteY17" fmla="*/ 59927 h 120291"/>
                  <a:gd name="connsiteX18" fmla="*/ 405659 w 456488"/>
                  <a:gd name="connsiteY18" fmla="*/ 56466 h 120291"/>
                  <a:gd name="connsiteX19" fmla="*/ 60724 w 456488"/>
                  <a:gd name="connsiteY19" fmla="*/ 56466 h 120291"/>
                  <a:gd name="connsiteX20" fmla="*/ 43881 w 456488"/>
                  <a:gd name="connsiteY20" fmla="*/ 58880 h 120291"/>
                  <a:gd name="connsiteX21" fmla="*/ 37365 w 456488"/>
                  <a:gd name="connsiteY21" fmla="*/ 58880 h 120291"/>
                  <a:gd name="connsiteX22" fmla="*/ 31053 w 456488"/>
                  <a:gd name="connsiteY22" fmla="*/ 59345 h 120291"/>
                  <a:gd name="connsiteX23" fmla="*/ 30705 w 456488"/>
                  <a:gd name="connsiteY23" fmla="*/ 59345 h 120291"/>
                  <a:gd name="connsiteX24" fmla="*/ 28494 w 456488"/>
                  <a:gd name="connsiteY24" fmla="*/ 60334 h 120291"/>
                  <a:gd name="connsiteX25" fmla="*/ 22472 w 456488"/>
                  <a:gd name="connsiteY25" fmla="*/ 62981 h 120291"/>
                  <a:gd name="connsiteX26" fmla="*/ 18574 w 456488"/>
                  <a:gd name="connsiteY26" fmla="*/ 66064 h 120291"/>
                  <a:gd name="connsiteX27" fmla="*/ 18574 w 456488"/>
                  <a:gd name="connsiteY27" fmla="*/ 66064 h 120291"/>
                  <a:gd name="connsiteX28" fmla="*/ 12262 w 456488"/>
                  <a:gd name="connsiteY28" fmla="*/ 71339 h 120291"/>
                  <a:gd name="connsiteX29" fmla="*/ 12379 w 456488"/>
                  <a:gd name="connsiteY29" fmla="*/ 73131 h 120291"/>
                  <a:gd name="connsiteX30" fmla="*/ 11593 w 456488"/>
                  <a:gd name="connsiteY30" fmla="*/ 75312 h 120291"/>
                  <a:gd name="connsiteX31" fmla="*/ 5659 w 456488"/>
                  <a:gd name="connsiteY31" fmla="*/ 119753 h 120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56488" h="120291">
                    <a:moveTo>
                      <a:pt x="5659" y="119753"/>
                    </a:moveTo>
                    <a:cubicBezTo>
                      <a:pt x="-1963" y="118473"/>
                      <a:pt x="-711" y="112452"/>
                      <a:pt x="-741" y="107392"/>
                    </a:cubicBezTo>
                    <a:cubicBezTo>
                      <a:pt x="-741" y="76854"/>
                      <a:pt x="-334" y="46316"/>
                      <a:pt x="-974" y="15748"/>
                    </a:cubicBezTo>
                    <a:cubicBezTo>
                      <a:pt x="-1206" y="5278"/>
                      <a:pt x="3768" y="1468"/>
                      <a:pt x="12611" y="363"/>
                    </a:cubicBezTo>
                    <a:cubicBezTo>
                      <a:pt x="17323" y="-94"/>
                      <a:pt x="22065" y="-257"/>
                      <a:pt x="26806" y="-131"/>
                    </a:cubicBezTo>
                    <a:cubicBezTo>
                      <a:pt x="163349" y="-131"/>
                      <a:pt x="299863" y="101"/>
                      <a:pt x="436377" y="-539"/>
                    </a:cubicBezTo>
                    <a:cubicBezTo>
                      <a:pt x="452172" y="-539"/>
                      <a:pt x="456536" y="4406"/>
                      <a:pt x="455314" y="19238"/>
                    </a:cubicBezTo>
                    <a:cubicBezTo>
                      <a:pt x="453394" y="43291"/>
                      <a:pt x="457728" y="67663"/>
                      <a:pt x="452405" y="91599"/>
                    </a:cubicBezTo>
                    <a:cubicBezTo>
                      <a:pt x="444289" y="91599"/>
                      <a:pt x="447693" y="81594"/>
                      <a:pt x="441991" y="79413"/>
                    </a:cubicBezTo>
                    <a:lnTo>
                      <a:pt x="442224" y="79180"/>
                    </a:lnTo>
                    <a:lnTo>
                      <a:pt x="440246" y="75341"/>
                    </a:lnTo>
                    <a:lnTo>
                      <a:pt x="439781" y="74033"/>
                    </a:lnTo>
                    <a:lnTo>
                      <a:pt x="439199" y="73131"/>
                    </a:lnTo>
                    <a:lnTo>
                      <a:pt x="436290" y="69321"/>
                    </a:lnTo>
                    <a:cubicBezTo>
                      <a:pt x="436115" y="63882"/>
                      <a:pt x="432392" y="62690"/>
                      <a:pt x="427970" y="62370"/>
                    </a:cubicBezTo>
                    <a:lnTo>
                      <a:pt x="427011" y="61876"/>
                    </a:lnTo>
                    <a:lnTo>
                      <a:pt x="423346" y="59927"/>
                    </a:lnTo>
                    <a:lnTo>
                      <a:pt x="423549" y="59927"/>
                    </a:lnTo>
                    <a:cubicBezTo>
                      <a:pt x="418487" y="54256"/>
                      <a:pt x="411710" y="56466"/>
                      <a:pt x="405659" y="56466"/>
                    </a:cubicBezTo>
                    <a:cubicBezTo>
                      <a:pt x="290671" y="56350"/>
                      <a:pt x="175683" y="56350"/>
                      <a:pt x="60724" y="56466"/>
                    </a:cubicBezTo>
                    <a:cubicBezTo>
                      <a:pt x="54906" y="56466"/>
                      <a:pt x="49088" y="54983"/>
                      <a:pt x="43881" y="58880"/>
                    </a:cubicBezTo>
                    <a:lnTo>
                      <a:pt x="37365" y="58880"/>
                    </a:lnTo>
                    <a:cubicBezTo>
                      <a:pt x="35068" y="56379"/>
                      <a:pt x="32973" y="56611"/>
                      <a:pt x="31053" y="59345"/>
                    </a:cubicBezTo>
                    <a:lnTo>
                      <a:pt x="30705" y="59345"/>
                    </a:lnTo>
                    <a:cubicBezTo>
                      <a:pt x="29890" y="59447"/>
                      <a:pt x="29105" y="59793"/>
                      <a:pt x="28494" y="60334"/>
                    </a:cubicBezTo>
                    <a:lnTo>
                      <a:pt x="22472" y="62981"/>
                    </a:lnTo>
                    <a:lnTo>
                      <a:pt x="18574" y="66064"/>
                    </a:lnTo>
                    <a:lnTo>
                      <a:pt x="18574" y="66064"/>
                    </a:lnTo>
                    <a:cubicBezTo>
                      <a:pt x="15375" y="65776"/>
                      <a:pt x="12553" y="68137"/>
                      <a:pt x="12262" y="71339"/>
                    </a:cubicBezTo>
                    <a:cubicBezTo>
                      <a:pt x="12204" y="71939"/>
                      <a:pt x="12233" y="72544"/>
                      <a:pt x="12379" y="73131"/>
                    </a:cubicBezTo>
                    <a:cubicBezTo>
                      <a:pt x="12524" y="73945"/>
                      <a:pt x="12233" y="74774"/>
                      <a:pt x="11593" y="75312"/>
                    </a:cubicBezTo>
                    <a:cubicBezTo>
                      <a:pt x="801" y="89011"/>
                      <a:pt x="7782" y="104978"/>
                      <a:pt x="5659" y="119753"/>
                    </a:cubicBezTo>
                    <a:close/>
                  </a:path>
                </a:pathLst>
              </a:custGeom>
              <a:solidFill>
                <a:srgbClr val="FCFDFD"/>
              </a:solidFill>
              <a:ln w="2907" cap="flat">
                <a:noFill/>
                <a:prstDash val="solid"/>
                <a:miter/>
              </a:ln>
            </p:spPr>
            <p:txBody>
              <a:bodyPr rtlCol="0" anchor="ctr"/>
              <a:lstStyle/>
              <a:p>
                <a:endParaRPr lang="en-US" sz="800"/>
              </a:p>
            </p:txBody>
          </p:sp>
          <p:sp>
            <p:nvSpPr>
              <p:cNvPr id="205" name="Graphic 38">
                <a:extLst>
                  <a:ext uri="{FF2B5EF4-FFF2-40B4-BE49-F238E27FC236}">
                    <a16:creationId xmlns:a16="http://schemas.microsoft.com/office/drawing/2014/main" id="{5848115B-68A4-6079-59D7-4253F4F40494}"/>
                  </a:ext>
                </a:extLst>
              </p:cNvPr>
              <p:cNvSpPr/>
              <p:nvPr/>
            </p:nvSpPr>
            <p:spPr>
              <a:xfrm>
                <a:off x="16189278" y="1094177"/>
                <a:ext cx="456032" cy="117295"/>
              </a:xfrm>
              <a:custGeom>
                <a:avLst/>
                <a:gdLst>
                  <a:gd name="connsiteX0" fmla="*/ 34135 w 456032"/>
                  <a:gd name="connsiteY0" fmla="*/ 56059 h 117295"/>
                  <a:gd name="connsiteX1" fmla="*/ 30557 w 456032"/>
                  <a:gd name="connsiteY1" fmla="*/ 56437 h 117295"/>
                  <a:gd name="connsiteX2" fmla="*/ 18457 w 456032"/>
                  <a:gd name="connsiteY2" fmla="*/ 63126 h 117295"/>
                  <a:gd name="connsiteX3" fmla="*/ 18457 w 456032"/>
                  <a:gd name="connsiteY3" fmla="*/ 63126 h 117295"/>
                  <a:gd name="connsiteX4" fmla="*/ 15257 w 456032"/>
                  <a:gd name="connsiteY4" fmla="*/ 66529 h 117295"/>
                  <a:gd name="connsiteX5" fmla="*/ 15402 w 456032"/>
                  <a:gd name="connsiteY5" fmla="*/ 66354 h 117295"/>
                  <a:gd name="connsiteX6" fmla="*/ 5600 w 456032"/>
                  <a:gd name="connsiteY6" fmla="*/ 85841 h 117295"/>
                  <a:gd name="connsiteX7" fmla="*/ 5600 w 456032"/>
                  <a:gd name="connsiteY7" fmla="*/ 116757 h 117295"/>
                  <a:gd name="connsiteX8" fmla="*/ -742 w 456032"/>
                  <a:gd name="connsiteY8" fmla="*/ 104396 h 117295"/>
                  <a:gd name="connsiteX9" fmla="*/ -975 w 456032"/>
                  <a:gd name="connsiteY9" fmla="*/ 12811 h 117295"/>
                  <a:gd name="connsiteX10" fmla="*/ 13075 w 456032"/>
                  <a:gd name="connsiteY10" fmla="*/ -539 h 117295"/>
                  <a:gd name="connsiteX11" fmla="*/ 438034 w 456032"/>
                  <a:gd name="connsiteY11" fmla="*/ -539 h 117295"/>
                  <a:gd name="connsiteX12" fmla="*/ 452578 w 456032"/>
                  <a:gd name="connsiteY12" fmla="*/ 12520 h 117295"/>
                  <a:gd name="connsiteX13" fmla="*/ 454906 w 456032"/>
                  <a:gd name="connsiteY13" fmla="*/ 106985 h 117295"/>
                  <a:gd name="connsiteX14" fmla="*/ 445859 w 456032"/>
                  <a:gd name="connsiteY14" fmla="*/ 116262 h 117295"/>
                  <a:gd name="connsiteX15" fmla="*/ 445859 w 456032"/>
                  <a:gd name="connsiteY15" fmla="*/ 82002 h 117295"/>
                  <a:gd name="connsiteX16" fmla="*/ 423373 w 456032"/>
                  <a:gd name="connsiteY16" fmla="*/ 56844 h 117295"/>
                  <a:gd name="connsiteX17" fmla="*/ 420289 w 456032"/>
                  <a:gd name="connsiteY17" fmla="*/ 56291 h 117295"/>
                  <a:gd name="connsiteX18" fmla="*/ 407432 w 456032"/>
                  <a:gd name="connsiteY18" fmla="*/ 50475 h 117295"/>
                  <a:gd name="connsiteX19" fmla="*/ 47022 w 456032"/>
                  <a:gd name="connsiteY19" fmla="*/ 50475 h 117295"/>
                  <a:gd name="connsiteX20" fmla="*/ 34135 w 456032"/>
                  <a:gd name="connsiteY20" fmla="*/ 56059 h 11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6032" h="117295">
                    <a:moveTo>
                      <a:pt x="34135" y="56059"/>
                    </a:moveTo>
                    <a:lnTo>
                      <a:pt x="30557" y="56437"/>
                    </a:lnTo>
                    <a:cubicBezTo>
                      <a:pt x="25147" y="56175"/>
                      <a:pt x="20551" y="57397"/>
                      <a:pt x="18457" y="63126"/>
                    </a:cubicBezTo>
                    <a:lnTo>
                      <a:pt x="18457" y="63126"/>
                    </a:lnTo>
                    <a:lnTo>
                      <a:pt x="15257" y="66529"/>
                    </a:lnTo>
                    <a:lnTo>
                      <a:pt x="15402" y="66354"/>
                    </a:lnTo>
                    <a:cubicBezTo>
                      <a:pt x="7170" y="70339"/>
                      <a:pt x="5744" y="77842"/>
                      <a:pt x="5600" y="85841"/>
                    </a:cubicBezTo>
                    <a:cubicBezTo>
                      <a:pt x="5425" y="96136"/>
                      <a:pt x="5600" y="106432"/>
                      <a:pt x="5600" y="116757"/>
                    </a:cubicBezTo>
                    <a:cubicBezTo>
                      <a:pt x="-1993" y="115448"/>
                      <a:pt x="-742" y="109457"/>
                      <a:pt x="-742" y="104396"/>
                    </a:cubicBezTo>
                    <a:cubicBezTo>
                      <a:pt x="-742" y="73858"/>
                      <a:pt x="-451" y="43320"/>
                      <a:pt x="-975" y="12811"/>
                    </a:cubicBezTo>
                    <a:cubicBezTo>
                      <a:pt x="-1178" y="2137"/>
                      <a:pt x="3214" y="-539"/>
                      <a:pt x="13075" y="-539"/>
                    </a:cubicBezTo>
                    <a:cubicBezTo>
                      <a:pt x="154651" y="-306"/>
                      <a:pt x="296284" y="-306"/>
                      <a:pt x="438034" y="-539"/>
                    </a:cubicBezTo>
                    <a:cubicBezTo>
                      <a:pt x="447807" y="-539"/>
                      <a:pt x="451182" y="2370"/>
                      <a:pt x="452578" y="12520"/>
                    </a:cubicBezTo>
                    <a:cubicBezTo>
                      <a:pt x="457290" y="44018"/>
                      <a:pt x="453568" y="75545"/>
                      <a:pt x="454906" y="106985"/>
                    </a:cubicBezTo>
                    <a:cubicBezTo>
                      <a:pt x="455167" y="113267"/>
                      <a:pt x="453160" y="117368"/>
                      <a:pt x="445859" y="116262"/>
                    </a:cubicBezTo>
                    <a:cubicBezTo>
                      <a:pt x="445859" y="104862"/>
                      <a:pt x="445102" y="93403"/>
                      <a:pt x="445859" y="82002"/>
                    </a:cubicBezTo>
                    <a:cubicBezTo>
                      <a:pt x="446790" y="65656"/>
                      <a:pt x="438557" y="58356"/>
                      <a:pt x="423373" y="56844"/>
                    </a:cubicBezTo>
                    <a:lnTo>
                      <a:pt x="420289" y="56291"/>
                    </a:lnTo>
                    <a:cubicBezTo>
                      <a:pt x="418457" y="48991"/>
                      <a:pt x="412465" y="50475"/>
                      <a:pt x="407432" y="50475"/>
                    </a:cubicBezTo>
                    <a:cubicBezTo>
                      <a:pt x="287208" y="50475"/>
                      <a:pt x="167071" y="50475"/>
                      <a:pt x="47022" y="50475"/>
                    </a:cubicBezTo>
                    <a:cubicBezTo>
                      <a:pt x="42076" y="50329"/>
                      <a:pt x="36055" y="48846"/>
                      <a:pt x="34135" y="56059"/>
                    </a:cubicBezTo>
                    <a:close/>
                  </a:path>
                </a:pathLst>
              </a:custGeom>
              <a:solidFill>
                <a:srgbClr val="FCFDFD"/>
              </a:solidFill>
              <a:ln w="2907" cap="flat">
                <a:noFill/>
                <a:prstDash val="solid"/>
                <a:miter/>
              </a:ln>
            </p:spPr>
            <p:txBody>
              <a:bodyPr rtlCol="0" anchor="ctr"/>
              <a:lstStyle/>
              <a:p>
                <a:endParaRPr lang="en-US" sz="800"/>
              </a:p>
            </p:txBody>
          </p:sp>
          <p:sp>
            <p:nvSpPr>
              <p:cNvPr id="206" name="Graphic 38">
                <a:extLst>
                  <a:ext uri="{FF2B5EF4-FFF2-40B4-BE49-F238E27FC236}">
                    <a16:creationId xmlns:a16="http://schemas.microsoft.com/office/drawing/2014/main" id="{CCE77762-4864-32A9-15F2-643916CEC918}"/>
                  </a:ext>
                </a:extLst>
              </p:cNvPr>
              <p:cNvSpPr/>
              <p:nvPr/>
            </p:nvSpPr>
            <p:spPr>
              <a:xfrm>
                <a:off x="14802523" y="1602568"/>
                <a:ext cx="456857" cy="496318"/>
              </a:xfrm>
              <a:custGeom>
                <a:avLst/>
                <a:gdLst>
                  <a:gd name="connsiteX0" fmla="*/ 442604 w 456857"/>
                  <a:gd name="connsiteY0" fmla="*/ 421466 h 496318"/>
                  <a:gd name="connsiteX1" fmla="*/ 408337 w 456857"/>
                  <a:gd name="connsiteY1" fmla="*/ 403609 h 496318"/>
                  <a:gd name="connsiteX2" fmla="*/ 46181 w 456857"/>
                  <a:gd name="connsiteY2" fmla="*/ 403609 h 496318"/>
                  <a:gd name="connsiteX3" fmla="*/ 10722 w 456857"/>
                  <a:gd name="connsiteY3" fmla="*/ 428418 h 496318"/>
                  <a:gd name="connsiteX4" fmla="*/ 8802 w 456857"/>
                  <a:gd name="connsiteY4" fmla="*/ 484898 h 496318"/>
                  <a:gd name="connsiteX5" fmla="*/ 3740 w 456857"/>
                  <a:gd name="connsiteY5" fmla="*/ 495776 h 496318"/>
                  <a:gd name="connsiteX6" fmla="*/ -506 w 456857"/>
                  <a:gd name="connsiteY6" fmla="*/ 485509 h 496318"/>
                  <a:gd name="connsiteX7" fmla="*/ -972 w 456857"/>
                  <a:gd name="connsiteY7" fmla="*/ 390841 h 496318"/>
                  <a:gd name="connsiteX8" fmla="*/ 8685 w 456857"/>
                  <a:gd name="connsiteY8" fmla="*/ 370482 h 496318"/>
                  <a:gd name="connsiteX9" fmla="*/ 8307 w 456857"/>
                  <a:gd name="connsiteY9" fmla="*/ 251238 h 496318"/>
                  <a:gd name="connsiteX10" fmla="*/ 8307 w 456857"/>
                  <a:gd name="connsiteY10" fmla="*/ 243531 h 496318"/>
                  <a:gd name="connsiteX11" fmla="*/ 8307 w 456857"/>
                  <a:gd name="connsiteY11" fmla="*/ 124635 h 496318"/>
                  <a:gd name="connsiteX12" fmla="*/ -623 w 456857"/>
                  <a:gd name="connsiteY12" fmla="*/ 86186 h 496318"/>
                  <a:gd name="connsiteX13" fmla="*/ -623 w 456857"/>
                  <a:gd name="connsiteY13" fmla="*/ 12604 h 496318"/>
                  <a:gd name="connsiteX14" fmla="*/ 4468 w 456857"/>
                  <a:gd name="connsiteY14" fmla="*/ -455 h 496318"/>
                  <a:gd name="connsiteX15" fmla="*/ 11449 w 456857"/>
                  <a:gd name="connsiteY15" fmla="*/ 9841 h 496318"/>
                  <a:gd name="connsiteX16" fmla="*/ 46356 w 456857"/>
                  <a:gd name="connsiteY16" fmla="*/ 31596 h 496318"/>
                  <a:gd name="connsiteX17" fmla="*/ 406359 w 456857"/>
                  <a:gd name="connsiteY17" fmla="*/ 31596 h 496318"/>
                  <a:gd name="connsiteX18" fmla="*/ 439288 w 456857"/>
                  <a:gd name="connsiteY18" fmla="*/ 19322 h 496318"/>
                  <a:gd name="connsiteX19" fmla="*/ 443127 w 456857"/>
                  <a:gd name="connsiteY19" fmla="*/ 10917 h 496318"/>
                  <a:gd name="connsiteX20" fmla="*/ 443447 w 456857"/>
                  <a:gd name="connsiteY20" fmla="*/ 9783 h 496318"/>
                  <a:gd name="connsiteX21" fmla="*/ 451302 w 456857"/>
                  <a:gd name="connsiteY21" fmla="*/ 1610 h 496318"/>
                  <a:gd name="connsiteX22" fmla="*/ 455345 w 456857"/>
                  <a:gd name="connsiteY22" fmla="*/ 12168 h 496318"/>
                  <a:gd name="connsiteX23" fmla="*/ 455868 w 456857"/>
                  <a:gd name="connsiteY23" fmla="*/ 106400 h 496318"/>
                  <a:gd name="connsiteX24" fmla="*/ 446531 w 456857"/>
                  <a:gd name="connsiteY24" fmla="*/ 124606 h 496318"/>
                  <a:gd name="connsiteX25" fmla="*/ 446531 w 456857"/>
                  <a:gd name="connsiteY25" fmla="*/ 243472 h 496318"/>
                  <a:gd name="connsiteX26" fmla="*/ 446531 w 456857"/>
                  <a:gd name="connsiteY26" fmla="*/ 251180 h 496318"/>
                  <a:gd name="connsiteX27" fmla="*/ 445658 w 456857"/>
                  <a:gd name="connsiteY27" fmla="*/ 306265 h 496318"/>
                  <a:gd name="connsiteX28" fmla="*/ 446211 w 456857"/>
                  <a:gd name="connsiteY28" fmla="*/ 370250 h 496318"/>
                  <a:gd name="connsiteX29" fmla="*/ 455432 w 456857"/>
                  <a:gd name="connsiteY29" fmla="*/ 404336 h 496318"/>
                  <a:gd name="connsiteX30" fmla="*/ 455286 w 456857"/>
                  <a:gd name="connsiteY30" fmla="*/ 484957 h 496318"/>
                  <a:gd name="connsiteX31" fmla="*/ 450108 w 456857"/>
                  <a:gd name="connsiteY31" fmla="*/ 495688 h 496318"/>
                  <a:gd name="connsiteX32" fmla="*/ 446036 w 456857"/>
                  <a:gd name="connsiteY32" fmla="*/ 485306 h 496318"/>
                  <a:gd name="connsiteX33" fmla="*/ 445862 w 456857"/>
                  <a:gd name="connsiteY33" fmla="*/ 436299 h 496318"/>
                  <a:gd name="connsiteX34" fmla="*/ 442604 w 456857"/>
                  <a:gd name="connsiteY34" fmla="*/ 421466 h 496318"/>
                  <a:gd name="connsiteX35" fmla="*/ 227346 w 456857"/>
                  <a:gd name="connsiteY35" fmla="*/ 47039 h 496318"/>
                  <a:gd name="connsiteX36" fmla="*/ 45454 w 456857"/>
                  <a:gd name="connsiteY36" fmla="*/ 47039 h 496318"/>
                  <a:gd name="connsiteX37" fmla="*/ 12292 w 456857"/>
                  <a:gd name="connsiteY37" fmla="*/ 79032 h 496318"/>
                  <a:gd name="connsiteX38" fmla="*/ 12292 w 456857"/>
                  <a:gd name="connsiteY38" fmla="*/ 355649 h 496318"/>
                  <a:gd name="connsiteX39" fmla="*/ 47461 w 456857"/>
                  <a:gd name="connsiteY39" fmla="*/ 389212 h 496318"/>
                  <a:gd name="connsiteX40" fmla="*/ 403334 w 456857"/>
                  <a:gd name="connsiteY40" fmla="*/ 389590 h 496318"/>
                  <a:gd name="connsiteX41" fmla="*/ 444058 w 456857"/>
                  <a:gd name="connsiteY41" fmla="*/ 348873 h 496318"/>
                  <a:gd name="connsiteX42" fmla="*/ 444058 w 456857"/>
                  <a:gd name="connsiteY42" fmla="*/ 83423 h 496318"/>
                  <a:gd name="connsiteX43" fmla="*/ 405952 w 456857"/>
                  <a:gd name="connsiteY43" fmla="*/ 46981 h 496318"/>
                  <a:gd name="connsiteX44" fmla="*/ 227463 w 456857"/>
                  <a:gd name="connsiteY44" fmla="*/ 47039 h 49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56857" h="496318">
                    <a:moveTo>
                      <a:pt x="442604" y="421466"/>
                    </a:moveTo>
                    <a:cubicBezTo>
                      <a:pt x="434924" y="408291"/>
                      <a:pt x="423376" y="403551"/>
                      <a:pt x="408337" y="403609"/>
                    </a:cubicBezTo>
                    <a:cubicBezTo>
                      <a:pt x="287618" y="403870"/>
                      <a:pt x="166900" y="403870"/>
                      <a:pt x="46181" y="403609"/>
                    </a:cubicBezTo>
                    <a:cubicBezTo>
                      <a:pt x="27855" y="403609"/>
                      <a:pt x="15958" y="410705"/>
                      <a:pt x="10722" y="428418"/>
                    </a:cubicBezTo>
                    <a:cubicBezTo>
                      <a:pt x="6795" y="447147"/>
                      <a:pt x="10053" y="466227"/>
                      <a:pt x="8802" y="484898"/>
                    </a:cubicBezTo>
                    <a:cubicBezTo>
                      <a:pt x="8540" y="489058"/>
                      <a:pt x="10984" y="495980"/>
                      <a:pt x="3740" y="495776"/>
                    </a:cubicBezTo>
                    <a:cubicBezTo>
                      <a:pt x="-2077" y="495601"/>
                      <a:pt x="-506" y="489407"/>
                      <a:pt x="-506" y="485509"/>
                    </a:cubicBezTo>
                    <a:cubicBezTo>
                      <a:pt x="-506" y="453953"/>
                      <a:pt x="134" y="422368"/>
                      <a:pt x="-972" y="390841"/>
                    </a:cubicBezTo>
                    <a:cubicBezTo>
                      <a:pt x="-1321" y="381156"/>
                      <a:pt x="8104" y="378335"/>
                      <a:pt x="8685" y="370482"/>
                    </a:cubicBezTo>
                    <a:cubicBezTo>
                      <a:pt x="8569" y="330753"/>
                      <a:pt x="8453" y="290996"/>
                      <a:pt x="8307" y="251238"/>
                    </a:cubicBezTo>
                    <a:cubicBezTo>
                      <a:pt x="8307" y="248678"/>
                      <a:pt x="8307" y="246119"/>
                      <a:pt x="8307" y="243531"/>
                    </a:cubicBezTo>
                    <a:lnTo>
                      <a:pt x="8307" y="124635"/>
                    </a:lnTo>
                    <a:cubicBezTo>
                      <a:pt x="-3154" y="113787"/>
                      <a:pt x="-419" y="99652"/>
                      <a:pt x="-623" y="86186"/>
                    </a:cubicBezTo>
                    <a:cubicBezTo>
                      <a:pt x="-623" y="61668"/>
                      <a:pt x="-623" y="37122"/>
                      <a:pt x="-623" y="12604"/>
                    </a:cubicBezTo>
                    <a:cubicBezTo>
                      <a:pt x="-623" y="7689"/>
                      <a:pt x="-2281" y="592"/>
                      <a:pt x="4468" y="-455"/>
                    </a:cubicBezTo>
                    <a:cubicBezTo>
                      <a:pt x="11216" y="-1502"/>
                      <a:pt x="7173" y="7572"/>
                      <a:pt x="11449" y="9841"/>
                    </a:cubicBezTo>
                    <a:cubicBezTo>
                      <a:pt x="17732" y="25546"/>
                      <a:pt x="29688" y="31625"/>
                      <a:pt x="46356" y="31596"/>
                    </a:cubicBezTo>
                    <a:cubicBezTo>
                      <a:pt x="166376" y="31450"/>
                      <a:pt x="286368" y="31450"/>
                      <a:pt x="406359" y="31596"/>
                    </a:cubicBezTo>
                    <a:cubicBezTo>
                      <a:pt x="419100" y="31596"/>
                      <a:pt x="430241" y="28687"/>
                      <a:pt x="439288" y="19322"/>
                    </a:cubicBezTo>
                    <a:cubicBezTo>
                      <a:pt x="442807" y="17519"/>
                      <a:pt x="443011" y="14233"/>
                      <a:pt x="443127" y="10917"/>
                    </a:cubicBezTo>
                    <a:lnTo>
                      <a:pt x="443447" y="9783"/>
                    </a:lnTo>
                    <a:cubicBezTo>
                      <a:pt x="446647" y="7543"/>
                      <a:pt x="445338" y="301"/>
                      <a:pt x="451302" y="1610"/>
                    </a:cubicBezTo>
                    <a:cubicBezTo>
                      <a:pt x="457264" y="2919"/>
                      <a:pt x="455345" y="8241"/>
                      <a:pt x="455345" y="12168"/>
                    </a:cubicBezTo>
                    <a:cubicBezTo>
                      <a:pt x="455345" y="43578"/>
                      <a:pt x="454617" y="75018"/>
                      <a:pt x="455868" y="106400"/>
                    </a:cubicBezTo>
                    <a:cubicBezTo>
                      <a:pt x="456217" y="115678"/>
                      <a:pt x="445774" y="116725"/>
                      <a:pt x="446531" y="124606"/>
                    </a:cubicBezTo>
                    <a:cubicBezTo>
                      <a:pt x="446531" y="164219"/>
                      <a:pt x="446531" y="203831"/>
                      <a:pt x="446531" y="243472"/>
                    </a:cubicBezTo>
                    <a:cubicBezTo>
                      <a:pt x="446531" y="246061"/>
                      <a:pt x="446531" y="248620"/>
                      <a:pt x="446531" y="251180"/>
                    </a:cubicBezTo>
                    <a:cubicBezTo>
                      <a:pt x="446327" y="269532"/>
                      <a:pt x="447345" y="288029"/>
                      <a:pt x="445658" y="306265"/>
                    </a:cubicBezTo>
                    <a:cubicBezTo>
                      <a:pt x="443709" y="327700"/>
                      <a:pt x="452145" y="348902"/>
                      <a:pt x="446211" y="370250"/>
                    </a:cubicBezTo>
                    <a:cubicBezTo>
                      <a:pt x="457148" y="379498"/>
                      <a:pt x="455461" y="392091"/>
                      <a:pt x="455432" y="404336"/>
                    </a:cubicBezTo>
                    <a:cubicBezTo>
                      <a:pt x="455432" y="431209"/>
                      <a:pt x="455432" y="458083"/>
                      <a:pt x="455286" y="484957"/>
                    </a:cubicBezTo>
                    <a:cubicBezTo>
                      <a:pt x="455286" y="489058"/>
                      <a:pt x="457497" y="496096"/>
                      <a:pt x="450108" y="495688"/>
                    </a:cubicBezTo>
                    <a:cubicBezTo>
                      <a:pt x="444465" y="495398"/>
                      <a:pt x="446095" y="489174"/>
                      <a:pt x="446036" y="485306"/>
                    </a:cubicBezTo>
                    <a:cubicBezTo>
                      <a:pt x="445833" y="468960"/>
                      <a:pt x="446036" y="452615"/>
                      <a:pt x="445862" y="436299"/>
                    </a:cubicBezTo>
                    <a:cubicBezTo>
                      <a:pt x="445803" y="431239"/>
                      <a:pt x="447170" y="425654"/>
                      <a:pt x="442604" y="421466"/>
                    </a:cubicBezTo>
                    <a:close/>
                    <a:moveTo>
                      <a:pt x="227346" y="47039"/>
                    </a:moveTo>
                    <a:cubicBezTo>
                      <a:pt x="166725" y="47039"/>
                      <a:pt x="106104" y="47039"/>
                      <a:pt x="45454" y="47039"/>
                    </a:cubicBezTo>
                    <a:cubicBezTo>
                      <a:pt x="21718" y="47039"/>
                      <a:pt x="12380" y="55387"/>
                      <a:pt x="12292" y="79032"/>
                    </a:cubicBezTo>
                    <a:cubicBezTo>
                      <a:pt x="11943" y="171257"/>
                      <a:pt x="11943" y="263482"/>
                      <a:pt x="12292" y="355649"/>
                    </a:cubicBezTo>
                    <a:cubicBezTo>
                      <a:pt x="12292" y="380167"/>
                      <a:pt x="22532" y="389183"/>
                      <a:pt x="47461" y="389212"/>
                    </a:cubicBezTo>
                    <a:cubicBezTo>
                      <a:pt x="166085" y="389212"/>
                      <a:pt x="284709" y="388689"/>
                      <a:pt x="403334" y="389590"/>
                    </a:cubicBezTo>
                    <a:cubicBezTo>
                      <a:pt x="435332" y="389852"/>
                      <a:pt x="444058" y="374408"/>
                      <a:pt x="444058" y="348873"/>
                    </a:cubicBezTo>
                    <a:cubicBezTo>
                      <a:pt x="444495" y="260399"/>
                      <a:pt x="444495" y="171926"/>
                      <a:pt x="444058" y="83423"/>
                    </a:cubicBezTo>
                    <a:cubicBezTo>
                      <a:pt x="444058" y="56986"/>
                      <a:pt x="432917" y="47010"/>
                      <a:pt x="405952" y="46981"/>
                    </a:cubicBezTo>
                    <a:cubicBezTo>
                      <a:pt x="346524" y="46952"/>
                      <a:pt x="287008" y="46981"/>
                      <a:pt x="227463" y="47039"/>
                    </a:cubicBezTo>
                    <a:close/>
                  </a:path>
                </a:pathLst>
              </a:custGeom>
              <a:solidFill>
                <a:srgbClr val="F4F5F7"/>
              </a:solidFill>
              <a:ln w="2907" cap="flat">
                <a:noFill/>
                <a:prstDash val="solid"/>
                <a:miter/>
              </a:ln>
            </p:spPr>
            <p:txBody>
              <a:bodyPr rtlCol="0" anchor="ctr"/>
              <a:lstStyle/>
              <a:p>
                <a:endParaRPr lang="en-US" sz="800"/>
              </a:p>
            </p:txBody>
          </p:sp>
          <p:sp>
            <p:nvSpPr>
              <p:cNvPr id="207" name="Graphic 38">
                <a:extLst>
                  <a:ext uri="{FF2B5EF4-FFF2-40B4-BE49-F238E27FC236}">
                    <a16:creationId xmlns:a16="http://schemas.microsoft.com/office/drawing/2014/main" id="{53C9BE54-1C90-2F07-DCF6-52C206BB933C}"/>
                  </a:ext>
                </a:extLst>
              </p:cNvPr>
              <p:cNvSpPr/>
              <p:nvPr/>
            </p:nvSpPr>
            <p:spPr>
              <a:xfrm>
                <a:off x="14802840" y="2575024"/>
                <a:ext cx="456883" cy="512539"/>
              </a:xfrm>
              <a:custGeom>
                <a:avLst/>
                <a:gdLst>
                  <a:gd name="connsiteX0" fmla="*/ 24774 w 456883"/>
                  <a:gd name="connsiteY0" fmla="*/ 6173 h 512539"/>
                  <a:gd name="connsiteX1" fmla="*/ 40919 w 456883"/>
                  <a:gd name="connsiteY1" fmla="*/ -488 h 512539"/>
                  <a:gd name="connsiteX2" fmla="*/ 412557 w 456883"/>
                  <a:gd name="connsiteY2" fmla="*/ -488 h 512539"/>
                  <a:gd name="connsiteX3" fmla="*/ 436149 w 456883"/>
                  <a:gd name="connsiteY3" fmla="*/ 6812 h 512539"/>
                  <a:gd name="connsiteX4" fmla="*/ 455056 w 456883"/>
                  <a:gd name="connsiteY4" fmla="*/ 12368 h 512539"/>
                  <a:gd name="connsiteX5" fmla="*/ 455056 w 456883"/>
                  <a:gd name="connsiteY5" fmla="*/ 28015 h 512539"/>
                  <a:gd name="connsiteX6" fmla="*/ 451769 w 456883"/>
                  <a:gd name="connsiteY6" fmla="*/ 31272 h 512539"/>
                  <a:gd name="connsiteX7" fmla="*/ 448860 w 456883"/>
                  <a:gd name="connsiteY7" fmla="*/ 43459 h 512539"/>
                  <a:gd name="connsiteX8" fmla="*/ 448860 w 456883"/>
                  <a:gd name="connsiteY8" fmla="*/ 160870 h 512539"/>
                  <a:gd name="connsiteX9" fmla="*/ 455463 w 456883"/>
                  <a:gd name="connsiteY9" fmla="*/ 277206 h 512539"/>
                  <a:gd name="connsiteX10" fmla="*/ 445748 w 456883"/>
                  <a:gd name="connsiteY10" fmla="*/ 296925 h 512539"/>
                  <a:gd name="connsiteX11" fmla="*/ 445370 w 456883"/>
                  <a:gd name="connsiteY11" fmla="*/ 297129 h 512539"/>
                  <a:gd name="connsiteX12" fmla="*/ 443770 w 456883"/>
                  <a:gd name="connsiteY12" fmla="*/ 297129 h 512539"/>
                  <a:gd name="connsiteX13" fmla="*/ 441123 w 456883"/>
                  <a:gd name="connsiteY13" fmla="*/ 290032 h 512539"/>
                  <a:gd name="connsiteX14" fmla="*/ 439901 w 456883"/>
                  <a:gd name="connsiteY14" fmla="*/ 287124 h 512539"/>
                  <a:gd name="connsiteX15" fmla="*/ 408660 w 456883"/>
                  <a:gd name="connsiteY15" fmla="*/ 275490 h 512539"/>
                  <a:gd name="connsiteX16" fmla="*/ 45893 w 456883"/>
                  <a:gd name="connsiteY16" fmla="*/ 275490 h 512539"/>
                  <a:gd name="connsiteX17" fmla="*/ 14739 w 456883"/>
                  <a:gd name="connsiteY17" fmla="*/ 287298 h 512539"/>
                  <a:gd name="connsiteX18" fmla="*/ 13575 w 456883"/>
                  <a:gd name="connsiteY18" fmla="*/ 290207 h 512539"/>
                  <a:gd name="connsiteX19" fmla="*/ 11306 w 456883"/>
                  <a:gd name="connsiteY19" fmla="*/ 313677 h 512539"/>
                  <a:gd name="connsiteX20" fmla="*/ 11306 w 456883"/>
                  <a:gd name="connsiteY20" fmla="*/ 471662 h 512539"/>
                  <a:gd name="connsiteX21" fmla="*/ 50227 w 456883"/>
                  <a:gd name="connsiteY21" fmla="*/ 510605 h 512539"/>
                  <a:gd name="connsiteX22" fmla="*/ 401213 w 456883"/>
                  <a:gd name="connsiteY22" fmla="*/ 510838 h 512539"/>
                  <a:gd name="connsiteX23" fmla="*/ 439320 w 456883"/>
                  <a:gd name="connsiteY23" fmla="*/ 499204 h 512539"/>
                  <a:gd name="connsiteX24" fmla="*/ 419277 w 456883"/>
                  <a:gd name="connsiteY24" fmla="*/ 512001 h 512539"/>
                  <a:gd name="connsiteX25" fmla="*/ 37021 w 456883"/>
                  <a:gd name="connsiteY25" fmla="*/ 512001 h 512539"/>
                  <a:gd name="connsiteX26" fmla="*/ 8805 w 456883"/>
                  <a:gd name="connsiteY26" fmla="*/ 483906 h 512539"/>
                  <a:gd name="connsiteX27" fmla="*/ 8397 w 456883"/>
                  <a:gd name="connsiteY27" fmla="*/ 420765 h 512539"/>
                  <a:gd name="connsiteX28" fmla="*/ 8397 w 456883"/>
                  <a:gd name="connsiteY28" fmla="*/ 413232 h 512539"/>
                  <a:gd name="connsiteX29" fmla="*/ 8601 w 456883"/>
                  <a:gd name="connsiteY29" fmla="*/ 293988 h 512539"/>
                  <a:gd name="connsiteX30" fmla="*/ -737 w 456883"/>
                  <a:gd name="connsiteY30" fmla="*/ 260018 h 512539"/>
                  <a:gd name="connsiteX31" fmla="*/ -737 w 456883"/>
                  <a:gd name="connsiteY31" fmla="*/ 197022 h 512539"/>
                  <a:gd name="connsiteX32" fmla="*/ 8339 w 456883"/>
                  <a:gd name="connsiteY32" fmla="*/ 159823 h 512539"/>
                  <a:gd name="connsiteX33" fmla="*/ 8165 w 456883"/>
                  <a:gd name="connsiteY33" fmla="*/ 41568 h 512539"/>
                  <a:gd name="connsiteX34" fmla="*/ 8397 w 456883"/>
                  <a:gd name="connsiteY34" fmla="*/ 30254 h 512539"/>
                  <a:gd name="connsiteX35" fmla="*/ 24891 w 456883"/>
                  <a:gd name="connsiteY35" fmla="*/ 5940 h 512539"/>
                  <a:gd name="connsiteX36" fmla="*/ 10608 w 456883"/>
                  <a:gd name="connsiteY36" fmla="*/ 38223 h 512539"/>
                  <a:gd name="connsiteX37" fmla="*/ 11277 w 456883"/>
                  <a:gd name="connsiteY37" fmla="*/ 223110 h 512539"/>
                  <a:gd name="connsiteX38" fmla="*/ 47987 w 456883"/>
                  <a:gd name="connsiteY38" fmla="*/ 258971 h 512539"/>
                  <a:gd name="connsiteX39" fmla="*/ 406972 w 456883"/>
                  <a:gd name="connsiteY39" fmla="*/ 258971 h 512539"/>
                  <a:gd name="connsiteX40" fmla="*/ 443246 w 456883"/>
                  <a:gd name="connsiteY40" fmla="*/ 222819 h 512539"/>
                  <a:gd name="connsiteX41" fmla="*/ 443246 w 456883"/>
                  <a:gd name="connsiteY41" fmla="*/ 53696 h 512539"/>
                  <a:gd name="connsiteX42" fmla="*/ 440483 w 456883"/>
                  <a:gd name="connsiteY42" fmla="*/ 17719 h 512539"/>
                  <a:gd name="connsiteX43" fmla="*/ 439349 w 456883"/>
                  <a:gd name="connsiteY43" fmla="*/ 15043 h 512539"/>
                  <a:gd name="connsiteX44" fmla="*/ 405954 w 456883"/>
                  <a:gd name="connsiteY44" fmla="*/ 3991 h 512539"/>
                  <a:gd name="connsiteX45" fmla="*/ 51594 w 456883"/>
                  <a:gd name="connsiteY45" fmla="*/ 4224 h 512539"/>
                  <a:gd name="connsiteX46" fmla="*/ 24774 w 456883"/>
                  <a:gd name="connsiteY46" fmla="*/ 6173 h 51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56883" h="512539">
                    <a:moveTo>
                      <a:pt x="24774" y="6173"/>
                    </a:moveTo>
                    <a:cubicBezTo>
                      <a:pt x="27858" y="-1564"/>
                      <a:pt x="34694" y="-488"/>
                      <a:pt x="40919" y="-488"/>
                    </a:cubicBezTo>
                    <a:cubicBezTo>
                      <a:pt x="164779" y="-488"/>
                      <a:pt x="288668" y="-488"/>
                      <a:pt x="412557" y="-488"/>
                    </a:cubicBezTo>
                    <a:cubicBezTo>
                      <a:pt x="421284" y="-488"/>
                      <a:pt x="429749" y="1083"/>
                      <a:pt x="436149" y="6812"/>
                    </a:cubicBezTo>
                    <a:cubicBezTo>
                      <a:pt x="441966" y="12019"/>
                      <a:pt x="448104" y="12629"/>
                      <a:pt x="455056" y="12368"/>
                    </a:cubicBezTo>
                    <a:lnTo>
                      <a:pt x="455056" y="28015"/>
                    </a:lnTo>
                    <a:lnTo>
                      <a:pt x="451769" y="31272"/>
                    </a:lnTo>
                    <a:cubicBezTo>
                      <a:pt x="442315" y="33250"/>
                      <a:pt x="445951" y="38456"/>
                      <a:pt x="448860" y="43459"/>
                    </a:cubicBezTo>
                    <a:cubicBezTo>
                      <a:pt x="443973" y="82431"/>
                      <a:pt x="443973" y="121898"/>
                      <a:pt x="448860" y="160870"/>
                    </a:cubicBezTo>
                    <a:cubicBezTo>
                      <a:pt x="462212" y="199116"/>
                      <a:pt x="451769" y="238641"/>
                      <a:pt x="455463" y="277206"/>
                    </a:cubicBezTo>
                    <a:cubicBezTo>
                      <a:pt x="456394" y="286775"/>
                      <a:pt x="443275" y="287677"/>
                      <a:pt x="445748" y="296925"/>
                    </a:cubicBezTo>
                    <a:lnTo>
                      <a:pt x="445370" y="297129"/>
                    </a:lnTo>
                    <a:cubicBezTo>
                      <a:pt x="444846" y="297100"/>
                      <a:pt x="444294" y="297100"/>
                      <a:pt x="443770" y="297129"/>
                    </a:cubicBezTo>
                    <a:cubicBezTo>
                      <a:pt x="442868" y="294773"/>
                      <a:pt x="441996" y="292388"/>
                      <a:pt x="441123" y="290032"/>
                    </a:cubicBezTo>
                    <a:lnTo>
                      <a:pt x="439901" y="287124"/>
                    </a:lnTo>
                    <a:cubicBezTo>
                      <a:pt x="431465" y="277933"/>
                      <a:pt x="420877" y="275490"/>
                      <a:pt x="408660" y="275490"/>
                    </a:cubicBezTo>
                    <a:cubicBezTo>
                      <a:pt x="287737" y="275723"/>
                      <a:pt x="166815" y="275723"/>
                      <a:pt x="45893" y="275490"/>
                    </a:cubicBezTo>
                    <a:cubicBezTo>
                      <a:pt x="33676" y="275490"/>
                      <a:pt x="23029" y="277817"/>
                      <a:pt x="14739" y="287298"/>
                    </a:cubicBezTo>
                    <a:lnTo>
                      <a:pt x="13575" y="290207"/>
                    </a:lnTo>
                    <a:cubicBezTo>
                      <a:pt x="12790" y="298030"/>
                      <a:pt x="11335" y="305854"/>
                      <a:pt x="11306" y="313677"/>
                    </a:cubicBezTo>
                    <a:cubicBezTo>
                      <a:pt x="11132" y="366348"/>
                      <a:pt x="11132" y="419019"/>
                      <a:pt x="11306" y="471662"/>
                    </a:cubicBezTo>
                    <a:cubicBezTo>
                      <a:pt x="11306" y="500746"/>
                      <a:pt x="21313" y="510576"/>
                      <a:pt x="50227" y="510605"/>
                    </a:cubicBezTo>
                    <a:cubicBezTo>
                      <a:pt x="167223" y="510605"/>
                      <a:pt x="284218" y="510605"/>
                      <a:pt x="401213" y="510838"/>
                    </a:cubicBezTo>
                    <a:cubicBezTo>
                      <a:pt x="415437" y="510838"/>
                      <a:pt x="428149" y="508133"/>
                      <a:pt x="439320" y="499204"/>
                    </a:cubicBezTo>
                    <a:cubicBezTo>
                      <a:pt x="437487" y="511099"/>
                      <a:pt x="428818" y="512001"/>
                      <a:pt x="419277" y="512001"/>
                    </a:cubicBezTo>
                    <a:cubicBezTo>
                      <a:pt x="291839" y="512001"/>
                      <a:pt x="164401" y="512001"/>
                      <a:pt x="37021" y="512001"/>
                    </a:cubicBezTo>
                    <a:cubicBezTo>
                      <a:pt x="19364" y="512001"/>
                      <a:pt x="8979" y="501473"/>
                      <a:pt x="8805" y="483906"/>
                    </a:cubicBezTo>
                    <a:cubicBezTo>
                      <a:pt x="8572" y="462849"/>
                      <a:pt x="8514" y="441822"/>
                      <a:pt x="8397" y="420765"/>
                    </a:cubicBezTo>
                    <a:cubicBezTo>
                      <a:pt x="8397" y="418264"/>
                      <a:pt x="8397" y="415733"/>
                      <a:pt x="8397" y="413232"/>
                    </a:cubicBezTo>
                    <a:cubicBezTo>
                      <a:pt x="8397" y="373503"/>
                      <a:pt x="8455" y="333745"/>
                      <a:pt x="8601" y="293988"/>
                    </a:cubicBezTo>
                    <a:cubicBezTo>
                      <a:pt x="-2540" y="284855"/>
                      <a:pt x="-795" y="272233"/>
                      <a:pt x="-737" y="260018"/>
                    </a:cubicBezTo>
                    <a:cubicBezTo>
                      <a:pt x="-737" y="239019"/>
                      <a:pt x="-737" y="218020"/>
                      <a:pt x="-737" y="197022"/>
                    </a:cubicBezTo>
                    <a:cubicBezTo>
                      <a:pt x="-737" y="183905"/>
                      <a:pt x="-3325" y="170119"/>
                      <a:pt x="8339" y="159823"/>
                    </a:cubicBezTo>
                    <a:lnTo>
                      <a:pt x="8165" y="41568"/>
                    </a:lnTo>
                    <a:cubicBezTo>
                      <a:pt x="8165" y="37816"/>
                      <a:pt x="8310" y="34035"/>
                      <a:pt x="8397" y="30254"/>
                    </a:cubicBezTo>
                    <a:cubicBezTo>
                      <a:pt x="8834" y="18621"/>
                      <a:pt x="8397" y="6580"/>
                      <a:pt x="24891" y="5940"/>
                    </a:cubicBezTo>
                    <a:cubicBezTo>
                      <a:pt x="16310" y="15014"/>
                      <a:pt x="10521" y="25165"/>
                      <a:pt x="10608" y="38223"/>
                    </a:cubicBezTo>
                    <a:cubicBezTo>
                      <a:pt x="10928" y="99852"/>
                      <a:pt x="10986" y="161481"/>
                      <a:pt x="11277" y="223110"/>
                    </a:cubicBezTo>
                    <a:cubicBezTo>
                      <a:pt x="11277" y="249024"/>
                      <a:pt x="21545" y="258942"/>
                      <a:pt x="47987" y="258971"/>
                    </a:cubicBezTo>
                    <a:cubicBezTo>
                      <a:pt x="167659" y="258971"/>
                      <a:pt x="287330" y="258971"/>
                      <a:pt x="406972" y="258971"/>
                    </a:cubicBezTo>
                    <a:cubicBezTo>
                      <a:pt x="433385" y="258971"/>
                      <a:pt x="443188" y="249198"/>
                      <a:pt x="443246" y="222819"/>
                    </a:cubicBezTo>
                    <a:cubicBezTo>
                      <a:pt x="443246" y="166454"/>
                      <a:pt x="443246" y="110090"/>
                      <a:pt x="443246" y="53696"/>
                    </a:cubicBezTo>
                    <a:cubicBezTo>
                      <a:pt x="443246" y="41626"/>
                      <a:pt x="444119" y="29498"/>
                      <a:pt x="440483" y="17719"/>
                    </a:cubicBezTo>
                    <a:lnTo>
                      <a:pt x="439349" y="15043"/>
                    </a:lnTo>
                    <a:cubicBezTo>
                      <a:pt x="429952" y="6085"/>
                      <a:pt x="418666" y="3962"/>
                      <a:pt x="405954" y="3991"/>
                    </a:cubicBezTo>
                    <a:cubicBezTo>
                      <a:pt x="287825" y="4253"/>
                      <a:pt x="169724" y="3991"/>
                      <a:pt x="51594" y="4224"/>
                    </a:cubicBezTo>
                    <a:cubicBezTo>
                      <a:pt x="42606" y="4515"/>
                      <a:pt x="33705" y="5591"/>
                      <a:pt x="24774" y="6173"/>
                    </a:cubicBezTo>
                    <a:close/>
                  </a:path>
                </a:pathLst>
              </a:custGeom>
              <a:solidFill>
                <a:srgbClr val="EBECF1"/>
              </a:solidFill>
              <a:ln w="2907" cap="flat">
                <a:noFill/>
                <a:prstDash val="solid"/>
                <a:miter/>
              </a:ln>
            </p:spPr>
            <p:txBody>
              <a:bodyPr rtlCol="0" anchor="ctr"/>
              <a:lstStyle/>
              <a:p>
                <a:endParaRPr lang="en-US" sz="800"/>
              </a:p>
            </p:txBody>
          </p:sp>
          <p:sp>
            <p:nvSpPr>
              <p:cNvPr id="208" name="Graphic 38">
                <a:extLst>
                  <a:ext uri="{FF2B5EF4-FFF2-40B4-BE49-F238E27FC236}">
                    <a16:creationId xmlns:a16="http://schemas.microsoft.com/office/drawing/2014/main" id="{02DBB3C4-EA23-76F0-C374-84BB4C91AEDD}"/>
                  </a:ext>
                </a:extLst>
              </p:cNvPr>
              <p:cNvSpPr/>
              <p:nvPr/>
            </p:nvSpPr>
            <p:spPr>
              <a:xfrm>
                <a:off x="15264672" y="3378316"/>
                <a:ext cx="456460" cy="120911"/>
              </a:xfrm>
              <a:custGeom>
                <a:avLst/>
                <a:gdLst>
                  <a:gd name="connsiteX0" fmla="*/ 8991 w 456460"/>
                  <a:gd name="connsiteY0" fmla="*/ -335 h 120911"/>
                  <a:gd name="connsiteX1" fmla="*/ 9718 w 456460"/>
                  <a:gd name="connsiteY1" fmla="*/ 53267 h 120911"/>
                  <a:gd name="connsiteX2" fmla="*/ 45469 w 456460"/>
                  <a:gd name="connsiteY2" fmla="*/ 89185 h 120911"/>
                  <a:gd name="connsiteX3" fmla="*/ 410446 w 456460"/>
                  <a:gd name="connsiteY3" fmla="*/ 88778 h 120911"/>
                  <a:gd name="connsiteX4" fmla="*/ 444713 w 456460"/>
                  <a:gd name="connsiteY4" fmla="*/ 54721 h 120911"/>
                  <a:gd name="connsiteX5" fmla="*/ 445673 w 456460"/>
                  <a:gd name="connsiteY5" fmla="*/ -539 h 120911"/>
                  <a:gd name="connsiteX6" fmla="*/ 455476 w 456460"/>
                  <a:gd name="connsiteY6" fmla="*/ 10513 h 120911"/>
                  <a:gd name="connsiteX7" fmla="*/ 455476 w 456460"/>
                  <a:gd name="connsiteY7" fmla="*/ 108381 h 120911"/>
                  <a:gd name="connsiteX8" fmla="*/ 439943 w 456460"/>
                  <a:gd name="connsiteY8" fmla="*/ 120014 h 120911"/>
                  <a:gd name="connsiteX9" fmla="*/ 195102 w 456460"/>
                  <a:gd name="connsiteY9" fmla="*/ 120014 h 120911"/>
                  <a:gd name="connsiteX10" fmla="*/ 18155 w 456460"/>
                  <a:gd name="connsiteY10" fmla="*/ 120363 h 120911"/>
                  <a:gd name="connsiteX11" fmla="*/ -928 w 456460"/>
                  <a:gd name="connsiteY11" fmla="*/ 100645 h 120911"/>
                  <a:gd name="connsiteX12" fmla="*/ -637 w 456460"/>
                  <a:gd name="connsiteY12" fmla="*/ 13829 h 120911"/>
                  <a:gd name="connsiteX13" fmla="*/ 8991 w 456460"/>
                  <a:gd name="connsiteY13" fmla="*/ -335 h 120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6460" h="120911">
                    <a:moveTo>
                      <a:pt x="8991" y="-335"/>
                    </a:moveTo>
                    <a:cubicBezTo>
                      <a:pt x="9253" y="17522"/>
                      <a:pt x="9777" y="35409"/>
                      <a:pt x="9718" y="53267"/>
                    </a:cubicBezTo>
                    <a:cubicBezTo>
                      <a:pt x="9718" y="73189"/>
                      <a:pt x="21529" y="89331"/>
                      <a:pt x="45469" y="89185"/>
                    </a:cubicBezTo>
                    <a:cubicBezTo>
                      <a:pt x="167118" y="88371"/>
                      <a:pt x="288797" y="88865"/>
                      <a:pt x="410446" y="88778"/>
                    </a:cubicBezTo>
                    <a:cubicBezTo>
                      <a:pt x="432060" y="88778"/>
                      <a:pt x="444102" y="76708"/>
                      <a:pt x="444713" y="54721"/>
                    </a:cubicBezTo>
                    <a:cubicBezTo>
                      <a:pt x="445236" y="36340"/>
                      <a:pt x="445382" y="17930"/>
                      <a:pt x="445673" y="-539"/>
                    </a:cubicBezTo>
                    <a:cubicBezTo>
                      <a:pt x="453149" y="-539"/>
                      <a:pt x="455505" y="3446"/>
                      <a:pt x="455476" y="10513"/>
                    </a:cubicBezTo>
                    <a:cubicBezTo>
                      <a:pt x="455273" y="43146"/>
                      <a:pt x="455069" y="75778"/>
                      <a:pt x="455476" y="108381"/>
                    </a:cubicBezTo>
                    <a:cubicBezTo>
                      <a:pt x="455650" y="120625"/>
                      <a:pt x="448262" y="120014"/>
                      <a:pt x="439943" y="120014"/>
                    </a:cubicBezTo>
                    <a:cubicBezTo>
                      <a:pt x="358319" y="120014"/>
                      <a:pt x="276696" y="120014"/>
                      <a:pt x="195102" y="120014"/>
                    </a:cubicBezTo>
                    <a:cubicBezTo>
                      <a:pt x="136109" y="120014"/>
                      <a:pt x="77118" y="119462"/>
                      <a:pt x="18155" y="120363"/>
                    </a:cubicBezTo>
                    <a:cubicBezTo>
                      <a:pt x="2504" y="120625"/>
                      <a:pt x="-1509" y="115536"/>
                      <a:pt x="-928" y="100645"/>
                    </a:cubicBezTo>
                    <a:cubicBezTo>
                      <a:pt x="148" y="71764"/>
                      <a:pt x="-608" y="42767"/>
                      <a:pt x="-637" y="13829"/>
                    </a:cubicBezTo>
                    <a:cubicBezTo>
                      <a:pt x="-550" y="7081"/>
                      <a:pt x="-1568" y="-510"/>
                      <a:pt x="8991" y="-335"/>
                    </a:cubicBezTo>
                    <a:close/>
                  </a:path>
                </a:pathLst>
              </a:custGeom>
              <a:solidFill>
                <a:srgbClr val="FCFDFD"/>
              </a:solidFill>
              <a:ln w="2907" cap="flat">
                <a:noFill/>
                <a:prstDash val="solid"/>
                <a:miter/>
              </a:ln>
            </p:spPr>
            <p:txBody>
              <a:bodyPr rtlCol="0" anchor="ctr"/>
              <a:lstStyle/>
              <a:p>
                <a:endParaRPr lang="en-US" sz="800"/>
              </a:p>
            </p:txBody>
          </p:sp>
          <p:sp>
            <p:nvSpPr>
              <p:cNvPr id="209" name="Graphic 38">
                <a:extLst>
                  <a:ext uri="{FF2B5EF4-FFF2-40B4-BE49-F238E27FC236}">
                    <a16:creationId xmlns:a16="http://schemas.microsoft.com/office/drawing/2014/main" id="{CE4451C3-0CA4-BABC-F413-A07EE797A13F}"/>
                  </a:ext>
                </a:extLst>
              </p:cNvPr>
              <p:cNvSpPr/>
              <p:nvPr/>
            </p:nvSpPr>
            <p:spPr>
              <a:xfrm>
                <a:off x="14802249" y="1217755"/>
                <a:ext cx="456616" cy="244632"/>
              </a:xfrm>
              <a:custGeom>
                <a:avLst/>
                <a:gdLst>
                  <a:gd name="connsiteX0" fmla="*/ 441074 w 456616"/>
                  <a:gd name="connsiteY0" fmla="*/ 43640 h 244632"/>
                  <a:gd name="connsiteX1" fmla="*/ 408466 w 456616"/>
                  <a:gd name="connsiteY1" fmla="*/ 28225 h 244632"/>
                  <a:gd name="connsiteX2" fmla="*/ 48172 w 456616"/>
                  <a:gd name="connsiteY2" fmla="*/ 28225 h 244632"/>
                  <a:gd name="connsiteX3" fmla="*/ 12596 w 456616"/>
                  <a:gd name="connsiteY3" fmla="*/ 46839 h 244632"/>
                  <a:gd name="connsiteX4" fmla="*/ 9047 w 456616"/>
                  <a:gd name="connsiteY4" fmla="*/ 99627 h 244632"/>
                  <a:gd name="connsiteX5" fmla="*/ 5178 w 456616"/>
                  <a:gd name="connsiteY5" fmla="*/ 117397 h 244632"/>
                  <a:gd name="connsiteX6" fmla="*/ 1 w 456616"/>
                  <a:gd name="connsiteY6" fmla="*/ 99510 h 244632"/>
                  <a:gd name="connsiteX7" fmla="*/ -232 w 456616"/>
                  <a:gd name="connsiteY7" fmla="*/ 20460 h 244632"/>
                  <a:gd name="connsiteX8" fmla="*/ 20130 w 456616"/>
                  <a:gd name="connsiteY8" fmla="*/ -539 h 244632"/>
                  <a:gd name="connsiteX9" fmla="*/ 154608 w 456616"/>
                  <a:gd name="connsiteY9" fmla="*/ -539 h 244632"/>
                  <a:gd name="connsiteX10" fmla="*/ 433046 w 456616"/>
                  <a:gd name="connsiteY10" fmla="*/ -539 h 244632"/>
                  <a:gd name="connsiteX11" fmla="*/ 455532 w 456616"/>
                  <a:gd name="connsiteY11" fmla="*/ 21652 h 244632"/>
                  <a:gd name="connsiteX12" fmla="*/ 455532 w 456616"/>
                  <a:gd name="connsiteY12" fmla="*/ 225618 h 244632"/>
                  <a:gd name="connsiteX13" fmla="*/ 455532 w 456616"/>
                  <a:gd name="connsiteY13" fmla="*/ 235100 h 244632"/>
                  <a:gd name="connsiteX14" fmla="*/ 451925 w 456616"/>
                  <a:gd name="connsiteY14" fmla="*/ 244087 h 244632"/>
                  <a:gd name="connsiteX15" fmla="*/ 446398 w 456616"/>
                  <a:gd name="connsiteY15" fmla="*/ 234634 h 244632"/>
                  <a:gd name="connsiteX16" fmla="*/ 446398 w 456616"/>
                  <a:gd name="connsiteY16" fmla="*/ 169806 h 244632"/>
                  <a:gd name="connsiteX17" fmla="*/ 451401 w 456616"/>
                  <a:gd name="connsiteY17" fmla="*/ 125366 h 244632"/>
                  <a:gd name="connsiteX18" fmla="*/ 442849 w 456616"/>
                  <a:gd name="connsiteY18" fmla="*/ 46839 h 244632"/>
                  <a:gd name="connsiteX19" fmla="*/ 442849 w 456616"/>
                  <a:gd name="connsiteY19" fmla="*/ 46839 h 24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6616" h="244632">
                    <a:moveTo>
                      <a:pt x="441074" y="43640"/>
                    </a:moveTo>
                    <a:cubicBezTo>
                      <a:pt x="433192" y="32006"/>
                      <a:pt x="422254" y="28196"/>
                      <a:pt x="408466" y="28225"/>
                    </a:cubicBezTo>
                    <a:cubicBezTo>
                      <a:pt x="288358" y="28516"/>
                      <a:pt x="168250" y="28516"/>
                      <a:pt x="48172" y="28225"/>
                    </a:cubicBezTo>
                    <a:cubicBezTo>
                      <a:pt x="32464" y="28225"/>
                      <a:pt x="20450" y="32995"/>
                      <a:pt x="12596" y="46839"/>
                    </a:cubicBezTo>
                    <a:cubicBezTo>
                      <a:pt x="5178" y="64028"/>
                      <a:pt x="11141" y="82118"/>
                      <a:pt x="9047" y="99627"/>
                    </a:cubicBezTo>
                    <a:cubicBezTo>
                      <a:pt x="8291" y="105967"/>
                      <a:pt x="12276" y="117455"/>
                      <a:pt x="5178" y="117397"/>
                    </a:cubicBezTo>
                    <a:cubicBezTo>
                      <a:pt x="-4450" y="117397"/>
                      <a:pt x="117" y="105763"/>
                      <a:pt x="1" y="99510"/>
                    </a:cubicBezTo>
                    <a:cubicBezTo>
                      <a:pt x="-610" y="73160"/>
                      <a:pt x="-290" y="46810"/>
                      <a:pt x="-232" y="20460"/>
                    </a:cubicBezTo>
                    <a:cubicBezTo>
                      <a:pt x="-232" y="1061"/>
                      <a:pt x="1164" y="-480"/>
                      <a:pt x="20130" y="-539"/>
                    </a:cubicBezTo>
                    <a:cubicBezTo>
                      <a:pt x="64956" y="-539"/>
                      <a:pt x="109782" y="-539"/>
                      <a:pt x="154608" y="-539"/>
                    </a:cubicBezTo>
                    <a:lnTo>
                      <a:pt x="433046" y="-539"/>
                    </a:lnTo>
                    <a:cubicBezTo>
                      <a:pt x="454542" y="-539"/>
                      <a:pt x="455502" y="537"/>
                      <a:pt x="455532" y="21652"/>
                    </a:cubicBezTo>
                    <a:cubicBezTo>
                      <a:pt x="455532" y="89613"/>
                      <a:pt x="455532" y="157600"/>
                      <a:pt x="455532" y="225618"/>
                    </a:cubicBezTo>
                    <a:cubicBezTo>
                      <a:pt x="455532" y="228759"/>
                      <a:pt x="455764" y="231959"/>
                      <a:pt x="455532" y="235100"/>
                    </a:cubicBezTo>
                    <a:cubicBezTo>
                      <a:pt x="455299" y="238241"/>
                      <a:pt x="456986" y="243825"/>
                      <a:pt x="451925" y="244087"/>
                    </a:cubicBezTo>
                    <a:cubicBezTo>
                      <a:pt x="446107" y="244319"/>
                      <a:pt x="446427" y="238677"/>
                      <a:pt x="446398" y="234634"/>
                    </a:cubicBezTo>
                    <a:cubicBezTo>
                      <a:pt x="446398" y="213025"/>
                      <a:pt x="445642" y="191386"/>
                      <a:pt x="446398" y="169806"/>
                    </a:cubicBezTo>
                    <a:cubicBezTo>
                      <a:pt x="446980" y="154944"/>
                      <a:pt x="441627" y="139239"/>
                      <a:pt x="451401" y="125366"/>
                    </a:cubicBezTo>
                    <a:cubicBezTo>
                      <a:pt x="439358" y="100237"/>
                      <a:pt x="452245" y="72375"/>
                      <a:pt x="442849" y="46839"/>
                    </a:cubicBezTo>
                    <a:lnTo>
                      <a:pt x="442849" y="46839"/>
                    </a:lnTo>
                    <a:close/>
                  </a:path>
                </a:pathLst>
              </a:custGeom>
              <a:solidFill>
                <a:srgbClr val="FCFDFD"/>
              </a:solidFill>
              <a:ln w="2907" cap="flat">
                <a:noFill/>
                <a:prstDash val="solid"/>
                <a:miter/>
              </a:ln>
            </p:spPr>
            <p:txBody>
              <a:bodyPr rtlCol="0" anchor="ctr"/>
              <a:lstStyle/>
              <a:p>
                <a:endParaRPr lang="en-US" sz="800"/>
              </a:p>
            </p:txBody>
          </p:sp>
          <p:sp>
            <p:nvSpPr>
              <p:cNvPr id="210" name="Graphic 38">
                <a:extLst>
                  <a:ext uri="{FF2B5EF4-FFF2-40B4-BE49-F238E27FC236}">
                    <a16:creationId xmlns:a16="http://schemas.microsoft.com/office/drawing/2014/main" id="{21A266E9-C044-5185-4C7C-DCD0BA02431F}"/>
                  </a:ext>
                </a:extLst>
              </p:cNvPr>
              <p:cNvSpPr/>
              <p:nvPr/>
            </p:nvSpPr>
            <p:spPr>
              <a:xfrm>
                <a:off x="14802212" y="3113099"/>
                <a:ext cx="457615" cy="421165"/>
              </a:xfrm>
              <a:custGeom>
                <a:avLst/>
                <a:gdLst>
                  <a:gd name="connsiteX0" fmla="*/ 15309 w 457615"/>
                  <a:gd name="connsiteY0" fmla="*/ 135371 h 421165"/>
                  <a:gd name="connsiteX1" fmla="*/ 46609 w 457615"/>
                  <a:gd name="connsiteY1" fmla="*/ 146335 h 421165"/>
                  <a:gd name="connsiteX2" fmla="*/ 405274 w 457615"/>
                  <a:gd name="connsiteY2" fmla="*/ 146335 h 421165"/>
                  <a:gd name="connsiteX3" fmla="*/ 444631 w 457615"/>
                  <a:gd name="connsiteY3" fmla="*/ 107741 h 421165"/>
                  <a:gd name="connsiteX4" fmla="*/ 444631 w 457615"/>
                  <a:gd name="connsiteY4" fmla="*/ 25637 h 421165"/>
                  <a:gd name="connsiteX5" fmla="*/ 439919 w 457615"/>
                  <a:gd name="connsiteY5" fmla="*/ -539 h 421165"/>
                  <a:gd name="connsiteX6" fmla="*/ 446056 w 457615"/>
                  <a:gd name="connsiteY6" fmla="*/ 2370 h 421165"/>
                  <a:gd name="connsiteX7" fmla="*/ 446754 w 457615"/>
                  <a:gd name="connsiteY7" fmla="*/ 12753 h 421165"/>
                  <a:gd name="connsiteX8" fmla="*/ 446377 w 457615"/>
                  <a:gd name="connsiteY8" fmla="*/ 129089 h 421165"/>
                  <a:gd name="connsiteX9" fmla="*/ 455597 w 457615"/>
                  <a:gd name="connsiteY9" fmla="*/ 250776 h 421165"/>
                  <a:gd name="connsiteX10" fmla="*/ 446435 w 457615"/>
                  <a:gd name="connsiteY10" fmla="*/ 265783 h 421165"/>
                  <a:gd name="connsiteX11" fmla="*/ 449344 w 457615"/>
                  <a:gd name="connsiteY11" fmla="*/ 385348 h 421165"/>
                  <a:gd name="connsiteX12" fmla="*/ 446435 w 457615"/>
                  <a:gd name="connsiteY12" fmla="*/ 392357 h 421165"/>
                  <a:gd name="connsiteX13" fmla="*/ 445911 w 457615"/>
                  <a:gd name="connsiteY13" fmla="*/ 404310 h 421165"/>
                  <a:gd name="connsiteX14" fmla="*/ 444340 w 457615"/>
                  <a:gd name="connsiteY14" fmla="*/ 404514 h 421165"/>
                  <a:gd name="connsiteX15" fmla="*/ 443729 w 457615"/>
                  <a:gd name="connsiteY15" fmla="*/ 391921 h 421165"/>
                  <a:gd name="connsiteX16" fmla="*/ 443468 w 457615"/>
                  <a:gd name="connsiteY16" fmla="*/ 198949 h 421165"/>
                  <a:gd name="connsiteX17" fmla="*/ 411062 w 457615"/>
                  <a:gd name="connsiteY17" fmla="*/ 163262 h 421165"/>
                  <a:gd name="connsiteX18" fmla="*/ 43845 w 457615"/>
                  <a:gd name="connsiteY18" fmla="*/ 163262 h 421165"/>
                  <a:gd name="connsiteX19" fmla="*/ 13185 w 457615"/>
                  <a:gd name="connsiteY19" fmla="*/ 193044 h 421165"/>
                  <a:gd name="connsiteX20" fmla="*/ 11905 w 457615"/>
                  <a:gd name="connsiteY20" fmla="*/ 290650 h 421165"/>
                  <a:gd name="connsiteX21" fmla="*/ 16065 w 457615"/>
                  <a:gd name="connsiteY21" fmla="*/ 419841 h 421165"/>
                  <a:gd name="connsiteX22" fmla="*/ 15251 w 457615"/>
                  <a:gd name="connsiteY22" fmla="*/ 420626 h 421165"/>
                  <a:gd name="connsiteX23" fmla="*/ 8764 w 457615"/>
                  <a:gd name="connsiteY23" fmla="*/ 392357 h 421165"/>
                  <a:gd name="connsiteX24" fmla="*/ 5855 w 457615"/>
                  <a:gd name="connsiteY24" fmla="*/ 385464 h 421165"/>
                  <a:gd name="connsiteX25" fmla="*/ 8764 w 457615"/>
                  <a:gd name="connsiteY25" fmla="*/ 370166 h 421165"/>
                  <a:gd name="connsiteX26" fmla="*/ 8473 w 457615"/>
                  <a:gd name="connsiteY26" fmla="*/ 265783 h 421165"/>
                  <a:gd name="connsiteX27" fmla="*/ -690 w 457615"/>
                  <a:gd name="connsiteY27" fmla="*/ 230446 h 421165"/>
                  <a:gd name="connsiteX28" fmla="*/ -981 w 457615"/>
                  <a:gd name="connsiteY28" fmla="*/ 155264 h 421165"/>
                  <a:gd name="connsiteX29" fmla="*/ 15309 w 457615"/>
                  <a:gd name="connsiteY29" fmla="*/ 135371 h 421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57615" h="421165">
                    <a:moveTo>
                      <a:pt x="15309" y="135371"/>
                    </a:moveTo>
                    <a:cubicBezTo>
                      <a:pt x="23687" y="144939"/>
                      <a:pt x="34624" y="146365"/>
                      <a:pt x="46609" y="146335"/>
                    </a:cubicBezTo>
                    <a:cubicBezTo>
                      <a:pt x="166164" y="146190"/>
                      <a:pt x="285719" y="146190"/>
                      <a:pt x="405274" y="146335"/>
                    </a:cubicBezTo>
                    <a:cubicBezTo>
                      <a:pt x="436719" y="146335"/>
                      <a:pt x="444456" y="138715"/>
                      <a:pt x="444631" y="107741"/>
                    </a:cubicBezTo>
                    <a:cubicBezTo>
                      <a:pt x="444806" y="80373"/>
                      <a:pt x="444253" y="53005"/>
                      <a:pt x="444631" y="25637"/>
                    </a:cubicBezTo>
                    <a:cubicBezTo>
                      <a:pt x="444806" y="16359"/>
                      <a:pt x="440704" y="8187"/>
                      <a:pt x="439919" y="-539"/>
                    </a:cubicBezTo>
                    <a:lnTo>
                      <a:pt x="446056" y="2370"/>
                    </a:lnTo>
                    <a:lnTo>
                      <a:pt x="446754" y="12753"/>
                    </a:lnTo>
                    <a:cubicBezTo>
                      <a:pt x="446638" y="51522"/>
                      <a:pt x="446522" y="90320"/>
                      <a:pt x="446377" y="129089"/>
                    </a:cubicBezTo>
                    <a:cubicBezTo>
                      <a:pt x="465546" y="168439"/>
                      <a:pt x="451089" y="210320"/>
                      <a:pt x="455597" y="250776"/>
                    </a:cubicBezTo>
                    <a:cubicBezTo>
                      <a:pt x="456499" y="258687"/>
                      <a:pt x="445562" y="258454"/>
                      <a:pt x="446435" y="265783"/>
                    </a:cubicBezTo>
                    <a:cubicBezTo>
                      <a:pt x="450711" y="305570"/>
                      <a:pt x="448587" y="345503"/>
                      <a:pt x="449344" y="385348"/>
                    </a:cubicBezTo>
                    <a:cubicBezTo>
                      <a:pt x="446958" y="386802"/>
                      <a:pt x="445795" y="389652"/>
                      <a:pt x="446435" y="392357"/>
                    </a:cubicBezTo>
                    <a:lnTo>
                      <a:pt x="445911" y="404310"/>
                    </a:lnTo>
                    <a:lnTo>
                      <a:pt x="444340" y="404514"/>
                    </a:lnTo>
                    <a:cubicBezTo>
                      <a:pt x="444107" y="400326"/>
                      <a:pt x="443729" y="396109"/>
                      <a:pt x="443729" y="391921"/>
                    </a:cubicBezTo>
                    <a:cubicBezTo>
                      <a:pt x="443729" y="327587"/>
                      <a:pt x="443729" y="263282"/>
                      <a:pt x="443468" y="198949"/>
                    </a:cubicBezTo>
                    <a:cubicBezTo>
                      <a:pt x="443468" y="174605"/>
                      <a:pt x="433024" y="163292"/>
                      <a:pt x="411062" y="163262"/>
                    </a:cubicBezTo>
                    <a:cubicBezTo>
                      <a:pt x="288657" y="163117"/>
                      <a:pt x="166251" y="163117"/>
                      <a:pt x="43845" y="163262"/>
                    </a:cubicBezTo>
                    <a:cubicBezTo>
                      <a:pt x="23483" y="163262"/>
                      <a:pt x="13738" y="172540"/>
                      <a:pt x="13185" y="193044"/>
                    </a:cubicBezTo>
                    <a:cubicBezTo>
                      <a:pt x="12313" y="225560"/>
                      <a:pt x="11498" y="258134"/>
                      <a:pt x="11905" y="290650"/>
                    </a:cubicBezTo>
                    <a:cubicBezTo>
                      <a:pt x="12458" y="333724"/>
                      <a:pt x="8444" y="376971"/>
                      <a:pt x="16065" y="419841"/>
                    </a:cubicBezTo>
                    <a:lnTo>
                      <a:pt x="15251" y="420626"/>
                    </a:lnTo>
                    <a:cubicBezTo>
                      <a:pt x="4837" y="413094"/>
                      <a:pt x="10771" y="401809"/>
                      <a:pt x="8764" y="392357"/>
                    </a:cubicBezTo>
                    <a:cubicBezTo>
                      <a:pt x="9404" y="389681"/>
                      <a:pt x="8240" y="386889"/>
                      <a:pt x="5855" y="385464"/>
                    </a:cubicBezTo>
                    <a:cubicBezTo>
                      <a:pt x="8153" y="380723"/>
                      <a:pt x="9171" y="375430"/>
                      <a:pt x="8764" y="370166"/>
                    </a:cubicBezTo>
                    <a:cubicBezTo>
                      <a:pt x="8618" y="335381"/>
                      <a:pt x="8502" y="300597"/>
                      <a:pt x="8473" y="265783"/>
                    </a:cubicBezTo>
                    <a:cubicBezTo>
                      <a:pt x="-3162" y="256215"/>
                      <a:pt x="-661" y="242982"/>
                      <a:pt x="-690" y="230446"/>
                    </a:cubicBezTo>
                    <a:cubicBezTo>
                      <a:pt x="-690" y="205376"/>
                      <a:pt x="-21" y="180306"/>
                      <a:pt x="-981" y="155264"/>
                    </a:cubicBezTo>
                    <a:cubicBezTo>
                      <a:pt x="-1039" y="142700"/>
                      <a:pt x="3208" y="136505"/>
                      <a:pt x="15309" y="135371"/>
                    </a:cubicBezTo>
                    <a:close/>
                  </a:path>
                </a:pathLst>
              </a:custGeom>
              <a:solidFill>
                <a:srgbClr val="EBECF1"/>
              </a:solidFill>
              <a:ln w="2907" cap="flat">
                <a:noFill/>
                <a:prstDash val="solid"/>
                <a:miter/>
              </a:ln>
            </p:spPr>
            <p:txBody>
              <a:bodyPr rtlCol="0" anchor="ctr"/>
              <a:lstStyle/>
              <a:p>
                <a:endParaRPr lang="en-US" sz="800"/>
              </a:p>
            </p:txBody>
          </p:sp>
          <p:sp>
            <p:nvSpPr>
              <p:cNvPr id="211" name="Graphic 38">
                <a:extLst>
                  <a:ext uri="{FF2B5EF4-FFF2-40B4-BE49-F238E27FC236}">
                    <a16:creationId xmlns:a16="http://schemas.microsoft.com/office/drawing/2014/main" id="{A58BBC58-CD49-B966-FC8F-677D0ED73361}"/>
                  </a:ext>
                </a:extLst>
              </p:cNvPr>
              <p:cNvSpPr/>
              <p:nvPr/>
            </p:nvSpPr>
            <p:spPr>
              <a:xfrm>
                <a:off x="15264360" y="2488693"/>
                <a:ext cx="456986" cy="374312"/>
              </a:xfrm>
              <a:custGeom>
                <a:avLst/>
                <a:gdLst>
                  <a:gd name="connsiteX0" fmla="*/ 12939 w 456986"/>
                  <a:gd name="connsiteY0" fmla="*/ 11155 h 374312"/>
                  <a:gd name="connsiteX1" fmla="*/ 11165 w 456986"/>
                  <a:gd name="connsiteY1" fmla="*/ 124786 h 374312"/>
                  <a:gd name="connsiteX2" fmla="*/ 11514 w 456986"/>
                  <a:gd name="connsiteY2" fmla="*/ 243216 h 374312"/>
                  <a:gd name="connsiteX3" fmla="*/ 47002 w 456986"/>
                  <a:gd name="connsiteY3" fmla="*/ 278844 h 374312"/>
                  <a:gd name="connsiteX4" fmla="*/ 405697 w 456986"/>
                  <a:gd name="connsiteY4" fmla="*/ 278844 h 374312"/>
                  <a:gd name="connsiteX5" fmla="*/ 443512 w 456986"/>
                  <a:gd name="connsiteY5" fmla="*/ 256508 h 374312"/>
                  <a:gd name="connsiteX6" fmla="*/ 455933 w 456986"/>
                  <a:gd name="connsiteY6" fmla="*/ 264011 h 374312"/>
                  <a:gd name="connsiteX7" fmla="*/ 455933 w 456986"/>
                  <a:gd name="connsiteY7" fmla="*/ 362897 h 374312"/>
                  <a:gd name="connsiteX8" fmla="*/ 450843 w 456986"/>
                  <a:gd name="connsiteY8" fmla="*/ 372262 h 374312"/>
                  <a:gd name="connsiteX9" fmla="*/ 446479 w 456986"/>
                  <a:gd name="connsiteY9" fmla="*/ 362054 h 374312"/>
                  <a:gd name="connsiteX10" fmla="*/ 444181 w 456986"/>
                  <a:gd name="connsiteY10" fmla="*/ 320173 h 374312"/>
                  <a:gd name="connsiteX11" fmla="*/ 408722 w 456986"/>
                  <a:gd name="connsiteY11" fmla="*/ 293997 h 374312"/>
                  <a:gd name="connsiteX12" fmla="*/ 48283 w 456986"/>
                  <a:gd name="connsiteY12" fmla="*/ 293735 h 374312"/>
                  <a:gd name="connsiteX13" fmla="*/ 12009 w 456986"/>
                  <a:gd name="connsiteY13" fmla="*/ 313541 h 374312"/>
                  <a:gd name="connsiteX14" fmla="*/ 9100 w 456986"/>
                  <a:gd name="connsiteY14" fmla="*/ 324564 h 374312"/>
                  <a:gd name="connsiteX15" fmla="*/ 6191 w 456986"/>
                  <a:gd name="connsiteY15" fmla="*/ 373774 h 374312"/>
                  <a:gd name="connsiteX16" fmla="*/ -5 w 456986"/>
                  <a:gd name="connsiteY16" fmla="*/ 361181 h 374312"/>
                  <a:gd name="connsiteX17" fmla="*/ 606 w 456986"/>
                  <a:gd name="connsiteY17" fmla="*/ 266455 h 374312"/>
                  <a:gd name="connsiteX18" fmla="*/ 606 w 456986"/>
                  <a:gd name="connsiteY18" fmla="*/ 233357 h 374312"/>
                  <a:gd name="connsiteX19" fmla="*/ 402 w 456986"/>
                  <a:gd name="connsiteY19" fmla="*/ 143400 h 374312"/>
                  <a:gd name="connsiteX20" fmla="*/ 1042 w 456986"/>
                  <a:gd name="connsiteY20" fmla="*/ 104341 h 374312"/>
                  <a:gd name="connsiteX21" fmla="*/ -34 w 456986"/>
                  <a:gd name="connsiteY21" fmla="*/ 12871 h 374312"/>
                  <a:gd name="connsiteX22" fmla="*/ 18670 w 456986"/>
                  <a:gd name="connsiteY22" fmla="*/ 2924 h 374312"/>
                  <a:gd name="connsiteX23" fmla="*/ 15558 w 456986"/>
                  <a:gd name="connsiteY23" fmla="*/ 6618 h 374312"/>
                  <a:gd name="connsiteX24" fmla="*/ 12939 w 456986"/>
                  <a:gd name="connsiteY24" fmla="*/ 11155 h 37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6986" h="374312">
                    <a:moveTo>
                      <a:pt x="12939" y="11155"/>
                    </a:moveTo>
                    <a:cubicBezTo>
                      <a:pt x="12328" y="48965"/>
                      <a:pt x="11397" y="86774"/>
                      <a:pt x="11165" y="124786"/>
                    </a:cubicBezTo>
                    <a:cubicBezTo>
                      <a:pt x="10932" y="164253"/>
                      <a:pt x="11485" y="203749"/>
                      <a:pt x="11514" y="243216"/>
                    </a:cubicBezTo>
                    <a:cubicBezTo>
                      <a:pt x="11514" y="268054"/>
                      <a:pt x="21870" y="278815"/>
                      <a:pt x="47002" y="278844"/>
                    </a:cubicBezTo>
                    <a:cubicBezTo>
                      <a:pt x="166557" y="278844"/>
                      <a:pt x="286142" y="278844"/>
                      <a:pt x="405697" y="278844"/>
                    </a:cubicBezTo>
                    <a:cubicBezTo>
                      <a:pt x="423150" y="278844"/>
                      <a:pt x="436792" y="274016"/>
                      <a:pt x="443512" y="256508"/>
                    </a:cubicBezTo>
                    <a:cubicBezTo>
                      <a:pt x="452239" y="251534"/>
                      <a:pt x="455991" y="254152"/>
                      <a:pt x="455933" y="264011"/>
                    </a:cubicBezTo>
                    <a:cubicBezTo>
                      <a:pt x="455933" y="296964"/>
                      <a:pt x="455933" y="329916"/>
                      <a:pt x="455933" y="362897"/>
                    </a:cubicBezTo>
                    <a:cubicBezTo>
                      <a:pt x="455933" y="366736"/>
                      <a:pt x="457010" y="372727"/>
                      <a:pt x="450843" y="372262"/>
                    </a:cubicBezTo>
                    <a:cubicBezTo>
                      <a:pt x="445025" y="371797"/>
                      <a:pt x="446858" y="365951"/>
                      <a:pt x="446479" y="362054"/>
                    </a:cubicBezTo>
                    <a:cubicBezTo>
                      <a:pt x="445141" y="348122"/>
                      <a:pt x="449098" y="333900"/>
                      <a:pt x="444181" y="320173"/>
                    </a:cubicBezTo>
                    <a:cubicBezTo>
                      <a:pt x="437142" y="299290"/>
                      <a:pt x="430218" y="293997"/>
                      <a:pt x="408722" y="293997"/>
                    </a:cubicBezTo>
                    <a:cubicBezTo>
                      <a:pt x="288585" y="293997"/>
                      <a:pt x="168419" y="294200"/>
                      <a:pt x="48283" y="293735"/>
                    </a:cubicBezTo>
                    <a:cubicBezTo>
                      <a:pt x="31615" y="293735"/>
                      <a:pt x="19921" y="299261"/>
                      <a:pt x="12009" y="313541"/>
                    </a:cubicBezTo>
                    <a:cubicBezTo>
                      <a:pt x="7354" y="316450"/>
                      <a:pt x="9361" y="320434"/>
                      <a:pt x="9100" y="324564"/>
                    </a:cubicBezTo>
                    <a:cubicBezTo>
                      <a:pt x="8488" y="340997"/>
                      <a:pt x="13201" y="357778"/>
                      <a:pt x="6191" y="373774"/>
                    </a:cubicBezTo>
                    <a:cubicBezTo>
                      <a:pt x="-1168" y="372175"/>
                      <a:pt x="-5" y="366271"/>
                      <a:pt x="-5" y="361181"/>
                    </a:cubicBezTo>
                    <a:cubicBezTo>
                      <a:pt x="-5" y="329596"/>
                      <a:pt x="-1256" y="297952"/>
                      <a:pt x="606" y="266455"/>
                    </a:cubicBezTo>
                    <a:cubicBezTo>
                      <a:pt x="1333" y="255432"/>
                      <a:pt x="1333" y="244380"/>
                      <a:pt x="606" y="233357"/>
                    </a:cubicBezTo>
                    <a:cubicBezTo>
                      <a:pt x="-1285" y="203400"/>
                      <a:pt x="-1372" y="173357"/>
                      <a:pt x="402" y="143400"/>
                    </a:cubicBezTo>
                    <a:cubicBezTo>
                      <a:pt x="1101" y="130283"/>
                      <a:pt x="2700" y="118097"/>
                      <a:pt x="1042" y="104341"/>
                    </a:cubicBezTo>
                    <a:cubicBezTo>
                      <a:pt x="-2594" y="74238"/>
                      <a:pt x="-267" y="43409"/>
                      <a:pt x="-34" y="12871"/>
                    </a:cubicBezTo>
                    <a:cubicBezTo>
                      <a:pt x="-34" y="-1845"/>
                      <a:pt x="3137" y="-3270"/>
                      <a:pt x="18670" y="2924"/>
                    </a:cubicBezTo>
                    <a:lnTo>
                      <a:pt x="15558" y="6618"/>
                    </a:lnTo>
                    <a:cubicBezTo>
                      <a:pt x="14597" y="8189"/>
                      <a:pt x="13870" y="9643"/>
                      <a:pt x="12939" y="11155"/>
                    </a:cubicBezTo>
                    <a:close/>
                  </a:path>
                </a:pathLst>
              </a:custGeom>
              <a:solidFill>
                <a:srgbClr val="EBECF1"/>
              </a:solidFill>
              <a:ln w="2907" cap="flat">
                <a:noFill/>
                <a:prstDash val="solid"/>
                <a:miter/>
              </a:ln>
            </p:spPr>
            <p:txBody>
              <a:bodyPr rtlCol="0" anchor="ctr"/>
              <a:lstStyle/>
              <a:p>
                <a:endParaRPr lang="en-US" sz="800"/>
              </a:p>
            </p:txBody>
          </p:sp>
          <p:sp>
            <p:nvSpPr>
              <p:cNvPr id="212" name="Graphic 38">
                <a:extLst>
                  <a:ext uri="{FF2B5EF4-FFF2-40B4-BE49-F238E27FC236}">
                    <a16:creationId xmlns:a16="http://schemas.microsoft.com/office/drawing/2014/main" id="{2B9D8EAE-F76F-0BF0-155D-068F5707E126}"/>
                  </a:ext>
                </a:extLst>
              </p:cNvPr>
              <p:cNvSpPr/>
              <p:nvPr/>
            </p:nvSpPr>
            <p:spPr>
              <a:xfrm>
                <a:off x="16649561" y="1726705"/>
                <a:ext cx="458541" cy="506749"/>
              </a:xfrm>
              <a:custGeom>
                <a:avLst/>
                <a:gdLst>
                  <a:gd name="connsiteX0" fmla="*/ 447273 w 458541"/>
                  <a:gd name="connsiteY0" fmla="*/ 506211 h 506749"/>
                  <a:gd name="connsiteX1" fmla="*/ 445470 w 458541"/>
                  <a:gd name="connsiteY1" fmla="*/ 506211 h 506749"/>
                  <a:gd name="connsiteX2" fmla="*/ 444743 w 458541"/>
                  <a:gd name="connsiteY2" fmla="*/ 500394 h 506749"/>
                  <a:gd name="connsiteX3" fmla="*/ 444306 w 458541"/>
                  <a:gd name="connsiteY3" fmla="*/ 129050 h 506749"/>
                  <a:gd name="connsiteX4" fmla="*/ 444306 w 458541"/>
                  <a:gd name="connsiteY4" fmla="*/ 64280 h 506749"/>
                  <a:gd name="connsiteX5" fmla="*/ 409399 w 458541"/>
                  <a:gd name="connsiteY5" fmla="*/ 30106 h 506749"/>
                  <a:gd name="connsiteX6" fmla="*/ 45644 w 458541"/>
                  <a:gd name="connsiteY6" fmla="*/ 30106 h 506749"/>
                  <a:gd name="connsiteX7" fmla="*/ 11203 w 458541"/>
                  <a:gd name="connsiteY7" fmla="*/ 64832 h 506749"/>
                  <a:gd name="connsiteX8" fmla="*/ 10476 w 458541"/>
                  <a:gd name="connsiteY8" fmla="*/ 120092 h 506749"/>
                  <a:gd name="connsiteX9" fmla="*/ -637 w 458541"/>
                  <a:gd name="connsiteY9" fmla="*/ 98541 h 506749"/>
                  <a:gd name="connsiteX10" fmla="*/ 963 w 458541"/>
                  <a:gd name="connsiteY10" fmla="*/ 13412 h 506749"/>
                  <a:gd name="connsiteX11" fmla="*/ 14315 w 458541"/>
                  <a:gd name="connsiteY11" fmla="*/ -258 h 506749"/>
                  <a:gd name="connsiteX12" fmla="*/ 47506 w 458541"/>
                  <a:gd name="connsiteY12" fmla="*/ 13994 h 506749"/>
                  <a:gd name="connsiteX13" fmla="*/ 406578 w 458541"/>
                  <a:gd name="connsiteY13" fmla="*/ 13994 h 506749"/>
                  <a:gd name="connsiteX14" fmla="*/ 441485 w 458541"/>
                  <a:gd name="connsiteY14" fmla="*/ -170 h 506749"/>
                  <a:gd name="connsiteX15" fmla="*/ 457338 w 458541"/>
                  <a:gd name="connsiteY15" fmla="*/ 14139 h 506749"/>
                  <a:gd name="connsiteX16" fmla="*/ 457542 w 458541"/>
                  <a:gd name="connsiteY16" fmla="*/ 105463 h 506749"/>
                  <a:gd name="connsiteX17" fmla="*/ 447797 w 458541"/>
                  <a:gd name="connsiteY17" fmla="*/ 126810 h 506749"/>
                  <a:gd name="connsiteX18" fmla="*/ 447797 w 458541"/>
                  <a:gd name="connsiteY18" fmla="*/ 253529 h 506749"/>
                  <a:gd name="connsiteX19" fmla="*/ 447797 w 458541"/>
                  <a:gd name="connsiteY19" fmla="*/ 372424 h 506749"/>
                  <a:gd name="connsiteX20" fmla="*/ 447797 w 458541"/>
                  <a:gd name="connsiteY20" fmla="*/ 383069 h 506749"/>
                  <a:gd name="connsiteX21" fmla="*/ 447797 w 458541"/>
                  <a:gd name="connsiteY21" fmla="*/ 499405 h 50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58541" h="506749">
                    <a:moveTo>
                      <a:pt x="447273" y="506211"/>
                    </a:moveTo>
                    <a:lnTo>
                      <a:pt x="445470" y="506211"/>
                    </a:lnTo>
                    <a:cubicBezTo>
                      <a:pt x="445208" y="504291"/>
                      <a:pt x="444975" y="502343"/>
                      <a:pt x="444743" y="500394"/>
                    </a:cubicBezTo>
                    <a:lnTo>
                      <a:pt x="444306" y="129050"/>
                    </a:lnTo>
                    <a:cubicBezTo>
                      <a:pt x="444306" y="107470"/>
                      <a:pt x="444626" y="85860"/>
                      <a:pt x="444306" y="64280"/>
                    </a:cubicBezTo>
                    <a:cubicBezTo>
                      <a:pt x="443841" y="39442"/>
                      <a:pt x="434241" y="30106"/>
                      <a:pt x="409399" y="30106"/>
                    </a:cubicBezTo>
                    <a:cubicBezTo>
                      <a:pt x="288157" y="30106"/>
                      <a:pt x="166915" y="30106"/>
                      <a:pt x="45644" y="30106"/>
                    </a:cubicBezTo>
                    <a:cubicBezTo>
                      <a:pt x="21413" y="30106"/>
                      <a:pt x="11581" y="40227"/>
                      <a:pt x="11203" y="64832"/>
                    </a:cubicBezTo>
                    <a:cubicBezTo>
                      <a:pt x="10941" y="83243"/>
                      <a:pt x="10679" y="101653"/>
                      <a:pt x="10476" y="120092"/>
                    </a:cubicBezTo>
                    <a:cubicBezTo>
                      <a:pt x="-4389" y="118871"/>
                      <a:pt x="-462" y="105812"/>
                      <a:pt x="-637" y="98541"/>
                    </a:cubicBezTo>
                    <a:cubicBezTo>
                      <a:pt x="-1218" y="70184"/>
                      <a:pt x="760" y="41798"/>
                      <a:pt x="963" y="13412"/>
                    </a:cubicBezTo>
                    <a:cubicBezTo>
                      <a:pt x="963" y="3465"/>
                      <a:pt x="3872" y="-1508"/>
                      <a:pt x="14315" y="-258"/>
                    </a:cubicBezTo>
                    <a:cubicBezTo>
                      <a:pt x="22722" y="10649"/>
                      <a:pt x="33805" y="14052"/>
                      <a:pt x="47506" y="13994"/>
                    </a:cubicBezTo>
                    <a:cubicBezTo>
                      <a:pt x="167177" y="13674"/>
                      <a:pt x="286878" y="13674"/>
                      <a:pt x="406578" y="13994"/>
                    </a:cubicBezTo>
                    <a:cubicBezTo>
                      <a:pt x="420774" y="13994"/>
                      <a:pt x="432497" y="11085"/>
                      <a:pt x="441485" y="-170"/>
                    </a:cubicBezTo>
                    <a:cubicBezTo>
                      <a:pt x="452538" y="-1770"/>
                      <a:pt x="457658" y="1633"/>
                      <a:pt x="457338" y="14139"/>
                    </a:cubicBezTo>
                    <a:cubicBezTo>
                      <a:pt x="456524" y="44561"/>
                      <a:pt x="456145" y="75215"/>
                      <a:pt x="457542" y="105463"/>
                    </a:cubicBezTo>
                    <a:cubicBezTo>
                      <a:pt x="458007" y="115642"/>
                      <a:pt x="449630" y="119161"/>
                      <a:pt x="447797" y="126810"/>
                    </a:cubicBezTo>
                    <a:lnTo>
                      <a:pt x="447797" y="253529"/>
                    </a:lnTo>
                    <a:cubicBezTo>
                      <a:pt x="447797" y="293141"/>
                      <a:pt x="447797" y="332783"/>
                      <a:pt x="447797" y="372424"/>
                    </a:cubicBezTo>
                    <a:cubicBezTo>
                      <a:pt x="447797" y="375973"/>
                      <a:pt x="447797" y="379521"/>
                      <a:pt x="447797" y="383069"/>
                    </a:cubicBezTo>
                    <a:cubicBezTo>
                      <a:pt x="447797" y="421838"/>
                      <a:pt x="447797" y="460636"/>
                      <a:pt x="447797" y="499405"/>
                    </a:cubicBezTo>
                    <a:close/>
                  </a:path>
                </a:pathLst>
              </a:custGeom>
              <a:solidFill>
                <a:srgbClr val="F4F5F7"/>
              </a:solidFill>
              <a:ln w="2907" cap="flat">
                <a:noFill/>
                <a:prstDash val="solid"/>
                <a:miter/>
              </a:ln>
            </p:spPr>
            <p:txBody>
              <a:bodyPr rtlCol="0" anchor="ctr"/>
              <a:lstStyle/>
              <a:p>
                <a:endParaRPr lang="en-US" sz="800"/>
              </a:p>
            </p:txBody>
          </p:sp>
          <p:sp>
            <p:nvSpPr>
              <p:cNvPr id="213" name="Graphic 38">
                <a:extLst>
                  <a:ext uri="{FF2B5EF4-FFF2-40B4-BE49-F238E27FC236}">
                    <a16:creationId xmlns:a16="http://schemas.microsoft.com/office/drawing/2014/main" id="{9B899C40-F9B8-27A0-746A-C52D7A7AE99D}"/>
                  </a:ext>
                </a:extLst>
              </p:cNvPr>
              <p:cNvSpPr/>
              <p:nvPr/>
            </p:nvSpPr>
            <p:spPr>
              <a:xfrm>
                <a:off x="15727416" y="1853472"/>
                <a:ext cx="456376" cy="491216"/>
              </a:xfrm>
              <a:custGeom>
                <a:avLst/>
                <a:gdLst>
                  <a:gd name="connsiteX0" fmla="*/ 8352 w 456376"/>
                  <a:gd name="connsiteY0" fmla="*/ -480 h 491216"/>
                  <a:gd name="connsiteX1" fmla="*/ 9196 w 456376"/>
                  <a:gd name="connsiteY1" fmla="*/ 42128 h 491216"/>
                  <a:gd name="connsiteX2" fmla="*/ 45324 w 456376"/>
                  <a:gd name="connsiteY2" fmla="*/ 75836 h 491216"/>
                  <a:gd name="connsiteX3" fmla="*/ 406026 w 456376"/>
                  <a:gd name="connsiteY3" fmla="*/ 76243 h 491216"/>
                  <a:gd name="connsiteX4" fmla="*/ 443201 w 456376"/>
                  <a:gd name="connsiteY4" fmla="*/ 40179 h 491216"/>
                  <a:gd name="connsiteX5" fmla="*/ 445179 w 456376"/>
                  <a:gd name="connsiteY5" fmla="*/ -539 h 491216"/>
                  <a:gd name="connsiteX6" fmla="*/ 455011 w 456376"/>
                  <a:gd name="connsiteY6" fmla="*/ 10310 h 491216"/>
                  <a:gd name="connsiteX7" fmla="*/ 455389 w 456376"/>
                  <a:gd name="connsiteY7" fmla="*/ 109195 h 491216"/>
                  <a:gd name="connsiteX8" fmla="*/ 445645 w 456376"/>
                  <a:gd name="connsiteY8" fmla="*/ 127286 h 491216"/>
                  <a:gd name="connsiteX9" fmla="*/ 445645 w 456376"/>
                  <a:gd name="connsiteY9" fmla="*/ 245715 h 491216"/>
                  <a:gd name="connsiteX10" fmla="*/ 445645 w 456376"/>
                  <a:gd name="connsiteY10" fmla="*/ 256854 h 491216"/>
                  <a:gd name="connsiteX11" fmla="*/ 445645 w 456376"/>
                  <a:gd name="connsiteY11" fmla="*/ 372609 h 491216"/>
                  <a:gd name="connsiteX12" fmla="*/ 452190 w 456376"/>
                  <a:gd name="connsiteY12" fmla="*/ 382701 h 491216"/>
                  <a:gd name="connsiteX13" fmla="*/ 445499 w 456376"/>
                  <a:gd name="connsiteY13" fmla="*/ 391630 h 491216"/>
                  <a:gd name="connsiteX14" fmla="*/ 445499 w 456376"/>
                  <a:gd name="connsiteY14" fmla="*/ 468237 h 491216"/>
                  <a:gd name="connsiteX15" fmla="*/ 455011 w 456376"/>
                  <a:gd name="connsiteY15" fmla="*/ 477631 h 491216"/>
                  <a:gd name="connsiteX16" fmla="*/ 455011 w 456376"/>
                  <a:gd name="connsiteY16" fmla="*/ 487112 h 491216"/>
                  <a:gd name="connsiteX17" fmla="*/ 434649 w 456376"/>
                  <a:gd name="connsiteY17" fmla="*/ 486647 h 491216"/>
                  <a:gd name="connsiteX18" fmla="*/ 441049 w 456376"/>
                  <a:gd name="connsiteY18" fmla="*/ 476700 h 491216"/>
                  <a:gd name="connsiteX19" fmla="*/ 442968 w 456376"/>
                  <a:gd name="connsiteY19" fmla="*/ 455353 h 491216"/>
                  <a:gd name="connsiteX20" fmla="*/ 442619 w 456376"/>
                  <a:gd name="connsiteY20" fmla="*/ 426967 h 491216"/>
                  <a:gd name="connsiteX21" fmla="*/ 442619 w 456376"/>
                  <a:gd name="connsiteY21" fmla="*/ 113180 h 491216"/>
                  <a:gd name="connsiteX22" fmla="*/ 439071 w 456376"/>
                  <a:gd name="connsiteY22" fmla="*/ 104309 h 491216"/>
                  <a:gd name="connsiteX23" fmla="*/ 406782 w 456376"/>
                  <a:gd name="connsiteY23" fmla="*/ 91018 h 491216"/>
                  <a:gd name="connsiteX24" fmla="*/ 232685 w 456376"/>
                  <a:gd name="connsiteY24" fmla="*/ 91018 h 491216"/>
                  <a:gd name="connsiteX25" fmla="*/ 45935 w 456376"/>
                  <a:gd name="connsiteY25" fmla="*/ 91018 h 491216"/>
                  <a:gd name="connsiteX26" fmla="*/ 11028 w 456376"/>
                  <a:gd name="connsiteY26" fmla="*/ 113529 h 491216"/>
                  <a:gd name="connsiteX27" fmla="*/ 8323 w 456376"/>
                  <a:gd name="connsiteY27" fmla="*/ 119898 h 491216"/>
                  <a:gd name="connsiteX28" fmla="*/ -956 w 456376"/>
                  <a:gd name="connsiteY28" fmla="*/ 108788 h 491216"/>
                  <a:gd name="connsiteX29" fmla="*/ -956 w 456376"/>
                  <a:gd name="connsiteY29" fmla="*/ 10775 h 491216"/>
                  <a:gd name="connsiteX30" fmla="*/ 8352 w 456376"/>
                  <a:gd name="connsiteY30" fmla="*/ -480 h 491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56376" h="491216">
                    <a:moveTo>
                      <a:pt x="8352" y="-480"/>
                    </a:moveTo>
                    <a:cubicBezTo>
                      <a:pt x="8614" y="13713"/>
                      <a:pt x="8701" y="27935"/>
                      <a:pt x="9196" y="42128"/>
                    </a:cubicBezTo>
                    <a:cubicBezTo>
                      <a:pt x="9952" y="64929"/>
                      <a:pt x="21675" y="75836"/>
                      <a:pt x="45324" y="75836"/>
                    </a:cubicBezTo>
                    <a:cubicBezTo>
                      <a:pt x="165519" y="75836"/>
                      <a:pt x="285743" y="75313"/>
                      <a:pt x="406026" y="76243"/>
                    </a:cubicBezTo>
                    <a:cubicBezTo>
                      <a:pt x="432205" y="76447"/>
                      <a:pt x="441863" y="62196"/>
                      <a:pt x="443201" y="40179"/>
                    </a:cubicBezTo>
                    <a:cubicBezTo>
                      <a:pt x="444016" y="26568"/>
                      <a:pt x="441223" y="12811"/>
                      <a:pt x="445179" y="-539"/>
                    </a:cubicBezTo>
                    <a:cubicBezTo>
                      <a:pt x="452480" y="-539"/>
                      <a:pt x="455070" y="3184"/>
                      <a:pt x="455011" y="10310"/>
                    </a:cubicBezTo>
                    <a:cubicBezTo>
                      <a:pt x="454837" y="43262"/>
                      <a:pt x="454284" y="76214"/>
                      <a:pt x="455389" y="109195"/>
                    </a:cubicBezTo>
                    <a:cubicBezTo>
                      <a:pt x="455680" y="118473"/>
                      <a:pt x="445354" y="119520"/>
                      <a:pt x="445645" y="127286"/>
                    </a:cubicBezTo>
                    <a:cubicBezTo>
                      <a:pt x="445645" y="166752"/>
                      <a:pt x="445645" y="206248"/>
                      <a:pt x="445645" y="245715"/>
                    </a:cubicBezTo>
                    <a:cubicBezTo>
                      <a:pt x="445645" y="249438"/>
                      <a:pt x="445645" y="253132"/>
                      <a:pt x="445645" y="256854"/>
                    </a:cubicBezTo>
                    <a:cubicBezTo>
                      <a:pt x="445645" y="295420"/>
                      <a:pt x="445645" y="334014"/>
                      <a:pt x="445645" y="372609"/>
                    </a:cubicBezTo>
                    <a:cubicBezTo>
                      <a:pt x="444830" y="377931"/>
                      <a:pt x="449775" y="379502"/>
                      <a:pt x="452190" y="382701"/>
                    </a:cubicBezTo>
                    <a:cubicBezTo>
                      <a:pt x="447070" y="383515"/>
                      <a:pt x="445499" y="386889"/>
                      <a:pt x="445499" y="391630"/>
                    </a:cubicBezTo>
                    <a:cubicBezTo>
                      <a:pt x="445499" y="417165"/>
                      <a:pt x="445499" y="442701"/>
                      <a:pt x="445499" y="468237"/>
                    </a:cubicBezTo>
                    <a:cubicBezTo>
                      <a:pt x="445499" y="474897"/>
                      <a:pt x="448611" y="477777"/>
                      <a:pt x="455011" y="477631"/>
                    </a:cubicBezTo>
                    <a:lnTo>
                      <a:pt x="455011" y="487112"/>
                    </a:lnTo>
                    <a:cubicBezTo>
                      <a:pt x="448292" y="486327"/>
                      <a:pt x="441310" y="495838"/>
                      <a:pt x="434649" y="486647"/>
                    </a:cubicBezTo>
                    <a:lnTo>
                      <a:pt x="441049" y="476700"/>
                    </a:lnTo>
                    <a:lnTo>
                      <a:pt x="442968" y="455353"/>
                    </a:lnTo>
                    <a:cubicBezTo>
                      <a:pt x="442968" y="445900"/>
                      <a:pt x="442619" y="436448"/>
                      <a:pt x="442619" y="426967"/>
                    </a:cubicBezTo>
                    <a:cubicBezTo>
                      <a:pt x="442619" y="322381"/>
                      <a:pt x="442619" y="217795"/>
                      <a:pt x="442619" y="113180"/>
                    </a:cubicBezTo>
                    <a:cubicBezTo>
                      <a:pt x="442619" y="109748"/>
                      <a:pt x="442619" y="106345"/>
                      <a:pt x="439071" y="104309"/>
                    </a:cubicBezTo>
                    <a:cubicBezTo>
                      <a:pt x="430605" y="94333"/>
                      <a:pt x="419784" y="90931"/>
                      <a:pt x="406782" y="91018"/>
                    </a:cubicBezTo>
                    <a:cubicBezTo>
                      <a:pt x="348750" y="91338"/>
                      <a:pt x="290718" y="91018"/>
                      <a:pt x="232685" y="91018"/>
                    </a:cubicBezTo>
                    <a:cubicBezTo>
                      <a:pt x="170435" y="91018"/>
                      <a:pt x="108185" y="91018"/>
                      <a:pt x="45935" y="91018"/>
                    </a:cubicBezTo>
                    <a:cubicBezTo>
                      <a:pt x="25573" y="91018"/>
                      <a:pt x="16846" y="96834"/>
                      <a:pt x="11028" y="113529"/>
                    </a:cubicBezTo>
                    <a:lnTo>
                      <a:pt x="8323" y="119898"/>
                    </a:lnTo>
                    <a:cubicBezTo>
                      <a:pt x="62" y="120509"/>
                      <a:pt x="-985" y="115361"/>
                      <a:pt x="-956" y="108788"/>
                    </a:cubicBezTo>
                    <a:cubicBezTo>
                      <a:pt x="-840" y="76098"/>
                      <a:pt x="-840" y="43436"/>
                      <a:pt x="-956" y="10775"/>
                    </a:cubicBezTo>
                    <a:cubicBezTo>
                      <a:pt x="-1218" y="3882"/>
                      <a:pt x="469" y="-800"/>
                      <a:pt x="8352" y="-480"/>
                    </a:cubicBezTo>
                    <a:close/>
                  </a:path>
                </a:pathLst>
              </a:custGeom>
              <a:solidFill>
                <a:srgbClr val="F4F5F7"/>
              </a:solidFill>
              <a:ln w="2907" cap="flat">
                <a:noFill/>
                <a:prstDash val="solid"/>
                <a:miter/>
              </a:ln>
            </p:spPr>
            <p:txBody>
              <a:bodyPr rtlCol="0" anchor="ctr"/>
              <a:lstStyle/>
              <a:p>
                <a:endParaRPr lang="en-US" sz="800"/>
              </a:p>
            </p:txBody>
          </p:sp>
          <p:sp>
            <p:nvSpPr>
              <p:cNvPr id="214" name="Graphic 38">
                <a:extLst>
                  <a:ext uri="{FF2B5EF4-FFF2-40B4-BE49-F238E27FC236}">
                    <a16:creationId xmlns:a16="http://schemas.microsoft.com/office/drawing/2014/main" id="{3656EF75-06E0-408F-A599-8D2994D11316}"/>
                  </a:ext>
                </a:extLst>
              </p:cNvPr>
              <p:cNvSpPr/>
              <p:nvPr/>
            </p:nvSpPr>
            <p:spPr>
              <a:xfrm>
                <a:off x="15264750" y="2802860"/>
                <a:ext cx="456677" cy="443268"/>
              </a:xfrm>
              <a:custGeom>
                <a:avLst/>
                <a:gdLst>
                  <a:gd name="connsiteX0" fmla="*/ 5597 w 456677"/>
                  <a:gd name="connsiteY0" fmla="*/ 59694 h 443268"/>
                  <a:gd name="connsiteX1" fmla="*/ 8506 w 456677"/>
                  <a:gd name="connsiteY1" fmla="*/ 10484 h 443268"/>
                  <a:gd name="connsiteX2" fmla="*/ 11415 w 456677"/>
                  <a:gd name="connsiteY2" fmla="*/ -539 h 443268"/>
                  <a:gd name="connsiteX3" fmla="*/ 11124 w 456677"/>
                  <a:gd name="connsiteY3" fmla="*/ 309118 h 443268"/>
                  <a:gd name="connsiteX4" fmla="*/ 36722 w 456677"/>
                  <a:gd name="connsiteY4" fmla="*/ 338202 h 443268"/>
                  <a:gd name="connsiteX5" fmla="*/ 55659 w 456677"/>
                  <a:gd name="connsiteY5" fmla="*/ 338755 h 443268"/>
                  <a:gd name="connsiteX6" fmla="*/ 405045 w 456677"/>
                  <a:gd name="connsiteY6" fmla="*/ 339046 h 443268"/>
                  <a:gd name="connsiteX7" fmla="*/ 443501 w 456677"/>
                  <a:gd name="connsiteY7" fmla="*/ 319501 h 443268"/>
                  <a:gd name="connsiteX8" fmla="*/ 455689 w 456677"/>
                  <a:gd name="connsiteY8" fmla="*/ 336225 h 443268"/>
                  <a:gd name="connsiteX9" fmla="*/ 455427 w 456677"/>
                  <a:gd name="connsiteY9" fmla="*/ 428653 h 443268"/>
                  <a:gd name="connsiteX10" fmla="*/ 445799 w 456677"/>
                  <a:gd name="connsiteY10" fmla="*/ 442701 h 443268"/>
                  <a:gd name="connsiteX11" fmla="*/ 444257 w 456677"/>
                  <a:gd name="connsiteY11" fmla="*/ 392473 h 443268"/>
                  <a:gd name="connsiteX12" fmla="*/ 407052 w 456677"/>
                  <a:gd name="connsiteY12" fmla="*/ 353413 h 443268"/>
                  <a:gd name="connsiteX13" fmla="*/ 48561 w 456677"/>
                  <a:gd name="connsiteY13" fmla="*/ 353413 h 443268"/>
                  <a:gd name="connsiteX14" fmla="*/ 9669 w 456677"/>
                  <a:gd name="connsiteY14" fmla="*/ 392298 h 443268"/>
                  <a:gd name="connsiteX15" fmla="*/ 8913 w 456677"/>
                  <a:gd name="connsiteY15" fmla="*/ 442730 h 443268"/>
                  <a:gd name="connsiteX16" fmla="*/ -599 w 456677"/>
                  <a:gd name="connsiteY16" fmla="*/ 433161 h 443268"/>
                  <a:gd name="connsiteX17" fmla="*/ -977 w 456677"/>
                  <a:gd name="connsiteY17" fmla="*/ 330699 h 443268"/>
                  <a:gd name="connsiteX18" fmla="*/ 5830 w 456677"/>
                  <a:gd name="connsiteY18" fmla="*/ 312608 h 443268"/>
                  <a:gd name="connsiteX19" fmla="*/ 8913 w 456677"/>
                  <a:gd name="connsiteY19" fmla="*/ 297456 h 443268"/>
                  <a:gd name="connsiteX20" fmla="*/ 8623 w 456677"/>
                  <a:gd name="connsiteY20" fmla="*/ 193800 h 443268"/>
                  <a:gd name="connsiteX21" fmla="*/ 8623 w 456677"/>
                  <a:gd name="connsiteY21" fmla="*/ 187983 h 443268"/>
                  <a:gd name="connsiteX22" fmla="*/ 8971 w 456677"/>
                  <a:gd name="connsiteY22" fmla="*/ 77872 h 443268"/>
                  <a:gd name="connsiteX23" fmla="*/ 6062 w 456677"/>
                  <a:gd name="connsiteY23" fmla="*/ 66238 h 443268"/>
                  <a:gd name="connsiteX24" fmla="*/ 5597 w 456677"/>
                  <a:gd name="connsiteY24" fmla="*/ 59694 h 443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6677" h="443268">
                    <a:moveTo>
                      <a:pt x="5597" y="59694"/>
                    </a:moveTo>
                    <a:cubicBezTo>
                      <a:pt x="12636" y="43698"/>
                      <a:pt x="7924" y="26916"/>
                      <a:pt x="8506" y="10484"/>
                    </a:cubicBezTo>
                    <a:cubicBezTo>
                      <a:pt x="8681" y="6354"/>
                      <a:pt x="6673" y="2253"/>
                      <a:pt x="11415" y="-539"/>
                    </a:cubicBezTo>
                    <a:cubicBezTo>
                      <a:pt x="11298" y="102680"/>
                      <a:pt x="11211" y="205899"/>
                      <a:pt x="11124" y="309118"/>
                    </a:cubicBezTo>
                    <a:cubicBezTo>
                      <a:pt x="11124" y="324795"/>
                      <a:pt x="21073" y="335905"/>
                      <a:pt x="36722" y="338202"/>
                    </a:cubicBezTo>
                    <a:cubicBezTo>
                      <a:pt x="43005" y="338813"/>
                      <a:pt x="49347" y="339017"/>
                      <a:pt x="55659" y="338755"/>
                    </a:cubicBezTo>
                    <a:cubicBezTo>
                      <a:pt x="172014" y="338755"/>
                      <a:pt x="288573" y="338551"/>
                      <a:pt x="405045" y="339046"/>
                    </a:cubicBezTo>
                    <a:cubicBezTo>
                      <a:pt x="422033" y="339046"/>
                      <a:pt x="434774" y="334101"/>
                      <a:pt x="443501" y="319501"/>
                    </a:cubicBezTo>
                    <a:cubicBezTo>
                      <a:pt x="452023" y="321828"/>
                      <a:pt x="455892" y="326452"/>
                      <a:pt x="455689" y="336225"/>
                    </a:cubicBezTo>
                    <a:cubicBezTo>
                      <a:pt x="454990" y="367025"/>
                      <a:pt x="455397" y="397854"/>
                      <a:pt x="455427" y="428653"/>
                    </a:cubicBezTo>
                    <a:cubicBezTo>
                      <a:pt x="455427" y="435634"/>
                      <a:pt x="456154" y="442934"/>
                      <a:pt x="445799" y="442701"/>
                    </a:cubicBezTo>
                    <a:cubicBezTo>
                      <a:pt x="442104" y="426065"/>
                      <a:pt x="444344" y="409196"/>
                      <a:pt x="444257" y="392473"/>
                    </a:cubicBezTo>
                    <a:cubicBezTo>
                      <a:pt x="444111" y="364465"/>
                      <a:pt x="429188" y="353239"/>
                      <a:pt x="407052" y="353413"/>
                    </a:cubicBezTo>
                    <a:cubicBezTo>
                      <a:pt x="287555" y="354286"/>
                      <a:pt x="168058" y="354286"/>
                      <a:pt x="48561" y="353413"/>
                    </a:cubicBezTo>
                    <a:cubicBezTo>
                      <a:pt x="21742" y="353181"/>
                      <a:pt x="8855" y="368333"/>
                      <a:pt x="9669" y="392298"/>
                    </a:cubicBezTo>
                    <a:cubicBezTo>
                      <a:pt x="10222" y="409080"/>
                      <a:pt x="9204" y="425920"/>
                      <a:pt x="8913" y="442730"/>
                    </a:cubicBezTo>
                    <a:cubicBezTo>
                      <a:pt x="2455" y="442730"/>
                      <a:pt x="-628" y="439822"/>
                      <a:pt x="-599" y="433161"/>
                    </a:cubicBezTo>
                    <a:cubicBezTo>
                      <a:pt x="-599" y="398988"/>
                      <a:pt x="186" y="364814"/>
                      <a:pt x="-977" y="330699"/>
                    </a:cubicBezTo>
                    <a:cubicBezTo>
                      <a:pt x="-1268" y="322526"/>
                      <a:pt x="13044" y="321974"/>
                      <a:pt x="5830" y="312608"/>
                    </a:cubicBezTo>
                    <a:cubicBezTo>
                      <a:pt x="8244" y="307926"/>
                      <a:pt x="9321" y="302691"/>
                      <a:pt x="8913" y="297456"/>
                    </a:cubicBezTo>
                    <a:cubicBezTo>
                      <a:pt x="8767" y="262904"/>
                      <a:pt x="8681" y="228352"/>
                      <a:pt x="8623" y="193800"/>
                    </a:cubicBezTo>
                    <a:lnTo>
                      <a:pt x="8623" y="187983"/>
                    </a:lnTo>
                    <a:cubicBezTo>
                      <a:pt x="8739" y="151280"/>
                      <a:pt x="8855" y="114576"/>
                      <a:pt x="8971" y="77872"/>
                    </a:cubicBezTo>
                    <a:cubicBezTo>
                      <a:pt x="8971" y="73713"/>
                      <a:pt x="9408" y="69379"/>
                      <a:pt x="6062" y="66238"/>
                    </a:cubicBezTo>
                    <a:cubicBezTo>
                      <a:pt x="5743" y="63882"/>
                      <a:pt x="5655" y="61934"/>
                      <a:pt x="5597" y="59694"/>
                    </a:cubicBezTo>
                    <a:close/>
                  </a:path>
                </a:pathLst>
              </a:custGeom>
              <a:solidFill>
                <a:srgbClr val="F4F5F7"/>
              </a:solidFill>
              <a:ln w="2907" cap="flat">
                <a:noFill/>
                <a:prstDash val="solid"/>
                <a:miter/>
              </a:ln>
            </p:spPr>
            <p:txBody>
              <a:bodyPr rtlCol="0" anchor="ctr"/>
              <a:lstStyle/>
              <a:p>
                <a:endParaRPr lang="en-US" sz="800"/>
              </a:p>
            </p:txBody>
          </p:sp>
          <p:sp>
            <p:nvSpPr>
              <p:cNvPr id="215" name="Graphic 38">
                <a:extLst>
                  <a:ext uri="{FF2B5EF4-FFF2-40B4-BE49-F238E27FC236}">
                    <a16:creationId xmlns:a16="http://schemas.microsoft.com/office/drawing/2014/main" id="{B35F6C9F-E291-2593-3571-2ABB81A9D681}"/>
                  </a:ext>
                </a:extLst>
              </p:cNvPr>
              <p:cNvSpPr/>
              <p:nvPr/>
            </p:nvSpPr>
            <p:spPr>
              <a:xfrm>
                <a:off x="16648176" y="1167003"/>
                <a:ext cx="459413" cy="174102"/>
              </a:xfrm>
              <a:custGeom>
                <a:avLst/>
                <a:gdLst>
                  <a:gd name="connsiteX0" fmla="*/ 8864 w 459413"/>
                  <a:gd name="connsiteY0" fmla="*/ 43785 h 174102"/>
                  <a:gd name="connsiteX1" fmla="*/ 14828 w 459413"/>
                  <a:gd name="connsiteY1" fmla="*/ -539 h 174102"/>
                  <a:gd name="connsiteX2" fmla="*/ 13780 w 459413"/>
                  <a:gd name="connsiteY2" fmla="*/ 111638 h 174102"/>
                  <a:gd name="connsiteX3" fmla="*/ 44440 w 459413"/>
                  <a:gd name="connsiteY3" fmla="*/ 138861 h 174102"/>
                  <a:gd name="connsiteX4" fmla="*/ 413112 w 459413"/>
                  <a:gd name="connsiteY4" fmla="*/ 138861 h 174102"/>
                  <a:gd name="connsiteX5" fmla="*/ 445371 w 459413"/>
                  <a:gd name="connsiteY5" fmla="*/ 106229 h 174102"/>
                  <a:gd name="connsiteX6" fmla="*/ 445109 w 459413"/>
                  <a:gd name="connsiteY6" fmla="*/ 3446 h 174102"/>
                  <a:gd name="connsiteX7" fmla="*/ 455523 w 459413"/>
                  <a:gd name="connsiteY7" fmla="*/ 15632 h 174102"/>
                  <a:gd name="connsiteX8" fmla="*/ 458228 w 459413"/>
                  <a:gd name="connsiteY8" fmla="*/ 21856 h 174102"/>
                  <a:gd name="connsiteX9" fmla="*/ 449095 w 459413"/>
                  <a:gd name="connsiteY9" fmla="*/ 46316 h 174102"/>
                  <a:gd name="connsiteX10" fmla="*/ 452352 w 459413"/>
                  <a:gd name="connsiteY10" fmla="*/ 46897 h 174102"/>
                  <a:gd name="connsiteX11" fmla="*/ 454913 w 459413"/>
                  <a:gd name="connsiteY11" fmla="*/ 46897 h 174102"/>
                  <a:gd name="connsiteX12" fmla="*/ 458141 w 459413"/>
                  <a:gd name="connsiteY12" fmla="*/ 53761 h 174102"/>
                  <a:gd name="connsiteX13" fmla="*/ 458432 w 459413"/>
                  <a:gd name="connsiteY13" fmla="*/ 164280 h 174102"/>
                  <a:gd name="connsiteX14" fmla="*/ 448658 w 459413"/>
                  <a:gd name="connsiteY14" fmla="*/ 173558 h 174102"/>
                  <a:gd name="connsiteX15" fmla="*/ 445749 w 459413"/>
                  <a:gd name="connsiteY15" fmla="*/ 173558 h 174102"/>
                  <a:gd name="connsiteX16" fmla="*/ 406043 w 459413"/>
                  <a:gd name="connsiteY16" fmla="*/ 153897 h 174102"/>
                  <a:gd name="connsiteX17" fmla="*/ 50810 w 459413"/>
                  <a:gd name="connsiteY17" fmla="*/ 153897 h 174102"/>
                  <a:gd name="connsiteX18" fmla="*/ 18812 w 459413"/>
                  <a:gd name="connsiteY18" fmla="*/ 164077 h 174102"/>
                  <a:gd name="connsiteX19" fmla="*/ 15904 w 459413"/>
                  <a:gd name="connsiteY19" fmla="*/ 167770 h 174102"/>
                  <a:gd name="connsiteX20" fmla="*/ 16049 w 459413"/>
                  <a:gd name="connsiteY20" fmla="*/ 167945 h 174102"/>
                  <a:gd name="connsiteX21" fmla="*/ 2436 w 459413"/>
                  <a:gd name="connsiteY21" fmla="*/ 158638 h 174102"/>
                  <a:gd name="connsiteX22" fmla="*/ -619 w 459413"/>
                  <a:gd name="connsiteY22" fmla="*/ 68885 h 174102"/>
                  <a:gd name="connsiteX23" fmla="*/ 9650 w 459413"/>
                  <a:gd name="connsiteY23" fmla="*/ 48526 h 174102"/>
                  <a:gd name="connsiteX24" fmla="*/ 8864 w 459413"/>
                  <a:gd name="connsiteY24" fmla="*/ 43785 h 17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9413" h="174102">
                    <a:moveTo>
                      <a:pt x="8864" y="43785"/>
                    </a:moveTo>
                    <a:cubicBezTo>
                      <a:pt x="10929" y="29011"/>
                      <a:pt x="3948" y="13044"/>
                      <a:pt x="14828" y="-539"/>
                    </a:cubicBezTo>
                    <a:cubicBezTo>
                      <a:pt x="11919" y="36834"/>
                      <a:pt x="13548" y="74265"/>
                      <a:pt x="13780" y="111638"/>
                    </a:cubicBezTo>
                    <a:cubicBezTo>
                      <a:pt x="13780" y="128420"/>
                      <a:pt x="26201" y="138861"/>
                      <a:pt x="44440" y="138861"/>
                    </a:cubicBezTo>
                    <a:cubicBezTo>
                      <a:pt x="167311" y="139056"/>
                      <a:pt x="290211" y="139056"/>
                      <a:pt x="413112" y="138861"/>
                    </a:cubicBezTo>
                    <a:cubicBezTo>
                      <a:pt x="433968" y="138861"/>
                      <a:pt x="445255" y="127227"/>
                      <a:pt x="445371" y="106229"/>
                    </a:cubicBezTo>
                    <a:cubicBezTo>
                      <a:pt x="445575" y="71968"/>
                      <a:pt x="445371" y="37707"/>
                      <a:pt x="445109" y="3446"/>
                    </a:cubicBezTo>
                    <a:cubicBezTo>
                      <a:pt x="450927" y="5627"/>
                      <a:pt x="447408" y="15545"/>
                      <a:pt x="455523" y="15632"/>
                    </a:cubicBezTo>
                    <a:lnTo>
                      <a:pt x="458228" y="21856"/>
                    </a:lnTo>
                    <a:cubicBezTo>
                      <a:pt x="441008" y="24764"/>
                      <a:pt x="452033" y="38114"/>
                      <a:pt x="449095" y="46316"/>
                    </a:cubicBezTo>
                    <a:cubicBezTo>
                      <a:pt x="449793" y="48759"/>
                      <a:pt x="450898" y="48788"/>
                      <a:pt x="452352" y="46897"/>
                    </a:cubicBezTo>
                    <a:cubicBezTo>
                      <a:pt x="453196" y="46854"/>
                      <a:pt x="454069" y="46854"/>
                      <a:pt x="454913" y="46897"/>
                    </a:cubicBezTo>
                    <a:cubicBezTo>
                      <a:pt x="456018" y="49166"/>
                      <a:pt x="458112" y="51463"/>
                      <a:pt x="458141" y="53761"/>
                    </a:cubicBezTo>
                    <a:cubicBezTo>
                      <a:pt x="458374" y="90611"/>
                      <a:pt x="458316" y="127460"/>
                      <a:pt x="458432" y="164280"/>
                    </a:cubicBezTo>
                    <a:cubicBezTo>
                      <a:pt x="458432" y="171144"/>
                      <a:pt x="454971" y="173703"/>
                      <a:pt x="448658" y="173558"/>
                    </a:cubicBezTo>
                    <a:lnTo>
                      <a:pt x="445749" y="173558"/>
                    </a:lnTo>
                    <a:cubicBezTo>
                      <a:pt x="436557" y="158783"/>
                      <a:pt x="423584" y="153810"/>
                      <a:pt x="406043" y="153897"/>
                    </a:cubicBezTo>
                    <a:cubicBezTo>
                      <a:pt x="287652" y="154508"/>
                      <a:pt x="169231" y="154333"/>
                      <a:pt x="50810" y="153897"/>
                    </a:cubicBezTo>
                    <a:cubicBezTo>
                      <a:pt x="38593" y="153897"/>
                      <a:pt x="27947" y="156108"/>
                      <a:pt x="18812" y="164077"/>
                    </a:cubicBezTo>
                    <a:cubicBezTo>
                      <a:pt x="17853" y="165298"/>
                      <a:pt x="16922" y="166549"/>
                      <a:pt x="15904" y="167770"/>
                    </a:cubicBezTo>
                    <a:lnTo>
                      <a:pt x="16049" y="167945"/>
                    </a:lnTo>
                    <a:cubicBezTo>
                      <a:pt x="7322" y="170999"/>
                      <a:pt x="2028" y="170010"/>
                      <a:pt x="2436" y="158638"/>
                    </a:cubicBezTo>
                    <a:cubicBezTo>
                      <a:pt x="3483" y="128681"/>
                      <a:pt x="-2480" y="98929"/>
                      <a:pt x="-619" y="68885"/>
                    </a:cubicBezTo>
                    <a:cubicBezTo>
                      <a:pt x="-95" y="60451"/>
                      <a:pt x="-1695" y="51667"/>
                      <a:pt x="9650" y="48526"/>
                    </a:cubicBezTo>
                    <a:cubicBezTo>
                      <a:pt x="11773" y="48264"/>
                      <a:pt x="10668" y="45327"/>
                      <a:pt x="8864" y="43785"/>
                    </a:cubicBezTo>
                    <a:close/>
                  </a:path>
                </a:pathLst>
              </a:custGeom>
              <a:solidFill>
                <a:srgbClr val="EBECF1"/>
              </a:solidFill>
              <a:ln w="2907" cap="flat">
                <a:noFill/>
                <a:prstDash val="solid"/>
                <a:miter/>
              </a:ln>
            </p:spPr>
            <p:txBody>
              <a:bodyPr rtlCol="0" anchor="ctr"/>
              <a:lstStyle/>
              <a:p>
                <a:endParaRPr lang="en-US" sz="800"/>
              </a:p>
            </p:txBody>
          </p:sp>
          <p:sp>
            <p:nvSpPr>
              <p:cNvPr id="216" name="Graphic 38">
                <a:extLst>
                  <a:ext uri="{FF2B5EF4-FFF2-40B4-BE49-F238E27FC236}">
                    <a16:creationId xmlns:a16="http://schemas.microsoft.com/office/drawing/2014/main" id="{2B0A551F-963C-8D65-7CA8-8C39EFD009FE}"/>
                  </a:ext>
                </a:extLst>
              </p:cNvPr>
              <p:cNvSpPr/>
              <p:nvPr/>
            </p:nvSpPr>
            <p:spPr>
              <a:xfrm>
                <a:off x="16189217" y="1151444"/>
                <a:ext cx="456465" cy="315936"/>
              </a:xfrm>
              <a:custGeom>
                <a:avLst/>
                <a:gdLst>
                  <a:gd name="connsiteX0" fmla="*/ 423492 w 456465"/>
                  <a:gd name="connsiteY0" fmla="*/ -539 h 315936"/>
                  <a:gd name="connsiteX1" fmla="*/ 445977 w 456465"/>
                  <a:gd name="connsiteY1" fmla="*/ 24619 h 315936"/>
                  <a:gd name="connsiteX2" fmla="*/ 445977 w 456465"/>
                  <a:gd name="connsiteY2" fmla="*/ 58880 h 315936"/>
                  <a:gd name="connsiteX3" fmla="*/ 445977 w 456465"/>
                  <a:gd name="connsiteY3" fmla="*/ 69263 h 315936"/>
                  <a:gd name="connsiteX4" fmla="*/ 445977 w 456465"/>
                  <a:gd name="connsiteY4" fmla="*/ 185599 h 315936"/>
                  <a:gd name="connsiteX5" fmla="*/ 455227 w 456465"/>
                  <a:gd name="connsiteY5" fmla="*/ 219452 h 315936"/>
                  <a:gd name="connsiteX6" fmla="*/ 455460 w 456465"/>
                  <a:gd name="connsiteY6" fmla="*/ 301062 h 315936"/>
                  <a:gd name="connsiteX7" fmla="*/ 438589 w 456465"/>
                  <a:gd name="connsiteY7" fmla="*/ 313626 h 315936"/>
                  <a:gd name="connsiteX8" fmla="*/ 438763 w 456465"/>
                  <a:gd name="connsiteY8" fmla="*/ 313277 h 315936"/>
                  <a:gd name="connsiteX9" fmla="*/ 434633 w 456465"/>
                  <a:gd name="connsiteY9" fmla="*/ 310136 h 315936"/>
                  <a:gd name="connsiteX10" fmla="*/ 429368 w 456465"/>
                  <a:gd name="connsiteY10" fmla="*/ 307228 h 315936"/>
                  <a:gd name="connsiteX11" fmla="*/ 428001 w 456465"/>
                  <a:gd name="connsiteY11" fmla="*/ 306239 h 315936"/>
                  <a:gd name="connsiteX12" fmla="*/ 426575 w 456465"/>
                  <a:gd name="connsiteY12" fmla="*/ 305163 h 315936"/>
                  <a:gd name="connsiteX13" fmla="*/ 407639 w 456465"/>
                  <a:gd name="connsiteY13" fmla="*/ 300160 h 315936"/>
                  <a:gd name="connsiteX14" fmla="*/ 47722 w 456465"/>
                  <a:gd name="connsiteY14" fmla="*/ 300160 h 315936"/>
                  <a:gd name="connsiteX15" fmla="*/ 31200 w 456465"/>
                  <a:gd name="connsiteY15" fmla="*/ 303069 h 315936"/>
                  <a:gd name="connsiteX16" fmla="*/ 15608 w 456465"/>
                  <a:gd name="connsiteY16" fmla="*/ 312870 h 315936"/>
                  <a:gd name="connsiteX17" fmla="*/ -972 w 456465"/>
                  <a:gd name="connsiteY17" fmla="*/ 301033 h 315936"/>
                  <a:gd name="connsiteX18" fmla="*/ -740 w 456465"/>
                  <a:gd name="connsiteY18" fmla="*/ 206656 h 315936"/>
                  <a:gd name="connsiteX19" fmla="*/ 8627 w 456465"/>
                  <a:gd name="connsiteY19" fmla="*/ 192433 h 315936"/>
                  <a:gd name="connsiteX20" fmla="*/ 10110 w 456465"/>
                  <a:gd name="connsiteY20" fmla="*/ 252288 h 315936"/>
                  <a:gd name="connsiteX21" fmla="*/ 45919 w 456465"/>
                  <a:gd name="connsiteY21" fmla="*/ 287858 h 315936"/>
                  <a:gd name="connsiteX22" fmla="*/ 403478 w 456465"/>
                  <a:gd name="connsiteY22" fmla="*/ 287858 h 315936"/>
                  <a:gd name="connsiteX23" fmla="*/ 441294 w 456465"/>
                  <a:gd name="connsiteY23" fmla="*/ 248827 h 315936"/>
                  <a:gd name="connsiteX24" fmla="*/ 441527 w 456465"/>
                  <a:gd name="connsiteY24" fmla="*/ 38521 h 315936"/>
                  <a:gd name="connsiteX25" fmla="*/ 423492 w 456465"/>
                  <a:gd name="connsiteY25" fmla="*/ -539 h 315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6465" h="315936">
                    <a:moveTo>
                      <a:pt x="423492" y="-539"/>
                    </a:moveTo>
                    <a:cubicBezTo>
                      <a:pt x="438676" y="974"/>
                      <a:pt x="446763" y="8187"/>
                      <a:pt x="445977" y="24619"/>
                    </a:cubicBezTo>
                    <a:cubicBezTo>
                      <a:pt x="445338" y="36020"/>
                      <a:pt x="445977" y="47479"/>
                      <a:pt x="445977" y="58880"/>
                    </a:cubicBezTo>
                    <a:cubicBezTo>
                      <a:pt x="445977" y="62341"/>
                      <a:pt x="445977" y="65802"/>
                      <a:pt x="445977" y="69263"/>
                    </a:cubicBezTo>
                    <a:lnTo>
                      <a:pt x="445977" y="185599"/>
                    </a:lnTo>
                    <a:cubicBezTo>
                      <a:pt x="457031" y="194702"/>
                      <a:pt x="455227" y="207324"/>
                      <a:pt x="455227" y="219452"/>
                    </a:cubicBezTo>
                    <a:cubicBezTo>
                      <a:pt x="455227" y="246675"/>
                      <a:pt x="454646" y="273898"/>
                      <a:pt x="455460" y="301062"/>
                    </a:cubicBezTo>
                    <a:cubicBezTo>
                      <a:pt x="455896" y="315022"/>
                      <a:pt x="450312" y="317611"/>
                      <a:pt x="438589" y="313626"/>
                    </a:cubicBezTo>
                    <a:lnTo>
                      <a:pt x="438763" y="313277"/>
                    </a:lnTo>
                    <a:lnTo>
                      <a:pt x="434633" y="310136"/>
                    </a:lnTo>
                    <a:lnTo>
                      <a:pt x="429368" y="307228"/>
                    </a:lnTo>
                    <a:cubicBezTo>
                      <a:pt x="428931" y="306879"/>
                      <a:pt x="428466" y="306559"/>
                      <a:pt x="428001" y="306239"/>
                    </a:cubicBezTo>
                    <a:cubicBezTo>
                      <a:pt x="427361" y="306204"/>
                      <a:pt x="426779" y="305777"/>
                      <a:pt x="426575" y="305163"/>
                    </a:cubicBezTo>
                    <a:cubicBezTo>
                      <a:pt x="421572" y="298590"/>
                      <a:pt x="414300" y="300160"/>
                      <a:pt x="407639" y="300160"/>
                    </a:cubicBezTo>
                    <a:cubicBezTo>
                      <a:pt x="287676" y="300160"/>
                      <a:pt x="167714" y="300160"/>
                      <a:pt x="47722" y="300160"/>
                    </a:cubicBezTo>
                    <a:cubicBezTo>
                      <a:pt x="42137" y="300160"/>
                      <a:pt x="36087" y="298386"/>
                      <a:pt x="31200" y="303069"/>
                    </a:cubicBezTo>
                    <a:lnTo>
                      <a:pt x="15608" y="312870"/>
                    </a:lnTo>
                    <a:cubicBezTo>
                      <a:pt x="2983" y="318687"/>
                      <a:pt x="-1205" y="314353"/>
                      <a:pt x="-972" y="301033"/>
                    </a:cubicBezTo>
                    <a:cubicBezTo>
                      <a:pt x="-391" y="269564"/>
                      <a:pt x="-798" y="238095"/>
                      <a:pt x="-740" y="206656"/>
                    </a:cubicBezTo>
                    <a:cubicBezTo>
                      <a:pt x="-740" y="199908"/>
                      <a:pt x="-2136" y="192114"/>
                      <a:pt x="8627" y="192433"/>
                    </a:cubicBezTo>
                    <a:cubicBezTo>
                      <a:pt x="12001" y="212298"/>
                      <a:pt x="9587" y="232337"/>
                      <a:pt x="10110" y="252288"/>
                    </a:cubicBezTo>
                    <a:cubicBezTo>
                      <a:pt x="10722" y="277126"/>
                      <a:pt x="20728" y="287829"/>
                      <a:pt x="45919" y="287858"/>
                    </a:cubicBezTo>
                    <a:cubicBezTo>
                      <a:pt x="165095" y="288032"/>
                      <a:pt x="284272" y="288032"/>
                      <a:pt x="403478" y="287858"/>
                    </a:cubicBezTo>
                    <a:cubicBezTo>
                      <a:pt x="433411" y="287858"/>
                      <a:pt x="441294" y="279133"/>
                      <a:pt x="441294" y="248827"/>
                    </a:cubicBezTo>
                    <a:cubicBezTo>
                      <a:pt x="441294" y="178735"/>
                      <a:pt x="440945" y="108613"/>
                      <a:pt x="441527" y="38521"/>
                    </a:cubicBezTo>
                    <a:cubicBezTo>
                      <a:pt x="441818" y="21769"/>
                      <a:pt x="438298" y="8332"/>
                      <a:pt x="423492" y="-539"/>
                    </a:cubicBezTo>
                    <a:close/>
                  </a:path>
                </a:pathLst>
              </a:custGeom>
              <a:solidFill>
                <a:srgbClr val="EBECF1"/>
              </a:solidFill>
              <a:ln w="2907" cap="flat">
                <a:noFill/>
                <a:prstDash val="solid"/>
                <a:miter/>
              </a:ln>
            </p:spPr>
            <p:txBody>
              <a:bodyPr rtlCol="0" anchor="ctr"/>
              <a:lstStyle/>
              <a:p>
                <a:endParaRPr lang="en-US" sz="800"/>
              </a:p>
            </p:txBody>
          </p:sp>
          <p:sp>
            <p:nvSpPr>
              <p:cNvPr id="224" name="Graphic 38">
                <a:extLst>
                  <a:ext uri="{FF2B5EF4-FFF2-40B4-BE49-F238E27FC236}">
                    <a16:creationId xmlns:a16="http://schemas.microsoft.com/office/drawing/2014/main" id="{5ECB1988-3FAA-1E4F-583E-3CA1BD38F082}"/>
                  </a:ext>
                </a:extLst>
              </p:cNvPr>
              <p:cNvSpPr/>
              <p:nvPr/>
            </p:nvSpPr>
            <p:spPr>
              <a:xfrm>
                <a:off x="15265014" y="1979810"/>
                <a:ext cx="456438" cy="120768"/>
              </a:xfrm>
              <a:custGeom>
                <a:avLst/>
                <a:gdLst>
                  <a:gd name="connsiteX0" fmla="*/ 442073 w 456438"/>
                  <a:gd name="connsiteY0" fmla="*/ 44254 h 120768"/>
                  <a:gd name="connsiteX1" fmla="*/ 406497 w 456438"/>
                  <a:gd name="connsiteY1" fmla="*/ 25582 h 120768"/>
                  <a:gd name="connsiteX2" fmla="*/ 47454 w 456438"/>
                  <a:gd name="connsiteY2" fmla="*/ 25843 h 120768"/>
                  <a:gd name="connsiteX3" fmla="*/ 10482 w 456438"/>
                  <a:gd name="connsiteY3" fmla="*/ 62053 h 120768"/>
                  <a:gd name="connsiteX4" fmla="*/ 8707 w 456438"/>
                  <a:gd name="connsiteY4" fmla="*/ 120221 h 120768"/>
                  <a:gd name="connsiteX5" fmla="*/ -979 w 456438"/>
                  <a:gd name="connsiteY5" fmla="*/ 109344 h 120768"/>
                  <a:gd name="connsiteX6" fmla="*/ -979 w 456438"/>
                  <a:gd name="connsiteY6" fmla="*/ 10691 h 120768"/>
                  <a:gd name="connsiteX7" fmla="*/ 15049 w 456438"/>
                  <a:gd name="connsiteY7" fmla="*/ -303 h 120768"/>
                  <a:gd name="connsiteX8" fmla="*/ 49461 w 456438"/>
                  <a:gd name="connsiteY8" fmla="*/ 12174 h 120768"/>
                  <a:gd name="connsiteX9" fmla="*/ 402948 w 456438"/>
                  <a:gd name="connsiteY9" fmla="*/ 12174 h 120768"/>
                  <a:gd name="connsiteX10" fmla="*/ 439047 w 456438"/>
                  <a:gd name="connsiteY10" fmla="*/ -303 h 120768"/>
                  <a:gd name="connsiteX11" fmla="*/ 455396 w 456438"/>
                  <a:gd name="connsiteY11" fmla="*/ 15460 h 120768"/>
                  <a:gd name="connsiteX12" fmla="*/ 454960 w 456438"/>
                  <a:gd name="connsiteY12" fmla="*/ 105155 h 120768"/>
                  <a:gd name="connsiteX13" fmla="*/ 450799 w 456438"/>
                  <a:gd name="connsiteY13" fmla="*/ 118330 h 120768"/>
                  <a:gd name="connsiteX14" fmla="*/ 445796 w 456438"/>
                  <a:gd name="connsiteY14" fmla="*/ 104603 h 120768"/>
                  <a:gd name="connsiteX15" fmla="*/ 445506 w 456438"/>
                  <a:gd name="connsiteY15" fmla="*/ 58970 h 120768"/>
                  <a:gd name="connsiteX16" fmla="*/ 442073 w 456438"/>
                  <a:gd name="connsiteY16" fmla="*/ 44254 h 120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6438" h="120768">
                    <a:moveTo>
                      <a:pt x="442073" y="44254"/>
                    </a:moveTo>
                    <a:cubicBezTo>
                      <a:pt x="433986" y="30846"/>
                      <a:pt x="422176" y="25552"/>
                      <a:pt x="406497" y="25582"/>
                    </a:cubicBezTo>
                    <a:cubicBezTo>
                      <a:pt x="286826" y="25872"/>
                      <a:pt x="167154" y="25582"/>
                      <a:pt x="47454" y="25843"/>
                    </a:cubicBezTo>
                    <a:cubicBezTo>
                      <a:pt x="21128" y="25843"/>
                      <a:pt x="11442" y="36081"/>
                      <a:pt x="10482" y="62053"/>
                    </a:cubicBezTo>
                    <a:cubicBezTo>
                      <a:pt x="9784" y="81452"/>
                      <a:pt x="12576" y="100967"/>
                      <a:pt x="8707" y="120221"/>
                    </a:cubicBezTo>
                    <a:cubicBezTo>
                      <a:pt x="1116" y="120453"/>
                      <a:pt x="-1008" y="116294"/>
                      <a:pt x="-979" y="109344"/>
                    </a:cubicBezTo>
                    <a:cubicBezTo>
                      <a:pt x="-776" y="76449"/>
                      <a:pt x="-601" y="43555"/>
                      <a:pt x="-979" y="10691"/>
                    </a:cubicBezTo>
                    <a:cubicBezTo>
                      <a:pt x="-1153" y="-2106"/>
                      <a:pt x="7544" y="162"/>
                      <a:pt x="15049" y="-303"/>
                    </a:cubicBezTo>
                    <a:cubicBezTo>
                      <a:pt x="24677" y="8975"/>
                      <a:pt x="36022" y="12203"/>
                      <a:pt x="49461" y="12174"/>
                    </a:cubicBezTo>
                    <a:cubicBezTo>
                      <a:pt x="167271" y="11854"/>
                      <a:pt x="285109" y="11854"/>
                      <a:pt x="402948" y="12174"/>
                    </a:cubicBezTo>
                    <a:cubicBezTo>
                      <a:pt x="416766" y="12174"/>
                      <a:pt x="428866" y="9265"/>
                      <a:pt x="439047" y="-303"/>
                    </a:cubicBezTo>
                    <a:cubicBezTo>
                      <a:pt x="450858" y="-1641"/>
                      <a:pt x="455803" y="2605"/>
                      <a:pt x="455396" y="15460"/>
                    </a:cubicBezTo>
                    <a:cubicBezTo>
                      <a:pt x="454465" y="45330"/>
                      <a:pt x="455221" y="75257"/>
                      <a:pt x="454960" y="105155"/>
                    </a:cubicBezTo>
                    <a:cubicBezTo>
                      <a:pt x="454960" y="109896"/>
                      <a:pt x="457577" y="118243"/>
                      <a:pt x="450799" y="118330"/>
                    </a:cubicBezTo>
                    <a:cubicBezTo>
                      <a:pt x="442073" y="118330"/>
                      <a:pt x="445971" y="109605"/>
                      <a:pt x="445796" y="104603"/>
                    </a:cubicBezTo>
                    <a:cubicBezTo>
                      <a:pt x="445244" y="89421"/>
                      <a:pt x="445796" y="74181"/>
                      <a:pt x="445506" y="58970"/>
                    </a:cubicBezTo>
                    <a:cubicBezTo>
                      <a:pt x="445477" y="53851"/>
                      <a:pt x="446873" y="48296"/>
                      <a:pt x="442073" y="44254"/>
                    </a:cubicBezTo>
                    <a:close/>
                  </a:path>
                </a:pathLst>
              </a:custGeom>
              <a:solidFill>
                <a:srgbClr val="F4F5F7"/>
              </a:solidFill>
              <a:ln w="2907" cap="flat">
                <a:noFill/>
                <a:prstDash val="solid"/>
                <a:miter/>
              </a:ln>
            </p:spPr>
            <p:txBody>
              <a:bodyPr rtlCol="0" anchor="ctr"/>
              <a:lstStyle/>
              <a:p>
                <a:endParaRPr lang="en-US" sz="800"/>
              </a:p>
            </p:txBody>
          </p:sp>
          <p:sp>
            <p:nvSpPr>
              <p:cNvPr id="225" name="Graphic 38">
                <a:extLst>
                  <a:ext uri="{FF2B5EF4-FFF2-40B4-BE49-F238E27FC236}">
                    <a16:creationId xmlns:a16="http://schemas.microsoft.com/office/drawing/2014/main" id="{D21A9FA0-1C3A-D9B4-21A5-350A886DE09D}"/>
                  </a:ext>
                </a:extLst>
              </p:cNvPr>
              <p:cNvSpPr/>
              <p:nvPr/>
            </p:nvSpPr>
            <p:spPr>
              <a:xfrm>
                <a:off x="16189146" y="1727009"/>
                <a:ext cx="456711" cy="123293"/>
              </a:xfrm>
              <a:custGeom>
                <a:avLst/>
                <a:gdLst>
                  <a:gd name="connsiteX0" fmla="*/ 436042 w 456711"/>
                  <a:gd name="connsiteY0" fmla="*/ 120108 h 123293"/>
                  <a:gd name="connsiteX1" fmla="*/ 403317 w 456711"/>
                  <a:gd name="connsiteY1" fmla="*/ 110860 h 123293"/>
                  <a:gd name="connsiteX2" fmla="*/ 52070 w 456711"/>
                  <a:gd name="connsiteY2" fmla="*/ 110860 h 123293"/>
                  <a:gd name="connsiteX3" fmla="*/ 21322 w 456711"/>
                  <a:gd name="connsiteY3" fmla="*/ 116677 h 123293"/>
                  <a:gd name="connsiteX4" fmla="*/ 18268 w 456711"/>
                  <a:gd name="connsiteY4" fmla="*/ 119149 h 123293"/>
                  <a:gd name="connsiteX5" fmla="*/ 17453 w 456711"/>
                  <a:gd name="connsiteY5" fmla="*/ 119759 h 123293"/>
                  <a:gd name="connsiteX6" fmla="*/ 15069 w 456711"/>
                  <a:gd name="connsiteY6" fmla="*/ 121795 h 123293"/>
                  <a:gd name="connsiteX7" fmla="*/ 14341 w 456711"/>
                  <a:gd name="connsiteY7" fmla="*/ 122755 h 123293"/>
                  <a:gd name="connsiteX8" fmla="*/ -959 w 456711"/>
                  <a:gd name="connsiteY8" fmla="*/ 104229 h 123293"/>
                  <a:gd name="connsiteX9" fmla="*/ -640 w 456711"/>
                  <a:gd name="connsiteY9" fmla="*/ 13515 h 123293"/>
                  <a:gd name="connsiteX10" fmla="*/ 8872 w 456711"/>
                  <a:gd name="connsiteY10" fmla="*/ -532 h 123293"/>
                  <a:gd name="connsiteX11" fmla="*/ 9745 w 456711"/>
                  <a:gd name="connsiteY11" fmla="*/ 62551 h 123293"/>
                  <a:gd name="connsiteX12" fmla="*/ 43721 w 456711"/>
                  <a:gd name="connsiteY12" fmla="*/ 96870 h 123293"/>
                  <a:gd name="connsiteX13" fmla="*/ 410240 w 456711"/>
                  <a:gd name="connsiteY13" fmla="*/ 96870 h 123293"/>
                  <a:gd name="connsiteX14" fmla="*/ 428886 w 456711"/>
                  <a:gd name="connsiteY14" fmla="*/ 93962 h 123293"/>
                  <a:gd name="connsiteX15" fmla="*/ 432813 w 456711"/>
                  <a:gd name="connsiteY15" fmla="*/ 91053 h 123293"/>
                  <a:gd name="connsiteX16" fmla="*/ 432667 w 456711"/>
                  <a:gd name="connsiteY16" fmla="*/ 91053 h 123293"/>
                  <a:gd name="connsiteX17" fmla="*/ 435984 w 456711"/>
                  <a:gd name="connsiteY17" fmla="*/ 87854 h 123293"/>
                  <a:gd name="connsiteX18" fmla="*/ 435984 w 456711"/>
                  <a:gd name="connsiteY18" fmla="*/ 87854 h 123293"/>
                  <a:gd name="connsiteX19" fmla="*/ 438893 w 456711"/>
                  <a:gd name="connsiteY19" fmla="*/ 84510 h 123293"/>
                  <a:gd name="connsiteX20" fmla="*/ 438893 w 456711"/>
                  <a:gd name="connsiteY20" fmla="*/ 84335 h 123293"/>
                  <a:gd name="connsiteX21" fmla="*/ 445757 w 456711"/>
                  <a:gd name="connsiteY21" fmla="*/ 61068 h 123293"/>
                  <a:gd name="connsiteX22" fmla="*/ 447561 w 456711"/>
                  <a:gd name="connsiteY22" fmla="*/ 1824 h 123293"/>
                  <a:gd name="connsiteX23" fmla="*/ 455299 w 456711"/>
                  <a:gd name="connsiteY23" fmla="*/ 28639 h 123293"/>
                  <a:gd name="connsiteX24" fmla="*/ 455648 w 456711"/>
                  <a:gd name="connsiteY24" fmla="*/ 101029 h 123293"/>
                  <a:gd name="connsiteX25" fmla="*/ 436042 w 456711"/>
                  <a:gd name="connsiteY25" fmla="*/ 120108 h 12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6711" h="123293">
                    <a:moveTo>
                      <a:pt x="436042" y="120108"/>
                    </a:moveTo>
                    <a:cubicBezTo>
                      <a:pt x="426239" y="113099"/>
                      <a:pt x="415418" y="110831"/>
                      <a:pt x="403317" y="110860"/>
                    </a:cubicBezTo>
                    <a:cubicBezTo>
                      <a:pt x="286235" y="111121"/>
                      <a:pt x="169152" y="111121"/>
                      <a:pt x="52070" y="110860"/>
                    </a:cubicBezTo>
                    <a:cubicBezTo>
                      <a:pt x="41393" y="110860"/>
                      <a:pt x="30980" y="111354"/>
                      <a:pt x="21322" y="116677"/>
                    </a:cubicBezTo>
                    <a:lnTo>
                      <a:pt x="18268" y="119149"/>
                    </a:lnTo>
                    <a:lnTo>
                      <a:pt x="17453" y="119759"/>
                    </a:lnTo>
                    <a:lnTo>
                      <a:pt x="15069" y="121795"/>
                    </a:lnTo>
                    <a:lnTo>
                      <a:pt x="14341" y="122755"/>
                    </a:lnTo>
                    <a:cubicBezTo>
                      <a:pt x="3142" y="121592"/>
                      <a:pt x="-1338" y="116269"/>
                      <a:pt x="-959" y="104229"/>
                    </a:cubicBezTo>
                    <a:cubicBezTo>
                      <a:pt x="-58" y="74010"/>
                      <a:pt x="-640" y="43763"/>
                      <a:pt x="-640" y="13515"/>
                    </a:cubicBezTo>
                    <a:cubicBezTo>
                      <a:pt x="-640" y="6652"/>
                      <a:pt x="-1599" y="-794"/>
                      <a:pt x="8872" y="-532"/>
                    </a:cubicBezTo>
                    <a:cubicBezTo>
                      <a:pt x="9164" y="20496"/>
                      <a:pt x="9309" y="41523"/>
                      <a:pt x="9745" y="62551"/>
                    </a:cubicBezTo>
                    <a:cubicBezTo>
                      <a:pt x="10181" y="85527"/>
                      <a:pt x="20799" y="96841"/>
                      <a:pt x="43721" y="96870"/>
                    </a:cubicBezTo>
                    <a:cubicBezTo>
                      <a:pt x="165894" y="97103"/>
                      <a:pt x="288067" y="97103"/>
                      <a:pt x="410240" y="96870"/>
                    </a:cubicBezTo>
                    <a:cubicBezTo>
                      <a:pt x="416524" y="96405"/>
                      <a:pt x="422748" y="95416"/>
                      <a:pt x="428886" y="93962"/>
                    </a:cubicBezTo>
                    <a:lnTo>
                      <a:pt x="432813" y="91053"/>
                    </a:lnTo>
                    <a:lnTo>
                      <a:pt x="432667" y="91053"/>
                    </a:lnTo>
                    <a:lnTo>
                      <a:pt x="435984" y="87854"/>
                    </a:lnTo>
                    <a:lnTo>
                      <a:pt x="435984" y="87854"/>
                    </a:lnTo>
                    <a:lnTo>
                      <a:pt x="438893" y="84510"/>
                    </a:lnTo>
                    <a:lnTo>
                      <a:pt x="438893" y="84335"/>
                    </a:lnTo>
                    <a:cubicBezTo>
                      <a:pt x="446078" y="78053"/>
                      <a:pt x="445728" y="69531"/>
                      <a:pt x="445757" y="61068"/>
                    </a:cubicBezTo>
                    <a:cubicBezTo>
                      <a:pt x="445757" y="41378"/>
                      <a:pt x="445757" y="21688"/>
                      <a:pt x="447561" y="1824"/>
                    </a:cubicBezTo>
                    <a:cubicBezTo>
                      <a:pt x="453844" y="9967"/>
                      <a:pt x="455299" y="19274"/>
                      <a:pt x="455299" y="28639"/>
                    </a:cubicBezTo>
                    <a:cubicBezTo>
                      <a:pt x="455299" y="52779"/>
                      <a:pt x="454310" y="76977"/>
                      <a:pt x="455648" y="101029"/>
                    </a:cubicBezTo>
                    <a:cubicBezTo>
                      <a:pt x="456521" y="116938"/>
                      <a:pt x="450441" y="121941"/>
                      <a:pt x="436042" y="120108"/>
                    </a:cubicBezTo>
                    <a:close/>
                  </a:path>
                </a:pathLst>
              </a:custGeom>
              <a:solidFill>
                <a:srgbClr val="F4F5F7"/>
              </a:solidFill>
              <a:ln w="2907" cap="flat">
                <a:noFill/>
                <a:prstDash val="solid"/>
                <a:miter/>
              </a:ln>
            </p:spPr>
            <p:txBody>
              <a:bodyPr rtlCol="0" anchor="ctr"/>
              <a:lstStyle/>
              <a:p>
                <a:endParaRPr lang="en-US" sz="800"/>
              </a:p>
            </p:txBody>
          </p:sp>
          <p:sp>
            <p:nvSpPr>
              <p:cNvPr id="226" name="Graphic 38">
                <a:extLst>
                  <a:ext uri="{FF2B5EF4-FFF2-40B4-BE49-F238E27FC236}">
                    <a16:creationId xmlns:a16="http://schemas.microsoft.com/office/drawing/2014/main" id="{D8244907-F19F-D75D-532E-853C256BF6CB}"/>
                  </a:ext>
                </a:extLst>
              </p:cNvPr>
              <p:cNvSpPr/>
              <p:nvPr/>
            </p:nvSpPr>
            <p:spPr>
              <a:xfrm>
                <a:off x="16189036" y="1980203"/>
                <a:ext cx="456519" cy="120739"/>
              </a:xfrm>
              <a:custGeom>
                <a:avLst/>
                <a:gdLst>
                  <a:gd name="connsiteX0" fmla="*/ 27600 w 456519"/>
                  <a:gd name="connsiteY0" fmla="*/ 91355 h 120739"/>
                  <a:gd name="connsiteX1" fmla="*/ 46391 w 456519"/>
                  <a:gd name="connsiteY1" fmla="*/ 93333 h 120739"/>
                  <a:gd name="connsiteX2" fmla="*/ 405464 w 456519"/>
                  <a:gd name="connsiteY2" fmla="*/ 93653 h 120739"/>
                  <a:gd name="connsiteX3" fmla="*/ 439905 w 456519"/>
                  <a:gd name="connsiteY3" fmla="*/ 78558 h 120739"/>
                  <a:gd name="connsiteX4" fmla="*/ 445723 w 456519"/>
                  <a:gd name="connsiteY4" fmla="*/ 58200 h 120739"/>
                  <a:gd name="connsiteX5" fmla="*/ 445723 w 456519"/>
                  <a:gd name="connsiteY5" fmla="*/ 9310 h 120739"/>
                  <a:gd name="connsiteX6" fmla="*/ 449184 w 456519"/>
                  <a:gd name="connsiteY6" fmla="*/ 1690 h 120739"/>
                  <a:gd name="connsiteX7" fmla="*/ 455002 w 456519"/>
                  <a:gd name="connsiteY7" fmla="*/ 9281 h 120739"/>
                  <a:gd name="connsiteX8" fmla="*/ 455206 w 456519"/>
                  <a:gd name="connsiteY8" fmla="*/ 48718 h 120739"/>
                  <a:gd name="connsiteX9" fmla="*/ 455467 w 456519"/>
                  <a:gd name="connsiteY9" fmla="*/ 103978 h 120739"/>
                  <a:gd name="connsiteX10" fmla="*/ 439439 w 456519"/>
                  <a:gd name="connsiteY10" fmla="*/ 119858 h 120739"/>
                  <a:gd name="connsiteX11" fmla="*/ 396126 w 456519"/>
                  <a:gd name="connsiteY11" fmla="*/ 107293 h 120739"/>
                  <a:gd name="connsiteX12" fmla="*/ 48544 w 456519"/>
                  <a:gd name="connsiteY12" fmla="*/ 107293 h 120739"/>
                  <a:gd name="connsiteX13" fmla="*/ 14539 w 456519"/>
                  <a:gd name="connsiteY13" fmla="*/ 119771 h 120739"/>
                  <a:gd name="connsiteX14" fmla="*/ -965 w 456519"/>
                  <a:gd name="connsiteY14" fmla="*/ 104996 h 120739"/>
                  <a:gd name="connsiteX15" fmla="*/ -703 w 456519"/>
                  <a:gd name="connsiteY15" fmla="*/ 13585 h 120739"/>
                  <a:gd name="connsiteX16" fmla="*/ 8896 w 456519"/>
                  <a:gd name="connsiteY16" fmla="*/ -521 h 120739"/>
                  <a:gd name="connsiteX17" fmla="*/ 8896 w 456519"/>
                  <a:gd name="connsiteY17" fmla="*/ -346 h 120739"/>
                  <a:gd name="connsiteX18" fmla="*/ 11397 w 456519"/>
                  <a:gd name="connsiteY18" fmla="*/ 75272 h 120739"/>
                  <a:gd name="connsiteX19" fmla="*/ 11717 w 456519"/>
                  <a:gd name="connsiteY19" fmla="*/ 76028 h 120739"/>
                  <a:gd name="connsiteX20" fmla="*/ 16080 w 456519"/>
                  <a:gd name="connsiteY20" fmla="*/ 84084 h 120739"/>
                  <a:gd name="connsiteX21" fmla="*/ 15208 w 456519"/>
                  <a:gd name="connsiteY21" fmla="*/ 84666 h 120739"/>
                  <a:gd name="connsiteX22" fmla="*/ 16023 w 456519"/>
                  <a:gd name="connsiteY22" fmla="*/ 84026 h 120739"/>
                  <a:gd name="connsiteX23" fmla="*/ 27600 w 456519"/>
                  <a:gd name="connsiteY23" fmla="*/ 91355 h 12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56519" h="120739">
                    <a:moveTo>
                      <a:pt x="27600" y="91355"/>
                    </a:moveTo>
                    <a:cubicBezTo>
                      <a:pt x="33825" y="92344"/>
                      <a:pt x="40108" y="93013"/>
                      <a:pt x="46391" y="93333"/>
                    </a:cubicBezTo>
                    <a:cubicBezTo>
                      <a:pt x="166092" y="93333"/>
                      <a:pt x="285793" y="93333"/>
                      <a:pt x="405464" y="93653"/>
                    </a:cubicBezTo>
                    <a:cubicBezTo>
                      <a:pt x="419717" y="93653"/>
                      <a:pt x="431353" y="90279"/>
                      <a:pt x="439905" y="78558"/>
                    </a:cubicBezTo>
                    <a:cubicBezTo>
                      <a:pt x="446188" y="73003"/>
                      <a:pt x="445723" y="65558"/>
                      <a:pt x="445723" y="58200"/>
                    </a:cubicBezTo>
                    <a:cubicBezTo>
                      <a:pt x="445723" y="41884"/>
                      <a:pt x="445723" y="25597"/>
                      <a:pt x="445723" y="9310"/>
                    </a:cubicBezTo>
                    <a:cubicBezTo>
                      <a:pt x="445723" y="6401"/>
                      <a:pt x="444996" y="2126"/>
                      <a:pt x="449184" y="1690"/>
                    </a:cubicBezTo>
                    <a:cubicBezTo>
                      <a:pt x="454217" y="1195"/>
                      <a:pt x="455002" y="5703"/>
                      <a:pt x="455002" y="9281"/>
                    </a:cubicBezTo>
                    <a:cubicBezTo>
                      <a:pt x="455264" y="22427"/>
                      <a:pt x="455206" y="35456"/>
                      <a:pt x="455206" y="48718"/>
                    </a:cubicBezTo>
                    <a:cubicBezTo>
                      <a:pt x="455206" y="67099"/>
                      <a:pt x="454508" y="85539"/>
                      <a:pt x="455467" y="103978"/>
                    </a:cubicBezTo>
                    <a:cubicBezTo>
                      <a:pt x="456165" y="116542"/>
                      <a:pt x="451802" y="121632"/>
                      <a:pt x="439439" y="119858"/>
                    </a:cubicBezTo>
                    <a:cubicBezTo>
                      <a:pt x="427164" y="108224"/>
                      <a:pt x="412183" y="107264"/>
                      <a:pt x="396126" y="107293"/>
                    </a:cubicBezTo>
                    <a:cubicBezTo>
                      <a:pt x="280265" y="107701"/>
                      <a:pt x="164404" y="107701"/>
                      <a:pt x="48544" y="107293"/>
                    </a:cubicBezTo>
                    <a:cubicBezTo>
                      <a:pt x="35308" y="107293"/>
                      <a:pt x="23789" y="109940"/>
                      <a:pt x="14539" y="119771"/>
                    </a:cubicBezTo>
                    <a:cubicBezTo>
                      <a:pt x="3165" y="121312"/>
                      <a:pt x="-1286" y="117153"/>
                      <a:pt x="-965" y="104996"/>
                    </a:cubicBezTo>
                    <a:cubicBezTo>
                      <a:pt x="-180" y="74545"/>
                      <a:pt x="-675" y="43919"/>
                      <a:pt x="-703" y="13585"/>
                    </a:cubicBezTo>
                    <a:cubicBezTo>
                      <a:pt x="-703" y="6663"/>
                      <a:pt x="-1722" y="-957"/>
                      <a:pt x="8896" y="-521"/>
                    </a:cubicBezTo>
                    <a:lnTo>
                      <a:pt x="8896" y="-346"/>
                    </a:lnTo>
                    <a:cubicBezTo>
                      <a:pt x="9914" y="24899"/>
                      <a:pt x="5259" y="50318"/>
                      <a:pt x="11397" y="75272"/>
                    </a:cubicBezTo>
                    <a:lnTo>
                      <a:pt x="11717" y="76028"/>
                    </a:lnTo>
                    <a:cubicBezTo>
                      <a:pt x="11921" y="79373"/>
                      <a:pt x="11717" y="82921"/>
                      <a:pt x="16080" y="84084"/>
                    </a:cubicBezTo>
                    <a:lnTo>
                      <a:pt x="15208" y="84666"/>
                    </a:lnTo>
                    <a:lnTo>
                      <a:pt x="16023" y="84026"/>
                    </a:lnTo>
                    <a:cubicBezTo>
                      <a:pt x="17419" y="90599"/>
                      <a:pt x="22218" y="91443"/>
                      <a:pt x="27600" y="91355"/>
                    </a:cubicBezTo>
                    <a:close/>
                  </a:path>
                </a:pathLst>
              </a:custGeom>
              <a:solidFill>
                <a:srgbClr val="F4F5F7"/>
              </a:solidFill>
              <a:ln w="2907" cap="flat">
                <a:noFill/>
                <a:prstDash val="solid"/>
                <a:miter/>
              </a:ln>
            </p:spPr>
            <p:txBody>
              <a:bodyPr rtlCol="0" anchor="ctr"/>
              <a:lstStyle/>
              <a:p>
                <a:endParaRPr lang="en-US" sz="800"/>
              </a:p>
            </p:txBody>
          </p:sp>
          <p:sp>
            <p:nvSpPr>
              <p:cNvPr id="227" name="Graphic 38">
                <a:extLst>
                  <a:ext uri="{FF2B5EF4-FFF2-40B4-BE49-F238E27FC236}">
                    <a16:creationId xmlns:a16="http://schemas.microsoft.com/office/drawing/2014/main" id="{D2F091BE-040D-EECE-8DA3-566F33991711}"/>
                  </a:ext>
                </a:extLst>
              </p:cNvPr>
              <p:cNvSpPr/>
              <p:nvPr/>
            </p:nvSpPr>
            <p:spPr>
              <a:xfrm>
                <a:off x="14802760" y="2996372"/>
                <a:ext cx="456060" cy="119548"/>
              </a:xfrm>
              <a:custGeom>
                <a:avLst/>
                <a:gdLst>
                  <a:gd name="connsiteX0" fmla="*/ 445625 w 456060"/>
                  <a:gd name="connsiteY0" fmla="*/ 119010 h 119548"/>
                  <a:gd name="connsiteX1" fmla="*/ 439487 w 456060"/>
                  <a:gd name="connsiteY1" fmla="*/ 116101 h 119548"/>
                  <a:gd name="connsiteX2" fmla="*/ 400624 w 456060"/>
                  <a:gd name="connsiteY2" fmla="*/ 103624 h 119548"/>
                  <a:gd name="connsiteX3" fmla="*/ 53507 w 456060"/>
                  <a:gd name="connsiteY3" fmla="*/ 103624 h 119548"/>
                  <a:gd name="connsiteX4" fmla="*/ 14848 w 456060"/>
                  <a:gd name="connsiteY4" fmla="*/ 116305 h 119548"/>
                  <a:gd name="connsiteX5" fmla="*/ -976 w 456060"/>
                  <a:gd name="connsiteY5" fmla="*/ 104148 h 119548"/>
                  <a:gd name="connsiteX6" fmla="*/ -772 w 456060"/>
                  <a:gd name="connsiteY6" fmla="*/ 11864 h 119548"/>
                  <a:gd name="connsiteX7" fmla="*/ 8303 w 456060"/>
                  <a:gd name="connsiteY7" fmla="*/ -409 h 119548"/>
                  <a:gd name="connsiteX8" fmla="*/ 8711 w 456060"/>
                  <a:gd name="connsiteY8" fmla="*/ 62732 h 119548"/>
                  <a:gd name="connsiteX9" fmla="*/ 36927 w 456060"/>
                  <a:gd name="connsiteY9" fmla="*/ 90827 h 119548"/>
                  <a:gd name="connsiteX10" fmla="*/ 419183 w 456060"/>
                  <a:gd name="connsiteY10" fmla="*/ 90827 h 119548"/>
                  <a:gd name="connsiteX11" fmla="*/ 439225 w 456060"/>
                  <a:gd name="connsiteY11" fmla="*/ 78030 h 119548"/>
                  <a:gd name="connsiteX12" fmla="*/ 442280 w 456060"/>
                  <a:gd name="connsiteY12" fmla="*/ 70759 h 119548"/>
                  <a:gd name="connsiteX13" fmla="*/ 445189 w 456060"/>
                  <a:gd name="connsiteY13" fmla="*/ 56217 h 119548"/>
                  <a:gd name="connsiteX14" fmla="*/ 445683 w 456060"/>
                  <a:gd name="connsiteY14" fmla="*/ 2005 h 119548"/>
                  <a:gd name="connsiteX15" fmla="*/ 455079 w 456060"/>
                  <a:gd name="connsiteY15" fmla="*/ 13057 h 119548"/>
                  <a:gd name="connsiteX16" fmla="*/ 455079 w 456060"/>
                  <a:gd name="connsiteY16" fmla="*/ 105718 h 119548"/>
                  <a:gd name="connsiteX17" fmla="*/ 445625 w 456060"/>
                  <a:gd name="connsiteY17" fmla="*/ 119010 h 119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6060" h="119548">
                    <a:moveTo>
                      <a:pt x="445625" y="119010"/>
                    </a:moveTo>
                    <a:lnTo>
                      <a:pt x="439487" y="116101"/>
                    </a:lnTo>
                    <a:cubicBezTo>
                      <a:pt x="428492" y="105777"/>
                      <a:pt x="415431" y="103566"/>
                      <a:pt x="400624" y="103624"/>
                    </a:cubicBezTo>
                    <a:cubicBezTo>
                      <a:pt x="284909" y="104061"/>
                      <a:pt x="169193" y="104061"/>
                      <a:pt x="53507" y="103624"/>
                    </a:cubicBezTo>
                    <a:cubicBezTo>
                      <a:pt x="38643" y="103624"/>
                      <a:pt x="25728" y="105893"/>
                      <a:pt x="14848" y="116305"/>
                    </a:cubicBezTo>
                    <a:cubicBezTo>
                      <a:pt x="3067" y="120697"/>
                      <a:pt x="-1151" y="116305"/>
                      <a:pt x="-976" y="104148"/>
                    </a:cubicBezTo>
                    <a:cubicBezTo>
                      <a:pt x="-540" y="73377"/>
                      <a:pt x="-976" y="42606"/>
                      <a:pt x="-772" y="11864"/>
                    </a:cubicBezTo>
                    <a:cubicBezTo>
                      <a:pt x="-772" y="5669"/>
                      <a:pt x="-1849" y="-1602"/>
                      <a:pt x="8303" y="-409"/>
                    </a:cubicBezTo>
                    <a:cubicBezTo>
                      <a:pt x="8303" y="20648"/>
                      <a:pt x="8478" y="41675"/>
                      <a:pt x="8711" y="62732"/>
                    </a:cubicBezTo>
                    <a:cubicBezTo>
                      <a:pt x="8885" y="80183"/>
                      <a:pt x="19270" y="90827"/>
                      <a:pt x="36927" y="90827"/>
                    </a:cubicBezTo>
                    <a:cubicBezTo>
                      <a:pt x="164336" y="90827"/>
                      <a:pt x="291745" y="90827"/>
                      <a:pt x="419183" y="90827"/>
                    </a:cubicBezTo>
                    <a:cubicBezTo>
                      <a:pt x="428724" y="90827"/>
                      <a:pt x="437392" y="89926"/>
                      <a:pt x="439225" y="78030"/>
                    </a:cubicBezTo>
                    <a:lnTo>
                      <a:pt x="442280" y="70759"/>
                    </a:lnTo>
                    <a:cubicBezTo>
                      <a:pt x="446759" y="66630"/>
                      <a:pt x="445189" y="61133"/>
                      <a:pt x="445189" y="56217"/>
                    </a:cubicBezTo>
                    <a:cubicBezTo>
                      <a:pt x="445479" y="38156"/>
                      <a:pt x="445537" y="20066"/>
                      <a:pt x="445683" y="2005"/>
                    </a:cubicBezTo>
                    <a:cubicBezTo>
                      <a:pt x="453595" y="1627"/>
                      <a:pt x="455108" y="6339"/>
                      <a:pt x="455079" y="13057"/>
                    </a:cubicBezTo>
                    <a:cubicBezTo>
                      <a:pt x="455079" y="43944"/>
                      <a:pt x="455079" y="74831"/>
                      <a:pt x="455079" y="105718"/>
                    </a:cubicBezTo>
                    <a:cubicBezTo>
                      <a:pt x="455108" y="112495"/>
                      <a:pt x="454264" y="118544"/>
                      <a:pt x="445625" y="119010"/>
                    </a:cubicBezTo>
                    <a:close/>
                  </a:path>
                </a:pathLst>
              </a:custGeom>
              <a:solidFill>
                <a:srgbClr val="F4F5F7"/>
              </a:solidFill>
              <a:ln w="2907" cap="flat">
                <a:noFill/>
                <a:prstDash val="solid"/>
                <a:miter/>
              </a:ln>
            </p:spPr>
            <p:txBody>
              <a:bodyPr rtlCol="0" anchor="ctr"/>
              <a:lstStyle/>
              <a:p>
                <a:endParaRPr lang="en-US" sz="800"/>
              </a:p>
            </p:txBody>
          </p:sp>
          <p:sp>
            <p:nvSpPr>
              <p:cNvPr id="228" name="Graphic 38">
                <a:extLst>
                  <a:ext uri="{FF2B5EF4-FFF2-40B4-BE49-F238E27FC236}">
                    <a16:creationId xmlns:a16="http://schemas.microsoft.com/office/drawing/2014/main" id="{6C4AE6DC-B549-2C0E-0440-B47842847351}"/>
                  </a:ext>
                </a:extLst>
              </p:cNvPr>
              <p:cNvSpPr/>
              <p:nvPr/>
            </p:nvSpPr>
            <p:spPr>
              <a:xfrm>
                <a:off x="15264809" y="1470875"/>
                <a:ext cx="456702" cy="123139"/>
              </a:xfrm>
              <a:custGeom>
                <a:avLst/>
                <a:gdLst>
                  <a:gd name="connsiteX0" fmla="*/ 440038 w 456702"/>
                  <a:gd name="connsiteY0" fmla="*/ 29881 h 123139"/>
                  <a:gd name="connsiteX1" fmla="*/ 408040 w 456702"/>
                  <a:gd name="connsiteY1" fmla="*/ 12431 h 123139"/>
                  <a:gd name="connsiteX2" fmla="*/ 313211 w 456702"/>
                  <a:gd name="connsiteY2" fmla="*/ 12431 h 123139"/>
                  <a:gd name="connsiteX3" fmla="*/ 60138 w 456702"/>
                  <a:gd name="connsiteY3" fmla="*/ 12431 h 123139"/>
                  <a:gd name="connsiteX4" fmla="*/ 10425 w 456702"/>
                  <a:gd name="connsiteY4" fmla="*/ 61292 h 123139"/>
                  <a:gd name="connsiteX5" fmla="*/ 8825 w 456702"/>
                  <a:gd name="connsiteY5" fmla="*/ 122601 h 123139"/>
                  <a:gd name="connsiteX6" fmla="*/ -948 w 456702"/>
                  <a:gd name="connsiteY6" fmla="*/ 105151 h 123139"/>
                  <a:gd name="connsiteX7" fmla="*/ -948 w 456702"/>
                  <a:gd name="connsiteY7" fmla="*/ 18248 h 123139"/>
                  <a:gd name="connsiteX8" fmla="*/ 19414 w 456702"/>
                  <a:gd name="connsiteY8" fmla="*/ -366 h 123139"/>
                  <a:gd name="connsiteX9" fmla="*/ 237289 w 456702"/>
                  <a:gd name="connsiteY9" fmla="*/ 2251 h 123139"/>
                  <a:gd name="connsiteX10" fmla="*/ 409640 w 456702"/>
                  <a:gd name="connsiteY10" fmla="*/ 2426 h 123139"/>
                  <a:gd name="connsiteX11" fmla="*/ 427094 w 456702"/>
                  <a:gd name="connsiteY11" fmla="*/ 2106 h 123139"/>
                  <a:gd name="connsiteX12" fmla="*/ 455484 w 456702"/>
                  <a:gd name="connsiteY12" fmla="*/ 27845 h 123139"/>
                  <a:gd name="connsiteX13" fmla="*/ 455484 w 456702"/>
                  <a:gd name="connsiteY13" fmla="*/ 106837 h 123139"/>
                  <a:gd name="connsiteX14" fmla="*/ 450627 w 456702"/>
                  <a:gd name="connsiteY14" fmla="*/ 118064 h 123139"/>
                  <a:gd name="connsiteX15" fmla="*/ 446147 w 456702"/>
                  <a:gd name="connsiteY15" fmla="*/ 106430 h 123139"/>
                  <a:gd name="connsiteX16" fmla="*/ 443907 w 456702"/>
                  <a:gd name="connsiteY16" fmla="*/ 37327 h 123139"/>
                  <a:gd name="connsiteX17" fmla="*/ 440038 w 456702"/>
                  <a:gd name="connsiteY17" fmla="*/ 29881 h 12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6702" h="123139">
                    <a:moveTo>
                      <a:pt x="440038" y="29881"/>
                    </a:moveTo>
                    <a:cubicBezTo>
                      <a:pt x="434453" y="14641"/>
                      <a:pt x="421421" y="12664"/>
                      <a:pt x="408040" y="12431"/>
                    </a:cubicBezTo>
                    <a:cubicBezTo>
                      <a:pt x="376421" y="12140"/>
                      <a:pt x="344830" y="12431"/>
                      <a:pt x="313211" y="12431"/>
                    </a:cubicBezTo>
                    <a:lnTo>
                      <a:pt x="60138" y="12431"/>
                    </a:lnTo>
                    <a:cubicBezTo>
                      <a:pt x="16505" y="12431"/>
                      <a:pt x="10890" y="18393"/>
                      <a:pt x="10425" y="61292"/>
                    </a:cubicBezTo>
                    <a:cubicBezTo>
                      <a:pt x="10221" y="81651"/>
                      <a:pt x="12694" y="102271"/>
                      <a:pt x="8825" y="122601"/>
                    </a:cubicBezTo>
                    <a:cubicBezTo>
                      <a:pt x="1379" y="119082"/>
                      <a:pt x="-1123" y="113585"/>
                      <a:pt x="-948" y="105151"/>
                    </a:cubicBezTo>
                    <a:cubicBezTo>
                      <a:pt x="-338" y="76067"/>
                      <a:pt x="128" y="47186"/>
                      <a:pt x="-948" y="18248"/>
                    </a:cubicBezTo>
                    <a:cubicBezTo>
                      <a:pt x="-1588" y="2251"/>
                      <a:pt x="7138" y="-1442"/>
                      <a:pt x="19414" y="-366"/>
                    </a:cubicBezTo>
                    <a:cubicBezTo>
                      <a:pt x="91990" y="5916"/>
                      <a:pt x="164683" y="1146"/>
                      <a:pt x="237289" y="2251"/>
                    </a:cubicBezTo>
                    <a:cubicBezTo>
                      <a:pt x="294739" y="3095"/>
                      <a:pt x="352190" y="2426"/>
                      <a:pt x="409640" y="2426"/>
                    </a:cubicBezTo>
                    <a:cubicBezTo>
                      <a:pt x="415458" y="2641"/>
                      <a:pt x="421276" y="2537"/>
                      <a:pt x="427094" y="2106"/>
                    </a:cubicBezTo>
                    <a:cubicBezTo>
                      <a:pt x="455543" y="-1064"/>
                      <a:pt x="455513" y="-1151"/>
                      <a:pt x="455484" y="27845"/>
                    </a:cubicBezTo>
                    <a:cubicBezTo>
                      <a:pt x="455484" y="54021"/>
                      <a:pt x="455484" y="80516"/>
                      <a:pt x="455484" y="106837"/>
                    </a:cubicBezTo>
                    <a:cubicBezTo>
                      <a:pt x="455484" y="111113"/>
                      <a:pt x="457346" y="118267"/>
                      <a:pt x="450627" y="118064"/>
                    </a:cubicBezTo>
                    <a:cubicBezTo>
                      <a:pt x="443907" y="117860"/>
                      <a:pt x="446409" y="110822"/>
                      <a:pt x="446147" y="106430"/>
                    </a:cubicBezTo>
                    <a:cubicBezTo>
                      <a:pt x="444751" y="83396"/>
                      <a:pt x="448620" y="60216"/>
                      <a:pt x="443907" y="37327"/>
                    </a:cubicBezTo>
                    <a:cubicBezTo>
                      <a:pt x="442453" y="34942"/>
                      <a:pt x="441231" y="32470"/>
                      <a:pt x="440038" y="29881"/>
                    </a:cubicBezTo>
                    <a:close/>
                  </a:path>
                </a:pathLst>
              </a:custGeom>
              <a:solidFill>
                <a:srgbClr val="F4F5F7"/>
              </a:solidFill>
              <a:ln w="2907" cap="flat">
                <a:noFill/>
                <a:prstDash val="solid"/>
                <a:miter/>
              </a:ln>
            </p:spPr>
            <p:txBody>
              <a:bodyPr rtlCol="0" anchor="ctr"/>
              <a:lstStyle/>
              <a:p>
                <a:endParaRPr lang="en-US" sz="800"/>
              </a:p>
            </p:txBody>
          </p:sp>
          <p:sp>
            <p:nvSpPr>
              <p:cNvPr id="229" name="Graphic 38">
                <a:extLst>
                  <a:ext uri="{FF2B5EF4-FFF2-40B4-BE49-F238E27FC236}">
                    <a16:creationId xmlns:a16="http://schemas.microsoft.com/office/drawing/2014/main" id="{F858861F-6A16-EDBC-289B-7162EE4B6AE6}"/>
                  </a:ext>
                </a:extLst>
              </p:cNvPr>
              <p:cNvSpPr/>
              <p:nvPr/>
            </p:nvSpPr>
            <p:spPr>
              <a:xfrm>
                <a:off x="15726671" y="2233414"/>
                <a:ext cx="457091" cy="123589"/>
              </a:xfrm>
              <a:custGeom>
                <a:avLst/>
                <a:gdLst>
                  <a:gd name="connsiteX0" fmla="*/ 435365 w 457091"/>
                  <a:gd name="connsiteY0" fmla="*/ 106531 h 123589"/>
                  <a:gd name="connsiteX1" fmla="*/ 455727 w 457091"/>
                  <a:gd name="connsiteY1" fmla="*/ 106996 h 123589"/>
                  <a:gd name="connsiteX2" fmla="*/ 439845 w 457091"/>
                  <a:gd name="connsiteY2" fmla="*/ 123050 h 123589"/>
                  <a:gd name="connsiteX3" fmla="*/ 16107 w 457091"/>
                  <a:gd name="connsiteY3" fmla="*/ 123050 h 123589"/>
                  <a:gd name="connsiteX4" fmla="*/ -473 w 457091"/>
                  <a:gd name="connsiteY4" fmla="*/ 105600 h 123589"/>
                  <a:gd name="connsiteX5" fmla="*/ -968 w 457091"/>
                  <a:gd name="connsiteY5" fmla="*/ 9244 h 123589"/>
                  <a:gd name="connsiteX6" fmla="*/ 8922 w 457091"/>
                  <a:gd name="connsiteY6" fmla="*/ -528 h 123589"/>
                  <a:gd name="connsiteX7" fmla="*/ 9679 w 457091"/>
                  <a:gd name="connsiteY7" fmla="*/ 54238 h 123589"/>
                  <a:gd name="connsiteX8" fmla="*/ 12413 w 457091"/>
                  <a:gd name="connsiteY8" fmla="*/ 94257 h 123589"/>
                  <a:gd name="connsiteX9" fmla="*/ 46942 w 457091"/>
                  <a:gd name="connsiteY9" fmla="*/ 113860 h 123589"/>
                  <a:gd name="connsiteX10" fmla="*/ 403861 w 457091"/>
                  <a:gd name="connsiteY10" fmla="*/ 113860 h 123589"/>
                  <a:gd name="connsiteX11" fmla="*/ 435365 w 457091"/>
                  <a:gd name="connsiteY11" fmla="*/ 106531 h 1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7091" h="123589">
                    <a:moveTo>
                      <a:pt x="435365" y="106531"/>
                    </a:moveTo>
                    <a:cubicBezTo>
                      <a:pt x="441881" y="115866"/>
                      <a:pt x="448862" y="106211"/>
                      <a:pt x="455727" y="106996"/>
                    </a:cubicBezTo>
                    <a:cubicBezTo>
                      <a:pt x="457647" y="119473"/>
                      <a:pt x="452352" y="123108"/>
                      <a:pt x="439845" y="123050"/>
                    </a:cubicBezTo>
                    <a:cubicBezTo>
                      <a:pt x="298618" y="122672"/>
                      <a:pt x="157363" y="122672"/>
                      <a:pt x="16107" y="123050"/>
                    </a:cubicBezTo>
                    <a:cubicBezTo>
                      <a:pt x="2436" y="123050"/>
                      <a:pt x="-706" y="118193"/>
                      <a:pt x="-473" y="105600"/>
                    </a:cubicBezTo>
                    <a:cubicBezTo>
                      <a:pt x="137" y="73491"/>
                      <a:pt x="-8" y="41382"/>
                      <a:pt x="-968" y="9244"/>
                    </a:cubicBezTo>
                    <a:cubicBezTo>
                      <a:pt x="-1230" y="519"/>
                      <a:pt x="2261" y="-673"/>
                      <a:pt x="8922" y="-528"/>
                    </a:cubicBezTo>
                    <a:cubicBezTo>
                      <a:pt x="9126" y="17708"/>
                      <a:pt x="8922" y="36002"/>
                      <a:pt x="9679" y="54238"/>
                    </a:cubicBezTo>
                    <a:cubicBezTo>
                      <a:pt x="10289" y="67587"/>
                      <a:pt x="6334" y="81286"/>
                      <a:pt x="12413" y="94257"/>
                    </a:cubicBezTo>
                    <a:cubicBezTo>
                      <a:pt x="19336" y="108799"/>
                      <a:pt x="31001" y="113918"/>
                      <a:pt x="46942" y="113860"/>
                    </a:cubicBezTo>
                    <a:cubicBezTo>
                      <a:pt x="165915" y="113540"/>
                      <a:pt x="284888" y="113540"/>
                      <a:pt x="403861" y="113860"/>
                    </a:cubicBezTo>
                    <a:cubicBezTo>
                      <a:pt x="414828" y="114383"/>
                      <a:pt x="425736" y="111853"/>
                      <a:pt x="435365" y="106531"/>
                    </a:cubicBezTo>
                    <a:close/>
                  </a:path>
                </a:pathLst>
              </a:custGeom>
              <a:solidFill>
                <a:srgbClr val="EBECF1"/>
              </a:solidFill>
              <a:ln w="2907" cap="flat">
                <a:noFill/>
                <a:prstDash val="solid"/>
                <a:miter/>
              </a:ln>
            </p:spPr>
            <p:txBody>
              <a:bodyPr rtlCol="0" anchor="ctr"/>
              <a:lstStyle/>
              <a:p>
                <a:endParaRPr lang="en-US" sz="800"/>
              </a:p>
            </p:txBody>
          </p:sp>
          <p:sp>
            <p:nvSpPr>
              <p:cNvPr id="230" name="Graphic 38">
                <a:extLst>
                  <a:ext uri="{FF2B5EF4-FFF2-40B4-BE49-F238E27FC236}">
                    <a16:creationId xmlns:a16="http://schemas.microsoft.com/office/drawing/2014/main" id="{EF9D4A7C-B51D-464D-2EE9-67F50795FA32}"/>
                  </a:ext>
                </a:extLst>
              </p:cNvPr>
              <p:cNvSpPr/>
              <p:nvPr/>
            </p:nvSpPr>
            <p:spPr>
              <a:xfrm>
                <a:off x="16189277" y="2916433"/>
                <a:ext cx="456471" cy="76054"/>
              </a:xfrm>
              <a:custGeom>
                <a:avLst/>
                <a:gdLst>
                  <a:gd name="connsiteX0" fmla="*/ -566 w 456471"/>
                  <a:gd name="connsiteY0" fmla="*/ 43 h 76054"/>
                  <a:gd name="connsiteX1" fmla="*/ 8596 w 456471"/>
                  <a:gd name="connsiteY1" fmla="*/ -539 h 76054"/>
                  <a:gd name="connsiteX2" fmla="*/ 10400 w 456471"/>
                  <a:gd name="connsiteY2" fmla="*/ 14 h 76054"/>
                  <a:gd name="connsiteX3" fmla="*/ 10400 w 456471"/>
                  <a:gd name="connsiteY3" fmla="*/ 26829 h 76054"/>
                  <a:gd name="connsiteX4" fmla="*/ 48797 w 456471"/>
                  <a:gd name="connsiteY4" fmla="*/ 65715 h 76054"/>
                  <a:gd name="connsiteX5" fmla="*/ 317171 w 456471"/>
                  <a:gd name="connsiteY5" fmla="*/ 65715 h 76054"/>
                  <a:gd name="connsiteX6" fmla="*/ 410255 w 456471"/>
                  <a:gd name="connsiteY6" fmla="*/ 65540 h 76054"/>
                  <a:gd name="connsiteX7" fmla="*/ 442486 w 456471"/>
                  <a:gd name="connsiteY7" fmla="*/ 33083 h 76054"/>
                  <a:gd name="connsiteX8" fmla="*/ 442078 w 456471"/>
                  <a:gd name="connsiteY8" fmla="*/ -44 h 76054"/>
                  <a:gd name="connsiteX9" fmla="*/ 442864 w 456471"/>
                  <a:gd name="connsiteY9" fmla="*/ 160 h 76054"/>
                  <a:gd name="connsiteX10" fmla="*/ 443620 w 456471"/>
                  <a:gd name="connsiteY10" fmla="*/ -161 h 76054"/>
                  <a:gd name="connsiteX11" fmla="*/ 454878 w 456471"/>
                  <a:gd name="connsiteY11" fmla="*/ 276 h 76054"/>
                  <a:gd name="connsiteX12" fmla="*/ 455401 w 456471"/>
                  <a:gd name="connsiteY12" fmla="*/ 57164 h 76054"/>
                  <a:gd name="connsiteX13" fmla="*/ 437133 w 456471"/>
                  <a:gd name="connsiteY13" fmla="*/ 72840 h 76054"/>
                  <a:gd name="connsiteX14" fmla="*/ 63749 w 456471"/>
                  <a:gd name="connsiteY14" fmla="*/ 72608 h 76054"/>
                  <a:gd name="connsiteX15" fmla="*/ 27708 w 456471"/>
                  <a:gd name="connsiteY15" fmla="*/ 75516 h 76054"/>
                  <a:gd name="connsiteX16" fmla="*/ 8567 w 456471"/>
                  <a:gd name="connsiteY16" fmla="*/ 72608 h 76054"/>
                  <a:gd name="connsiteX17" fmla="*/ -973 w 456471"/>
                  <a:gd name="connsiteY17" fmla="*/ 63882 h 76054"/>
                  <a:gd name="connsiteX18" fmla="*/ -566 w 456471"/>
                  <a:gd name="connsiteY18" fmla="*/ 43 h 7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6471" h="76054">
                    <a:moveTo>
                      <a:pt x="-566" y="43"/>
                    </a:moveTo>
                    <a:lnTo>
                      <a:pt x="8596" y="-539"/>
                    </a:lnTo>
                    <a:cubicBezTo>
                      <a:pt x="9091" y="-73"/>
                      <a:pt x="9731" y="131"/>
                      <a:pt x="10400" y="14"/>
                    </a:cubicBezTo>
                    <a:cubicBezTo>
                      <a:pt x="10400" y="8972"/>
                      <a:pt x="10400" y="17901"/>
                      <a:pt x="10400" y="26829"/>
                    </a:cubicBezTo>
                    <a:cubicBezTo>
                      <a:pt x="10400" y="56553"/>
                      <a:pt x="19476" y="65715"/>
                      <a:pt x="48797" y="65715"/>
                    </a:cubicBezTo>
                    <a:cubicBezTo>
                      <a:pt x="138246" y="65715"/>
                      <a:pt x="227723" y="65715"/>
                      <a:pt x="317171" y="65715"/>
                    </a:cubicBezTo>
                    <a:cubicBezTo>
                      <a:pt x="348209" y="65715"/>
                      <a:pt x="379276" y="65948"/>
                      <a:pt x="410255" y="65540"/>
                    </a:cubicBezTo>
                    <a:cubicBezTo>
                      <a:pt x="431199" y="65278"/>
                      <a:pt x="442253" y="53907"/>
                      <a:pt x="442486" y="33083"/>
                    </a:cubicBezTo>
                    <a:cubicBezTo>
                      <a:pt x="442689" y="22031"/>
                      <a:pt x="442224" y="11008"/>
                      <a:pt x="442078" y="-44"/>
                    </a:cubicBezTo>
                    <a:lnTo>
                      <a:pt x="442864" y="160"/>
                    </a:lnTo>
                    <a:lnTo>
                      <a:pt x="443620" y="-161"/>
                    </a:lnTo>
                    <a:lnTo>
                      <a:pt x="454878" y="276"/>
                    </a:lnTo>
                    <a:cubicBezTo>
                      <a:pt x="454878" y="19239"/>
                      <a:pt x="454151" y="38260"/>
                      <a:pt x="455401" y="57164"/>
                    </a:cubicBezTo>
                    <a:cubicBezTo>
                      <a:pt x="456420" y="72171"/>
                      <a:pt x="448594" y="72870"/>
                      <a:pt x="437133" y="72840"/>
                    </a:cubicBezTo>
                    <a:cubicBezTo>
                      <a:pt x="312662" y="72608"/>
                      <a:pt x="188220" y="72840"/>
                      <a:pt x="63749" y="72608"/>
                    </a:cubicBezTo>
                    <a:cubicBezTo>
                      <a:pt x="51677" y="72462"/>
                      <a:pt x="39606" y="73422"/>
                      <a:pt x="27708" y="75516"/>
                    </a:cubicBezTo>
                    <a:cubicBezTo>
                      <a:pt x="21890" y="70426"/>
                      <a:pt x="15026" y="73189"/>
                      <a:pt x="8567" y="72608"/>
                    </a:cubicBezTo>
                    <a:cubicBezTo>
                      <a:pt x="626" y="74789"/>
                      <a:pt x="-1119" y="71095"/>
                      <a:pt x="-973" y="63882"/>
                    </a:cubicBezTo>
                    <a:cubicBezTo>
                      <a:pt x="-566" y="42651"/>
                      <a:pt x="-566" y="21362"/>
                      <a:pt x="-566" y="43"/>
                    </a:cubicBezTo>
                    <a:close/>
                  </a:path>
                </a:pathLst>
              </a:custGeom>
              <a:solidFill>
                <a:srgbClr val="F4F5F7"/>
              </a:solidFill>
              <a:ln w="2907" cap="flat">
                <a:noFill/>
                <a:prstDash val="solid"/>
                <a:miter/>
              </a:ln>
            </p:spPr>
            <p:txBody>
              <a:bodyPr rtlCol="0" anchor="ctr"/>
              <a:lstStyle/>
              <a:p>
                <a:endParaRPr lang="en-US" sz="800"/>
              </a:p>
            </p:txBody>
          </p:sp>
          <p:sp>
            <p:nvSpPr>
              <p:cNvPr id="231" name="Graphic 38">
                <a:extLst>
                  <a:ext uri="{FF2B5EF4-FFF2-40B4-BE49-F238E27FC236}">
                    <a16:creationId xmlns:a16="http://schemas.microsoft.com/office/drawing/2014/main" id="{86D68ADE-FDCB-902E-6A99-CE8575577D3D}"/>
                  </a:ext>
                </a:extLst>
              </p:cNvPr>
              <p:cNvSpPr/>
              <p:nvPr/>
            </p:nvSpPr>
            <p:spPr>
              <a:xfrm>
                <a:off x="17094885" y="1341333"/>
                <a:ext cx="13941" cy="379878"/>
              </a:xfrm>
              <a:custGeom>
                <a:avLst/>
                <a:gdLst>
                  <a:gd name="connsiteX0" fmla="*/ -960 w 13941"/>
                  <a:gd name="connsiteY0" fmla="*/ -539 h 379878"/>
                  <a:gd name="connsiteX1" fmla="*/ 1949 w 13941"/>
                  <a:gd name="connsiteY1" fmla="*/ -539 h 379878"/>
                  <a:gd name="connsiteX2" fmla="*/ 11898 w 13941"/>
                  <a:gd name="connsiteY2" fmla="*/ 16912 h 379878"/>
                  <a:gd name="connsiteX3" fmla="*/ 11898 w 13941"/>
                  <a:gd name="connsiteY3" fmla="*/ 72171 h 379878"/>
                  <a:gd name="connsiteX4" fmla="*/ 11432 w 13941"/>
                  <a:gd name="connsiteY4" fmla="*/ 152472 h 379878"/>
                  <a:gd name="connsiteX5" fmla="*/ 11665 w 13941"/>
                  <a:gd name="connsiteY5" fmla="*/ 236030 h 379878"/>
                  <a:gd name="connsiteX6" fmla="*/ 6546 w 13941"/>
                  <a:gd name="connsiteY6" fmla="*/ 252783 h 379878"/>
                  <a:gd name="connsiteX7" fmla="*/ 4422 w 13941"/>
                  <a:gd name="connsiteY7" fmla="*/ 256302 h 379878"/>
                  <a:gd name="connsiteX8" fmla="*/ 11636 w 13941"/>
                  <a:gd name="connsiteY8" fmla="*/ 344601 h 379878"/>
                  <a:gd name="connsiteX9" fmla="*/ 11869 w 13941"/>
                  <a:gd name="connsiteY9" fmla="*/ 366676 h 379878"/>
                  <a:gd name="connsiteX10" fmla="*/ -960 w 13941"/>
                  <a:gd name="connsiteY10" fmla="*/ 379094 h 379878"/>
                  <a:gd name="connsiteX11" fmla="*/ -960 w 13941"/>
                  <a:gd name="connsiteY11" fmla="*/ -539 h 37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941" h="379878">
                    <a:moveTo>
                      <a:pt x="-960" y="-539"/>
                    </a:moveTo>
                    <a:lnTo>
                      <a:pt x="1949" y="-539"/>
                    </a:lnTo>
                    <a:cubicBezTo>
                      <a:pt x="9192" y="3009"/>
                      <a:pt x="12276" y="8187"/>
                      <a:pt x="11898" y="16912"/>
                    </a:cubicBezTo>
                    <a:cubicBezTo>
                      <a:pt x="11113" y="35293"/>
                      <a:pt x="11142" y="53732"/>
                      <a:pt x="11898" y="72171"/>
                    </a:cubicBezTo>
                    <a:cubicBezTo>
                      <a:pt x="12858" y="98929"/>
                      <a:pt x="9891" y="125599"/>
                      <a:pt x="11432" y="152472"/>
                    </a:cubicBezTo>
                    <a:cubicBezTo>
                      <a:pt x="13032" y="180247"/>
                      <a:pt x="11927" y="208168"/>
                      <a:pt x="11665" y="236030"/>
                    </a:cubicBezTo>
                    <a:cubicBezTo>
                      <a:pt x="11665" y="241847"/>
                      <a:pt x="14312" y="249002"/>
                      <a:pt x="6546" y="252783"/>
                    </a:cubicBezTo>
                    <a:cubicBezTo>
                      <a:pt x="5469" y="253306"/>
                      <a:pt x="4073" y="255691"/>
                      <a:pt x="4422" y="256302"/>
                    </a:cubicBezTo>
                    <a:cubicBezTo>
                      <a:pt x="21177" y="284572"/>
                      <a:pt x="7331" y="315342"/>
                      <a:pt x="11636" y="344601"/>
                    </a:cubicBezTo>
                    <a:cubicBezTo>
                      <a:pt x="12655" y="351814"/>
                      <a:pt x="11345" y="359346"/>
                      <a:pt x="11869" y="366676"/>
                    </a:cubicBezTo>
                    <a:cubicBezTo>
                      <a:pt x="12567" y="376302"/>
                      <a:pt x="8640" y="380432"/>
                      <a:pt x="-960" y="379094"/>
                    </a:cubicBezTo>
                    <a:cubicBezTo>
                      <a:pt x="-989" y="252434"/>
                      <a:pt x="-989" y="125881"/>
                      <a:pt x="-960" y="-539"/>
                    </a:cubicBezTo>
                    <a:close/>
                  </a:path>
                </a:pathLst>
              </a:custGeom>
              <a:solidFill>
                <a:srgbClr val="F4F5F7"/>
              </a:solidFill>
              <a:ln w="2907" cap="flat">
                <a:noFill/>
                <a:prstDash val="solid"/>
                <a:miter/>
              </a:ln>
            </p:spPr>
            <p:txBody>
              <a:bodyPr rtlCol="0" anchor="ctr"/>
              <a:lstStyle/>
              <a:p>
                <a:endParaRPr lang="en-US" sz="800"/>
              </a:p>
            </p:txBody>
          </p:sp>
          <p:sp>
            <p:nvSpPr>
              <p:cNvPr id="232" name="Graphic 38">
                <a:extLst>
                  <a:ext uri="{FF2B5EF4-FFF2-40B4-BE49-F238E27FC236}">
                    <a16:creationId xmlns:a16="http://schemas.microsoft.com/office/drawing/2014/main" id="{200AE422-96E0-82C6-4A2B-1FC868C292E6}"/>
                  </a:ext>
                </a:extLst>
              </p:cNvPr>
              <p:cNvSpPr/>
              <p:nvPr/>
            </p:nvSpPr>
            <p:spPr>
              <a:xfrm>
                <a:off x="16189647" y="2489045"/>
                <a:ext cx="452582" cy="10004"/>
              </a:xfrm>
              <a:custGeom>
                <a:avLst/>
                <a:gdLst>
                  <a:gd name="connsiteX0" fmla="*/ 451599 w 452582"/>
                  <a:gd name="connsiteY0" fmla="*/ 9466 h 10004"/>
                  <a:gd name="connsiteX1" fmla="*/ -936 w 452582"/>
                  <a:gd name="connsiteY1" fmla="*/ 9291 h 10004"/>
                  <a:gd name="connsiteX2" fmla="*/ 13114 w 452582"/>
                  <a:gd name="connsiteY2" fmla="*/ 13 h 10004"/>
                  <a:gd name="connsiteX3" fmla="*/ 142501 w 452582"/>
                  <a:gd name="connsiteY3" fmla="*/ 13 h 10004"/>
                  <a:gd name="connsiteX4" fmla="*/ 434378 w 452582"/>
                  <a:gd name="connsiteY4" fmla="*/ 188 h 10004"/>
                  <a:gd name="connsiteX5" fmla="*/ 451599 w 452582"/>
                  <a:gd name="connsiteY5" fmla="*/ 9466 h 1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582" h="10004">
                    <a:moveTo>
                      <a:pt x="451599" y="9466"/>
                    </a:moveTo>
                    <a:lnTo>
                      <a:pt x="-936" y="9291"/>
                    </a:lnTo>
                    <a:cubicBezTo>
                      <a:pt x="-1664" y="-1965"/>
                      <a:pt x="6598" y="13"/>
                      <a:pt x="13114" y="13"/>
                    </a:cubicBezTo>
                    <a:cubicBezTo>
                      <a:pt x="56223" y="13"/>
                      <a:pt x="99362" y="13"/>
                      <a:pt x="142501" y="13"/>
                    </a:cubicBezTo>
                    <a:cubicBezTo>
                      <a:pt x="239803" y="13"/>
                      <a:pt x="337105" y="71"/>
                      <a:pt x="434378" y="188"/>
                    </a:cubicBezTo>
                    <a:cubicBezTo>
                      <a:pt x="441214" y="100"/>
                      <a:pt x="451802" y="-4262"/>
                      <a:pt x="451599" y="9466"/>
                    </a:cubicBezTo>
                    <a:close/>
                  </a:path>
                </a:pathLst>
              </a:custGeom>
              <a:solidFill>
                <a:srgbClr val="FCFDFD"/>
              </a:solidFill>
              <a:ln w="2907" cap="flat">
                <a:noFill/>
                <a:prstDash val="solid"/>
                <a:miter/>
              </a:ln>
            </p:spPr>
            <p:txBody>
              <a:bodyPr rtlCol="0" anchor="ctr"/>
              <a:lstStyle/>
              <a:p>
                <a:endParaRPr lang="en-US" sz="800"/>
              </a:p>
            </p:txBody>
          </p:sp>
          <p:sp>
            <p:nvSpPr>
              <p:cNvPr id="233" name="Graphic 38">
                <a:extLst>
                  <a:ext uri="{FF2B5EF4-FFF2-40B4-BE49-F238E27FC236}">
                    <a16:creationId xmlns:a16="http://schemas.microsoft.com/office/drawing/2014/main" id="{E0777975-B764-7E8E-42D2-076251E9C846}"/>
                  </a:ext>
                </a:extLst>
              </p:cNvPr>
              <p:cNvSpPr/>
              <p:nvPr/>
            </p:nvSpPr>
            <p:spPr>
              <a:xfrm>
                <a:off x="17110758" y="1344188"/>
                <a:ext cx="422838" cy="123691"/>
              </a:xfrm>
              <a:custGeom>
                <a:avLst/>
                <a:gdLst>
                  <a:gd name="connsiteX0" fmla="*/ 11239 w 422838"/>
                  <a:gd name="connsiteY0" fmla="*/ -341 h 123691"/>
                  <a:gd name="connsiteX1" fmla="*/ 11879 w 422838"/>
                  <a:gd name="connsiteY1" fmla="*/ 82927 h 123691"/>
                  <a:gd name="connsiteX2" fmla="*/ 34073 w 422838"/>
                  <a:gd name="connsiteY2" fmla="*/ 117042 h 123691"/>
                  <a:gd name="connsiteX3" fmla="*/ 52312 w 422838"/>
                  <a:gd name="connsiteY3" fmla="*/ 119951 h 123691"/>
                  <a:gd name="connsiteX4" fmla="*/ 401960 w 422838"/>
                  <a:gd name="connsiteY4" fmla="*/ 119951 h 123691"/>
                  <a:gd name="connsiteX5" fmla="*/ 421857 w 422838"/>
                  <a:gd name="connsiteY5" fmla="*/ 119951 h 123691"/>
                  <a:gd name="connsiteX6" fmla="*/ 402833 w 422838"/>
                  <a:gd name="connsiteY6" fmla="*/ 122859 h 123691"/>
                  <a:gd name="connsiteX7" fmla="*/ 19937 w 422838"/>
                  <a:gd name="connsiteY7" fmla="*/ 122859 h 123691"/>
                  <a:gd name="connsiteX8" fmla="*/ -833 w 422838"/>
                  <a:gd name="connsiteY8" fmla="*/ 102908 h 123691"/>
                  <a:gd name="connsiteX9" fmla="*/ -979 w 422838"/>
                  <a:gd name="connsiteY9" fmla="*/ 12747 h 123691"/>
                  <a:gd name="connsiteX10" fmla="*/ 11239 w 422838"/>
                  <a:gd name="connsiteY10" fmla="*/ -341 h 12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838" h="123691">
                    <a:moveTo>
                      <a:pt x="11239" y="-341"/>
                    </a:moveTo>
                    <a:cubicBezTo>
                      <a:pt x="11500" y="27406"/>
                      <a:pt x="12140" y="55181"/>
                      <a:pt x="11879" y="82927"/>
                    </a:cubicBezTo>
                    <a:cubicBezTo>
                      <a:pt x="11704" y="99679"/>
                      <a:pt x="18395" y="111051"/>
                      <a:pt x="34073" y="117042"/>
                    </a:cubicBezTo>
                    <a:cubicBezTo>
                      <a:pt x="39543" y="121783"/>
                      <a:pt x="46175" y="119951"/>
                      <a:pt x="52312" y="119951"/>
                    </a:cubicBezTo>
                    <a:cubicBezTo>
                      <a:pt x="168842" y="120067"/>
                      <a:pt x="285401" y="120067"/>
                      <a:pt x="401960" y="119951"/>
                    </a:cubicBezTo>
                    <a:lnTo>
                      <a:pt x="421857" y="119951"/>
                    </a:lnTo>
                    <a:cubicBezTo>
                      <a:pt x="413916" y="124517"/>
                      <a:pt x="408214" y="122859"/>
                      <a:pt x="402833" y="122859"/>
                    </a:cubicBezTo>
                    <a:cubicBezTo>
                      <a:pt x="275191" y="122976"/>
                      <a:pt x="147549" y="122976"/>
                      <a:pt x="19937" y="122859"/>
                    </a:cubicBezTo>
                    <a:cubicBezTo>
                      <a:pt x="-426" y="122859"/>
                      <a:pt x="-804" y="122539"/>
                      <a:pt x="-833" y="102908"/>
                    </a:cubicBezTo>
                    <a:cubicBezTo>
                      <a:pt x="-833" y="72864"/>
                      <a:pt x="-629" y="42820"/>
                      <a:pt x="-979" y="12747"/>
                    </a:cubicBezTo>
                    <a:cubicBezTo>
                      <a:pt x="-1065" y="3877"/>
                      <a:pt x="971" y="-1678"/>
                      <a:pt x="11239" y="-341"/>
                    </a:cubicBezTo>
                    <a:close/>
                  </a:path>
                </a:pathLst>
              </a:custGeom>
              <a:solidFill>
                <a:srgbClr val="F4F5F7"/>
              </a:solidFill>
              <a:ln w="2907" cap="flat">
                <a:noFill/>
                <a:prstDash val="solid"/>
                <a:miter/>
              </a:ln>
            </p:spPr>
            <p:txBody>
              <a:bodyPr rtlCol="0" anchor="ctr"/>
              <a:lstStyle/>
              <a:p>
                <a:endParaRPr lang="en-US" sz="800"/>
              </a:p>
            </p:txBody>
          </p:sp>
          <p:sp>
            <p:nvSpPr>
              <p:cNvPr id="234" name="Graphic 38">
                <a:extLst>
                  <a:ext uri="{FF2B5EF4-FFF2-40B4-BE49-F238E27FC236}">
                    <a16:creationId xmlns:a16="http://schemas.microsoft.com/office/drawing/2014/main" id="{60C609FD-7EC7-83A4-F852-48C66A833A2F}"/>
                  </a:ext>
                </a:extLst>
              </p:cNvPr>
              <p:cNvSpPr/>
              <p:nvPr/>
            </p:nvSpPr>
            <p:spPr>
              <a:xfrm>
                <a:off x="16159381" y="2995953"/>
                <a:ext cx="24375" cy="256545"/>
              </a:xfrm>
              <a:custGeom>
                <a:avLst/>
                <a:gdLst>
                  <a:gd name="connsiteX0" fmla="*/ 13417 w 24375"/>
                  <a:gd name="connsiteY0" fmla="*/ 255658 h 256545"/>
                  <a:gd name="connsiteX1" fmla="*/ 10916 w 24375"/>
                  <a:gd name="connsiteY1" fmla="*/ 256007 h 256545"/>
                  <a:gd name="connsiteX2" fmla="*/ 10916 w 24375"/>
                  <a:gd name="connsiteY2" fmla="*/ 251644 h 256545"/>
                  <a:gd name="connsiteX3" fmla="*/ 10654 w 24375"/>
                  <a:gd name="connsiteY3" fmla="*/ 35143 h 256545"/>
                  <a:gd name="connsiteX4" fmla="*/ -981 w 24375"/>
                  <a:gd name="connsiteY4" fmla="*/ 1988 h 256545"/>
                  <a:gd name="connsiteX5" fmla="*/ 22988 w 24375"/>
                  <a:gd name="connsiteY5" fmla="*/ 18624 h 256545"/>
                  <a:gd name="connsiteX6" fmla="*/ 23191 w 24375"/>
                  <a:gd name="connsiteY6" fmla="*/ 75163 h 256545"/>
                  <a:gd name="connsiteX7" fmla="*/ 13941 w 24375"/>
                  <a:gd name="connsiteY7" fmla="*/ 129986 h 256545"/>
                  <a:gd name="connsiteX8" fmla="*/ 13941 w 24375"/>
                  <a:gd name="connsiteY8" fmla="*/ 245711 h 256545"/>
                  <a:gd name="connsiteX9" fmla="*/ 13417 w 24375"/>
                  <a:gd name="connsiteY9" fmla="*/ 255658 h 256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75" h="256545">
                    <a:moveTo>
                      <a:pt x="13417" y="255658"/>
                    </a:moveTo>
                    <a:cubicBezTo>
                      <a:pt x="12603" y="255833"/>
                      <a:pt x="11759" y="255949"/>
                      <a:pt x="10916" y="256007"/>
                    </a:cubicBezTo>
                    <a:cubicBezTo>
                      <a:pt x="10916" y="254553"/>
                      <a:pt x="10916" y="253099"/>
                      <a:pt x="10916" y="251644"/>
                    </a:cubicBezTo>
                    <a:cubicBezTo>
                      <a:pt x="10916" y="179487"/>
                      <a:pt x="10538" y="107301"/>
                      <a:pt x="10654" y="35143"/>
                    </a:cubicBezTo>
                    <a:cubicBezTo>
                      <a:pt x="10654" y="22434"/>
                      <a:pt x="8094" y="11178"/>
                      <a:pt x="-981" y="1988"/>
                    </a:cubicBezTo>
                    <a:cubicBezTo>
                      <a:pt x="19381" y="-3509"/>
                      <a:pt x="22900" y="-921"/>
                      <a:pt x="22988" y="18624"/>
                    </a:cubicBezTo>
                    <a:cubicBezTo>
                      <a:pt x="22988" y="37470"/>
                      <a:pt x="22522" y="56433"/>
                      <a:pt x="23191" y="75163"/>
                    </a:cubicBezTo>
                    <a:cubicBezTo>
                      <a:pt x="23861" y="93893"/>
                      <a:pt x="23366" y="112768"/>
                      <a:pt x="13941" y="129986"/>
                    </a:cubicBezTo>
                    <a:cubicBezTo>
                      <a:pt x="13941" y="168552"/>
                      <a:pt x="13941" y="207117"/>
                      <a:pt x="13941" y="245711"/>
                    </a:cubicBezTo>
                    <a:cubicBezTo>
                      <a:pt x="13621" y="248968"/>
                      <a:pt x="13534" y="252284"/>
                      <a:pt x="13417" y="255658"/>
                    </a:cubicBezTo>
                    <a:close/>
                  </a:path>
                </a:pathLst>
              </a:custGeom>
              <a:solidFill>
                <a:srgbClr val="EBECF1"/>
              </a:solidFill>
              <a:ln w="2907" cap="flat">
                <a:noFill/>
                <a:prstDash val="solid"/>
                <a:miter/>
              </a:ln>
            </p:spPr>
            <p:txBody>
              <a:bodyPr rtlCol="0" anchor="ctr"/>
              <a:lstStyle/>
              <a:p>
                <a:endParaRPr lang="en-US" sz="800"/>
              </a:p>
            </p:txBody>
          </p:sp>
          <p:sp>
            <p:nvSpPr>
              <p:cNvPr id="235" name="Graphic 38">
                <a:extLst>
                  <a:ext uri="{FF2B5EF4-FFF2-40B4-BE49-F238E27FC236}">
                    <a16:creationId xmlns:a16="http://schemas.microsoft.com/office/drawing/2014/main" id="{63896998-DAD6-2D5E-4D83-C401EE1BB537}"/>
                  </a:ext>
                </a:extLst>
              </p:cNvPr>
              <p:cNvSpPr/>
              <p:nvPr/>
            </p:nvSpPr>
            <p:spPr>
              <a:xfrm>
                <a:off x="17110818" y="1470826"/>
                <a:ext cx="34107" cy="123235"/>
              </a:xfrm>
              <a:custGeom>
                <a:avLst/>
                <a:gdLst>
                  <a:gd name="connsiteX0" fmla="*/ 11644 w 34107"/>
                  <a:gd name="connsiteY0" fmla="*/ 30715 h 123235"/>
                  <a:gd name="connsiteX1" fmla="*/ 11004 w 34107"/>
                  <a:gd name="connsiteY1" fmla="*/ 122678 h 123235"/>
                  <a:gd name="connsiteX2" fmla="*/ -981 w 34107"/>
                  <a:gd name="connsiteY2" fmla="*/ 110056 h 123235"/>
                  <a:gd name="connsiteX3" fmla="*/ -981 w 34107"/>
                  <a:gd name="connsiteY3" fmla="*/ 12596 h 123235"/>
                  <a:gd name="connsiteX4" fmla="*/ 12371 w 34107"/>
                  <a:gd name="connsiteY4" fmla="*/ -521 h 123235"/>
                  <a:gd name="connsiteX5" fmla="*/ 33024 w 34107"/>
                  <a:gd name="connsiteY5" fmla="*/ -521 h 123235"/>
                  <a:gd name="connsiteX6" fmla="*/ 27555 w 34107"/>
                  <a:gd name="connsiteY6" fmla="*/ 8204 h 123235"/>
                  <a:gd name="connsiteX7" fmla="*/ 26275 w 34107"/>
                  <a:gd name="connsiteY7" fmla="*/ 8582 h 123235"/>
                  <a:gd name="connsiteX8" fmla="*/ 17432 w 34107"/>
                  <a:gd name="connsiteY8" fmla="*/ 15504 h 123235"/>
                  <a:gd name="connsiteX9" fmla="*/ 17374 w 34107"/>
                  <a:gd name="connsiteY9" fmla="*/ 16464 h 123235"/>
                  <a:gd name="connsiteX10" fmla="*/ 16705 w 34107"/>
                  <a:gd name="connsiteY10" fmla="*/ 18267 h 123235"/>
                  <a:gd name="connsiteX11" fmla="*/ 14611 w 34107"/>
                  <a:gd name="connsiteY11" fmla="*/ 20972 h 123235"/>
                  <a:gd name="connsiteX12" fmla="*/ 13913 w 34107"/>
                  <a:gd name="connsiteY12" fmla="*/ 21641 h 123235"/>
                  <a:gd name="connsiteX13" fmla="*/ 11644 w 34107"/>
                  <a:gd name="connsiteY13" fmla="*/ 30715 h 12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07" h="123235">
                    <a:moveTo>
                      <a:pt x="11644" y="30715"/>
                    </a:moveTo>
                    <a:cubicBezTo>
                      <a:pt x="11411" y="61369"/>
                      <a:pt x="11208" y="92024"/>
                      <a:pt x="11004" y="122678"/>
                    </a:cubicBezTo>
                    <a:cubicBezTo>
                      <a:pt x="2277" y="123027"/>
                      <a:pt x="-1010" y="118374"/>
                      <a:pt x="-981" y="110056"/>
                    </a:cubicBezTo>
                    <a:cubicBezTo>
                      <a:pt x="-836" y="77578"/>
                      <a:pt x="-836" y="45091"/>
                      <a:pt x="-981" y="12596"/>
                    </a:cubicBezTo>
                    <a:cubicBezTo>
                      <a:pt x="-981" y="3231"/>
                      <a:pt x="3150" y="-841"/>
                      <a:pt x="12371" y="-521"/>
                    </a:cubicBezTo>
                    <a:cubicBezTo>
                      <a:pt x="19149" y="-289"/>
                      <a:pt x="25955" y="-521"/>
                      <a:pt x="33024" y="-521"/>
                    </a:cubicBezTo>
                    <a:cubicBezTo>
                      <a:pt x="33955" y="4394"/>
                      <a:pt x="28253" y="4714"/>
                      <a:pt x="27555" y="8204"/>
                    </a:cubicBezTo>
                    <a:lnTo>
                      <a:pt x="26275" y="8582"/>
                    </a:lnTo>
                    <a:cubicBezTo>
                      <a:pt x="21912" y="8053"/>
                      <a:pt x="17956" y="11150"/>
                      <a:pt x="17432" y="15504"/>
                    </a:cubicBezTo>
                    <a:cubicBezTo>
                      <a:pt x="17403" y="15821"/>
                      <a:pt x="17374" y="16144"/>
                      <a:pt x="17374" y="16464"/>
                    </a:cubicBezTo>
                    <a:cubicBezTo>
                      <a:pt x="17491" y="17141"/>
                      <a:pt x="17258" y="17836"/>
                      <a:pt x="16705" y="18267"/>
                    </a:cubicBezTo>
                    <a:lnTo>
                      <a:pt x="14611" y="20972"/>
                    </a:lnTo>
                    <a:lnTo>
                      <a:pt x="13913" y="21641"/>
                    </a:lnTo>
                    <a:cubicBezTo>
                      <a:pt x="11760" y="24127"/>
                      <a:pt x="10916" y="27501"/>
                      <a:pt x="11644" y="30715"/>
                    </a:cubicBezTo>
                    <a:close/>
                  </a:path>
                </a:pathLst>
              </a:custGeom>
              <a:solidFill>
                <a:srgbClr val="F4F5F7"/>
              </a:solidFill>
              <a:ln w="2907" cap="flat">
                <a:noFill/>
                <a:prstDash val="solid"/>
                <a:miter/>
              </a:ln>
            </p:spPr>
            <p:txBody>
              <a:bodyPr rtlCol="0" anchor="ctr"/>
              <a:lstStyle/>
              <a:p>
                <a:endParaRPr lang="en-US" sz="800"/>
              </a:p>
            </p:txBody>
          </p:sp>
          <p:sp>
            <p:nvSpPr>
              <p:cNvPr id="236" name="Graphic 38">
                <a:extLst>
                  <a:ext uri="{FF2B5EF4-FFF2-40B4-BE49-F238E27FC236}">
                    <a16:creationId xmlns:a16="http://schemas.microsoft.com/office/drawing/2014/main" id="{3576EB9E-2C30-B048-EFC5-A9FD9D9CF7CD}"/>
                  </a:ext>
                </a:extLst>
              </p:cNvPr>
              <p:cNvSpPr/>
              <p:nvPr/>
            </p:nvSpPr>
            <p:spPr>
              <a:xfrm>
                <a:off x="16160661" y="1344229"/>
                <a:ext cx="22650" cy="123619"/>
              </a:xfrm>
              <a:custGeom>
                <a:avLst/>
                <a:gdLst>
                  <a:gd name="connsiteX0" fmla="*/ 11905 w 22650"/>
                  <a:gd name="connsiteY0" fmla="*/ 123081 h 123619"/>
                  <a:gd name="connsiteX1" fmla="*/ 10131 w 22650"/>
                  <a:gd name="connsiteY1" fmla="*/ 43536 h 123619"/>
                  <a:gd name="connsiteX2" fmla="*/ -981 w 22650"/>
                  <a:gd name="connsiteY2" fmla="*/ 2818 h 123619"/>
                  <a:gd name="connsiteX3" fmla="*/ 21592 w 22650"/>
                  <a:gd name="connsiteY3" fmla="*/ 16430 h 123619"/>
                  <a:gd name="connsiteX4" fmla="*/ 21592 w 22650"/>
                  <a:gd name="connsiteY4" fmla="*/ 106270 h 123619"/>
                  <a:gd name="connsiteX5" fmla="*/ 11905 w 22650"/>
                  <a:gd name="connsiteY5" fmla="*/ 123081 h 123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50" h="123619">
                    <a:moveTo>
                      <a:pt x="11905" y="123081"/>
                    </a:moveTo>
                    <a:cubicBezTo>
                      <a:pt x="7600" y="96672"/>
                      <a:pt x="10334" y="70061"/>
                      <a:pt x="10131" y="43536"/>
                    </a:cubicBezTo>
                    <a:cubicBezTo>
                      <a:pt x="10131" y="28703"/>
                      <a:pt x="8094" y="15034"/>
                      <a:pt x="-981" y="2818"/>
                    </a:cubicBezTo>
                    <a:cubicBezTo>
                      <a:pt x="16676" y="-3900"/>
                      <a:pt x="21504" y="-1108"/>
                      <a:pt x="21592" y="16430"/>
                    </a:cubicBezTo>
                    <a:cubicBezTo>
                      <a:pt x="21766" y="46386"/>
                      <a:pt x="21592" y="76314"/>
                      <a:pt x="21592" y="106270"/>
                    </a:cubicBezTo>
                    <a:cubicBezTo>
                      <a:pt x="21650" y="113861"/>
                      <a:pt x="22377" y="121626"/>
                      <a:pt x="11905" y="123081"/>
                    </a:cubicBezTo>
                    <a:close/>
                  </a:path>
                </a:pathLst>
              </a:custGeom>
              <a:solidFill>
                <a:srgbClr val="F4F5F7"/>
              </a:solidFill>
              <a:ln w="2907" cap="flat">
                <a:noFill/>
                <a:prstDash val="solid"/>
                <a:miter/>
              </a:ln>
            </p:spPr>
            <p:txBody>
              <a:bodyPr rtlCol="0" anchor="ctr"/>
              <a:lstStyle/>
              <a:p>
                <a:endParaRPr lang="en-US" sz="800"/>
              </a:p>
            </p:txBody>
          </p:sp>
          <p:sp>
            <p:nvSpPr>
              <p:cNvPr id="237" name="Graphic 38">
                <a:extLst>
                  <a:ext uri="{FF2B5EF4-FFF2-40B4-BE49-F238E27FC236}">
                    <a16:creationId xmlns:a16="http://schemas.microsoft.com/office/drawing/2014/main" id="{CF5D9B03-105F-47BA-6914-7D30DD9DC647}"/>
                  </a:ext>
                </a:extLst>
              </p:cNvPr>
              <p:cNvSpPr/>
              <p:nvPr/>
            </p:nvSpPr>
            <p:spPr>
              <a:xfrm>
                <a:off x="16648626" y="1345537"/>
                <a:ext cx="12740" cy="122079"/>
              </a:xfrm>
              <a:custGeom>
                <a:avLst/>
                <a:gdLst>
                  <a:gd name="connsiteX0" fmla="*/ 11759 w 12740"/>
                  <a:gd name="connsiteY0" fmla="*/ 1307 h 122079"/>
                  <a:gd name="connsiteX1" fmla="*/ 11236 w 12740"/>
                  <a:gd name="connsiteY1" fmla="*/ 121511 h 122079"/>
                  <a:gd name="connsiteX2" fmla="*/ -981 w 12740"/>
                  <a:gd name="connsiteY2" fmla="*/ 109092 h 122079"/>
                  <a:gd name="connsiteX3" fmla="*/ -981 w 12740"/>
                  <a:gd name="connsiteY3" fmla="*/ 10003 h 122079"/>
                  <a:gd name="connsiteX4" fmla="*/ 11759 w 12740"/>
                  <a:gd name="connsiteY4" fmla="*/ 1307 h 1220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0" h="122079">
                    <a:moveTo>
                      <a:pt x="11759" y="1307"/>
                    </a:moveTo>
                    <a:lnTo>
                      <a:pt x="11236" y="121511"/>
                    </a:lnTo>
                    <a:cubicBezTo>
                      <a:pt x="2509" y="121947"/>
                      <a:pt x="-1010" y="117584"/>
                      <a:pt x="-981" y="109092"/>
                    </a:cubicBezTo>
                    <a:cubicBezTo>
                      <a:pt x="-836" y="76082"/>
                      <a:pt x="-981" y="43042"/>
                      <a:pt x="-981" y="10003"/>
                    </a:cubicBezTo>
                    <a:cubicBezTo>
                      <a:pt x="-836" y="1336"/>
                      <a:pt x="2335" y="-3376"/>
                      <a:pt x="11759" y="1307"/>
                    </a:cubicBezTo>
                    <a:close/>
                  </a:path>
                </a:pathLst>
              </a:custGeom>
              <a:solidFill>
                <a:srgbClr val="F4F5F7"/>
              </a:solidFill>
              <a:ln w="2907" cap="flat">
                <a:noFill/>
                <a:prstDash val="solid"/>
                <a:miter/>
              </a:ln>
            </p:spPr>
            <p:txBody>
              <a:bodyPr rtlCol="0" anchor="ctr"/>
              <a:lstStyle/>
              <a:p>
                <a:endParaRPr lang="en-US" sz="800"/>
              </a:p>
            </p:txBody>
          </p:sp>
          <p:sp>
            <p:nvSpPr>
              <p:cNvPr id="238" name="Graphic 38">
                <a:extLst>
                  <a:ext uri="{FF2B5EF4-FFF2-40B4-BE49-F238E27FC236}">
                    <a16:creationId xmlns:a16="http://schemas.microsoft.com/office/drawing/2014/main" id="{CC29B0C6-D86A-56CE-F10B-6FB310320BD1}"/>
                  </a:ext>
                </a:extLst>
              </p:cNvPr>
              <p:cNvSpPr/>
              <p:nvPr/>
            </p:nvSpPr>
            <p:spPr>
              <a:xfrm>
                <a:off x="17110845" y="1726966"/>
                <a:ext cx="12133" cy="120540"/>
              </a:xfrm>
              <a:custGeom>
                <a:avLst/>
                <a:gdLst>
                  <a:gd name="connsiteX0" fmla="*/ 11152 w 12133"/>
                  <a:gd name="connsiteY0" fmla="*/ -402 h 120540"/>
                  <a:gd name="connsiteX1" fmla="*/ 11152 w 12133"/>
                  <a:gd name="connsiteY1" fmla="*/ 119889 h 120540"/>
                  <a:gd name="connsiteX2" fmla="*/ -979 w 12133"/>
                  <a:gd name="connsiteY2" fmla="*/ 108255 h 120540"/>
                  <a:gd name="connsiteX3" fmla="*/ -979 w 12133"/>
                  <a:gd name="connsiteY3" fmla="*/ 11028 h 120540"/>
                  <a:gd name="connsiteX4" fmla="*/ 11152 w 12133"/>
                  <a:gd name="connsiteY4" fmla="*/ -402 h 120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3" h="120540">
                    <a:moveTo>
                      <a:pt x="11152" y="-402"/>
                    </a:moveTo>
                    <a:lnTo>
                      <a:pt x="11152" y="119889"/>
                    </a:lnTo>
                    <a:cubicBezTo>
                      <a:pt x="2657" y="120674"/>
                      <a:pt x="-1095" y="117417"/>
                      <a:pt x="-979" y="108255"/>
                    </a:cubicBezTo>
                    <a:cubicBezTo>
                      <a:pt x="-600" y="75856"/>
                      <a:pt x="-600" y="43456"/>
                      <a:pt x="-979" y="11028"/>
                    </a:cubicBezTo>
                    <a:cubicBezTo>
                      <a:pt x="-1095" y="1982"/>
                      <a:pt x="2657" y="-1275"/>
                      <a:pt x="11152" y="-402"/>
                    </a:cubicBezTo>
                    <a:close/>
                  </a:path>
                </a:pathLst>
              </a:custGeom>
              <a:solidFill>
                <a:srgbClr val="FCFDFD"/>
              </a:solidFill>
              <a:ln w="2907" cap="flat">
                <a:noFill/>
                <a:prstDash val="solid"/>
                <a:miter/>
              </a:ln>
            </p:spPr>
            <p:txBody>
              <a:bodyPr rtlCol="0" anchor="ctr"/>
              <a:lstStyle/>
              <a:p>
                <a:endParaRPr lang="en-US" sz="800"/>
              </a:p>
            </p:txBody>
          </p:sp>
          <p:sp>
            <p:nvSpPr>
              <p:cNvPr id="239" name="Graphic 38">
                <a:extLst>
                  <a:ext uri="{FF2B5EF4-FFF2-40B4-BE49-F238E27FC236}">
                    <a16:creationId xmlns:a16="http://schemas.microsoft.com/office/drawing/2014/main" id="{CB133664-A792-01C1-D886-31EC03B07A7E}"/>
                  </a:ext>
                </a:extLst>
              </p:cNvPr>
              <p:cNvSpPr/>
              <p:nvPr/>
            </p:nvSpPr>
            <p:spPr>
              <a:xfrm>
                <a:off x="16648450" y="1853550"/>
                <a:ext cx="12480" cy="120565"/>
              </a:xfrm>
              <a:custGeom>
                <a:avLst/>
                <a:gdLst>
                  <a:gd name="connsiteX0" fmla="*/ 11499 w 12480"/>
                  <a:gd name="connsiteY0" fmla="*/ -412 h 120565"/>
                  <a:gd name="connsiteX1" fmla="*/ 11499 w 12480"/>
                  <a:gd name="connsiteY1" fmla="*/ 119908 h 120565"/>
                  <a:gd name="connsiteX2" fmla="*/ -980 w 12480"/>
                  <a:gd name="connsiteY2" fmla="*/ 108565 h 120565"/>
                  <a:gd name="connsiteX3" fmla="*/ -980 w 12480"/>
                  <a:gd name="connsiteY3" fmla="*/ 10931 h 120565"/>
                  <a:gd name="connsiteX4" fmla="*/ 11499 w 12480"/>
                  <a:gd name="connsiteY4" fmla="*/ -412 h 120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80" h="120565">
                    <a:moveTo>
                      <a:pt x="11499" y="-412"/>
                    </a:moveTo>
                    <a:lnTo>
                      <a:pt x="11499" y="119908"/>
                    </a:lnTo>
                    <a:cubicBezTo>
                      <a:pt x="3209" y="120664"/>
                      <a:pt x="-1067" y="117901"/>
                      <a:pt x="-980" y="108565"/>
                    </a:cubicBezTo>
                    <a:cubicBezTo>
                      <a:pt x="-602" y="76020"/>
                      <a:pt x="-602" y="43475"/>
                      <a:pt x="-980" y="10931"/>
                    </a:cubicBezTo>
                    <a:cubicBezTo>
                      <a:pt x="-1009" y="1565"/>
                      <a:pt x="3179" y="-1197"/>
                      <a:pt x="11499" y="-412"/>
                    </a:cubicBezTo>
                    <a:close/>
                  </a:path>
                </a:pathLst>
              </a:custGeom>
              <a:solidFill>
                <a:srgbClr val="F4F5F7"/>
              </a:solidFill>
              <a:ln w="2907" cap="flat">
                <a:noFill/>
                <a:prstDash val="solid"/>
                <a:miter/>
              </a:ln>
            </p:spPr>
            <p:txBody>
              <a:bodyPr rtlCol="0" anchor="ctr"/>
              <a:lstStyle/>
              <a:p>
                <a:endParaRPr lang="en-US" sz="800"/>
              </a:p>
            </p:txBody>
          </p:sp>
          <p:sp>
            <p:nvSpPr>
              <p:cNvPr id="240" name="Graphic 38">
                <a:extLst>
                  <a:ext uri="{FF2B5EF4-FFF2-40B4-BE49-F238E27FC236}">
                    <a16:creationId xmlns:a16="http://schemas.microsoft.com/office/drawing/2014/main" id="{E4C87A14-ACBB-CD1E-04B8-7633680CBD58}"/>
                  </a:ext>
                </a:extLst>
              </p:cNvPr>
              <p:cNvSpPr/>
              <p:nvPr/>
            </p:nvSpPr>
            <p:spPr>
              <a:xfrm>
                <a:off x="17110817" y="1853570"/>
                <a:ext cx="12132" cy="120496"/>
              </a:xfrm>
              <a:custGeom>
                <a:avLst/>
                <a:gdLst>
                  <a:gd name="connsiteX0" fmla="*/ 11151 w 12132"/>
                  <a:gd name="connsiteY0" fmla="*/ -403 h 120496"/>
                  <a:gd name="connsiteX1" fmla="*/ 11151 w 12132"/>
                  <a:gd name="connsiteY1" fmla="*/ 119830 h 120496"/>
                  <a:gd name="connsiteX2" fmla="*/ -980 w 12132"/>
                  <a:gd name="connsiteY2" fmla="*/ 108196 h 120496"/>
                  <a:gd name="connsiteX3" fmla="*/ -980 w 12132"/>
                  <a:gd name="connsiteY3" fmla="*/ 10998 h 120496"/>
                  <a:gd name="connsiteX4" fmla="*/ 11151 w 12132"/>
                  <a:gd name="connsiteY4" fmla="*/ -403 h 120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32" h="120496">
                    <a:moveTo>
                      <a:pt x="11151" y="-403"/>
                    </a:moveTo>
                    <a:cubicBezTo>
                      <a:pt x="11151" y="39674"/>
                      <a:pt x="11151" y="79752"/>
                      <a:pt x="11151" y="119830"/>
                    </a:cubicBezTo>
                    <a:cubicBezTo>
                      <a:pt x="2627" y="120674"/>
                      <a:pt x="-1067" y="117387"/>
                      <a:pt x="-980" y="108196"/>
                    </a:cubicBezTo>
                    <a:cubicBezTo>
                      <a:pt x="-630" y="75797"/>
                      <a:pt x="-630" y="43397"/>
                      <a:pt x="-980" y="10998"/>
                    </a:cubicBezTo>
                    <a:cubicBezTo>
                      <a:pt x="-1067" y="2011"/>
                      <a:pt x="2656" y="-1276"/>
                      <a:pt x="11151" y="-403"/>
                    </a:cubicBezTo>
                    <a:close/>
                  </a:path>
                </a:pathLst>
              </a:custGeom>
              <a:solidFill>
                <a:srgbClr val="FCFDFD"/>
              </a:solidFill>
              <a:ln w="2907" cap="flat">
                <a:noFill/>
                <a:prstDash val="solid"/>
                <a:miter/>
              </a:ln>
            </p:spPr>
            <p:txBody>
              <a:bodyPr rtlCol="0" anchor="ctr"/>
              <a:lstStyle/>
              <a:p>
                <a:endParaRPr lang="en-US" sz="800"/>
              </a:p>
            </p:txBody>
          </p:sp>
          <p:sp>
            <p:nvSpPr>
              <p:cNvPr id="241" name="Graphic 38">
                <a:extLst>
                  <a:ext uri="{FF2B5EF4-FFF2-40B4-BE49-F238E27FC236}">
                    <a16:creationId xmlns:a16="http://schemas.microsoft.com/office/drawing/2014/main" id="{835FC05B-1F43-DC3D-6386-6E18C3505D0D}"/>
                  </a:ext>
                </a:extLst>
              </p:cNvPr>
              <p:cNvSpPr/>
              <p:nvPr/>
            </p:nvSpPr>
            <p:spPr>
              <a:xfrm>
                <a:off x="16648946" y="1600641"/>
                <a:ext cx="12595" cy="119748"/>
              </a:xfrm>
              <a:custGeom>
                <a:avLst/>
                <a:gdLst>
                  <a:gd name="connsiteX0" fmla="*/ 11004 w 12595"/>
                  <a:gd name="connsiteY0" fmla="*/ -534 h 119748"/>
                  <a:gd name="connsiteX1" fmla="*/ 11614 w 12595"/>
                  <a:gd name="connsiteY1" fmla="*/ 113359 h 119748"/>
                  <a:gd name="connsiteX2" fmla="*/ 3673 w 12595"/>
                  <a:gd name="connsiteY2" fmla="*/ 118972 h 119748"/>
                  <a:gd name="connsiteX3" fmla="*/ -981 w 12595"/>
                  <a:gd name="connsiteY3" fmla="*/ 111701 h 119748"/>
                  <a:gd name="connsiteX4" fmla="*/ -981 w 12595"/>
                  <a:gd name="connsiteY4" fmla="*/ 8889 h 119748"/>
                  <a:gd name="connsiteX5" fmla="*/ 11004 w 12595"/>
                  <a:gd name="connsiteY5" fmla="*/ -534 h 119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95" h="119748">
                    <a:moveTo>
                      <a:pt x="11004" y="-534"/>
                    </a:moveTo>
                    <a:lnTo>
                      <a:pt x="11614" y="113359"/>
                    </a:lnTo>
                    <a:cubicBezTo>
                      <a:pt x="10451" y="117343"/>
                      <a:pt x="8357" y="120048"/>
                      <a:pt x="3673" y="118972"/>
                    </a:cubicBezTo>
                    <a:cubicBezTo>
                      <a:pt x="-167" y="118070"/>
                      <a:pt x="-981" y="114959"/>
                      <a:pt x="-981" y="111701"/>
                    </a:cubicBezTo>
                    <a:cubicBezTo>
                      <a:pt x="-981" y="77440"/>
                      <a:pt x="-981" y="43150"/>
                      <a:pt x="-981" y="8889"/>
                    </a:cubicBezTo>
                    <a:cubicBezTo>
                      <a:pt x="-1010" y="1328"/>
                      <a:pt x="4342" y="-650"/>
                      <a:pt x="11004" y="-534"/>
                    </a:cubicBezTo>
                    <a:close/>
                  </a:path>
                </a:pathLst>
              </a:custGeom>
              <a:solidFill>
                <a:srgbClr val="F4F5F7"/>
              </a:solidFill>
              <a:ln w="2907" cap="flat">
                <a:noFill/>
                <a:prstDash val="solid"/>
                <a:miter/>
              </a:ln>
            </p:spPr>
            <p:txBody>
              <a:bodyPr rtlCol="0" anchor="ctr"/>
              <a:lstStyle/>
              <a:p>
                <a:endParaRPr lang="en-US" sz="800"/>
              </a:p>
            </p:txBody>
          </p:sp>
          <p:sp>
            <p:nvSpPr>
              <p:cNvPr id="242" name="Graphic 38">
                <a:extLst>
                  <a:ext uri="{FF2B5EF4-FFF2-40B4-BE49-F238E27FC236}">
                    <a16:creationId xmlns:a16="http://schemas.microsoft.com/office/drawing/2014/main" id="{F60390BA-8CF5-5A83-C1DC-5F4DDCD00FE1}"/>
                  </a:ext>
                </a:extLst>
              </p:cNvPr>
              <p:cNvSpPr/>
              <p:nvPr/>
            </p:nvSpPr>
            <p:spPr>
              <a:xfrm>
                <a:off x="16648699" y="1980142"/>
                <a:ext cx="13246" cy="120308"/>
              </a:xfrm>
              <a:custGeom>
                <a:avLst/>
                <a:gdLst>
                  <a:gd name="connsiteX0" fmla="*/ 11250 w 13246"/>
                  <a:gd name="connsiteY0" fmla="*/ -402 h 120308"/>
                  <a:gd name="connsiteX1" fmla="*/ 11250 w 13246"/>
                  <a:gd name="connsiteY1" fmla="*/ 119744 h 120308"/>
                  <a:gd name="connsiteX2" fmla="*/ -967 w 13246"/>
                  <a:gd name="connsiteY2" fmla="*/ 107267 h 120308"/>
                  <a:gd name="connsiteX3" fmla="*/ -967 w 13246"/>
                  <a:gd name="connsiteY3" fmla="*/ 11028 h 120308"/>
                  <a:gd name="connsiteX4" fmla="*/ 11250 w 13246"/>
                  <a:gd name="connsiteY4" fmla="*/ -402 h 1203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6" h="120308">
                    <a:moveTo>
                      <a:pt x="11250" y="-402"/>
                    </a:moveTo>
                    <a:cubicBezTo>
                      <a:pt x="12559" y="39647"/>
                      <a:pt x="12647" y="79695"/>
                      <a:pt x="11250" y="119744"/>
                    </a:cubicBezTo>
                    <a:cubicBezTo>
                      <a:pt x="2524" y="120151"/>
                      <a:pt x="-996" y="115731"/>
                      <a:pt x="-967" y="107267"/>
                    </a:cubicBezTo>
                    <a:cubicBezTo>
                      <a:pt x="-821" y="75275"/>
                      <a:pt x="-676" y="43108"/>
                      <a:pt x="-967" y="11028"/>
                    </a:cubicBezTo>
                    <a:cubicBezTo>
                      <a:pt x="-1258" y="1721"/>
                      <a:pt x="2786" y="-1245"/>
                      <a:pt x="11250" y="-402"/>
                    </a:cubicBezTo>
                    <a:close/>
                  </a:path>
                </a:pathLst>
              </a:custGeom>
              <a:solidFill>
                <a:srgbClr val="F4F5F7"/>
              </a:solidFill>
              <a:ln w="2907" cap="flat">
                <a:noFill/>
                <a:prstDash val="solid"/>
                <a:miter/>
              </a:ln>
            </p:spPr>
            <p:txBody>
              <a:bodyPr rtlCol="0" anchor="ctr"/>
              <a:lstStyle/>
              <a:p>
                <a:endParaRPr lang="en-US" sz="800"/>
              </a:p>
            </p:txBody>
          </p:sp>
          <p:sp>
            <p:nvSpPr>
              <p:cNvPr id="243" name="Graphic 38">
                <a:extLst>
                  <a:ext uri="{FF2B5EF4-FFF2-40B4-BE49-F238E27FC236}">
                    <a16:creationId xmlns:a16="http://schemas.microsoft.com/office/drawing/2014/main" id="{EEE1A9CA-3892-6E1D-E80B-E2B97BD85815}"/>
                  </a:ext>
                </a:extLst>
              </p:cNvPr>
              <p:cNvSpPr/>
              <p:nvPr/>
            </p:nvSpPr>
            <p:spPr>
              <a:xfrm>
                <a:off x="15705683" y="1501295"/>
                <a:ext cx="3751" cy="472992"/>
              </a:xfrm>
              <a:custGeom>
                <a:avLst/>
                <a:gdLst>
                  <a:gd name="connsiteX0" fmla="*/ -836 w 3751"/>
                  <a:gd name="connsiteY0" fmla="*/ -539 h 472992"/>
                  <a:gd name="connsiteX1" fmla="*/ 2771 w 3751"/>
                  <a:gd name="connsiteY1" fmla="*/ 6907 h 472992"/>
                  <a:gd name="connsiteX2" fmla="*/ 2160 w 3751"/>
                  <a:gd name="connsiteY2" fmla="*/ 340413 h 472992"/>
                  <a:gd name="connsiteX3" fmla="*/ 2160 w 3751"/>
                  <a:gd name="connsiteY3" fmla="*/ 454218 h 472992"/>
                  <a:gd name="connsiteX4" fmla="*/ -981 w 3751"/>
                  <a:gd name="connsiteY4" fmla="*/ 472454 h 472992"/>
                  <a:gd name="connsiteX5" fmla="*/ -836 w 3751"/>
                  <a:gd name="connsiteY5" fmla="*/ -539 h 472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51" h="472992">
                    <a:moveTo>
                      <a:pt x="-836" y="-539"/>
                    </a:moveTo>
                    <a:cubicBezTo>
                      <a:pt x="357" y="1933"/>
                      <a:pt x="1578" y="4406"/>
                      <a:pt x="2771" y="6907"/>
                    </a:cubicBezTo>
                    <a:cubicBezTo>
                      <a:pt x="2567" y="118066"/>
                      <a:pt x="2364" y="229225"/>
                      <a:pt x="2160" y="340413"/>
                    </a:cubicBezTo>
                    <a:cubicBezTo>
                      <a:pt x="2160" y="378222"/>
                      <a:pt x="2160" y="416264"/>
                      <a:pt x="2160" y="454218"/>
                    </a:cubicBezTo>
                    <a:cubicBezTo>
                      <a:pt x="2160" y="460384"/>
                      <a:pt x="3411" y="466957"/>
                      <a:pt x="-981" y="472454"/>
                    </a:cubicBezTo>
                    <a:cubicBezTo>
                      <a:pt x="-952" y="314877"/>
                      <a:pt x="-895" y="157213"/>
                      <a:pt x="-836" y="-539"/>
                    </a:cubicBezTo>
                    <a:close/>
                  </a:path>
                </a:pathLst>
              </a:custGeom>
              <a:solidFill>
                <a:srgbClr val="5788B2"/>
              </a:solidFill>
              <a:ln w="2907" cap="flat">
                <a:noFill/>
                <a:prstDash val="solid"/>
                <a:miter/>
              </a:ln>
            </p:spPr>
            <p:txBody>
              <a:bodyPr rtlCol="0" anchor="ctr"/>
              <a:lstStyle/>
              <a:p>
                <a:endParaRPr lang="en-US" sz="800"/>
              </a:p>
            </p:txBody>
          </p:sp>
          <p:sp>
            <p:nvSpPr>
              <p:cNvPr id="244" name="Graphic 38">
                <a:extLst>
                  <a:ext uri="{FF2B5EF4-FFF2-40B4-BE49-F238E27FC236}">
                    <a16:creationId xmlns:a16="http://schemas.microsoft.com/office/drawing/2014/main" id="{CF786C51-68B5-442B-3C7B-DC5571B29029}"/>
                  </a:ext>
                </a:extLst>
              </p:cNvPr>
              <p:cNvSpPr/>
              <p:nvPr/>
            </p:nvSpPr>
            <p:spPr>
              <a:xfrm>
                <a:off x="16648770" y="1472869"/>
                <a:ext cx="12335" cy="118221"/>
              </a:xfrm>
              <a:custGeom>
                <a:avLst/>
                <a:gdLst>
                  <a:gd name="connsiteX0" fmla="*/ 11354 w 12335"/>
                  <a:gd name="connsiteY0" fmla="*/ 490 h 118221"/>
                  <a:gd name="connsiteX1" fmla="*/ 11354 w 12335"/>
                  <a:gd name="connsiteY1" fmla="*/ 117641 h 118221"/>
                  <a:gd name="connsiteX2" fmla="*/ -979 w 12335"/>
                  <a:gd name="connsiteY2" fmla="*/ 105338 h 118221"/>
                  <a:gd name="connsiteX3" fmla="*/ -979 w 12335"/>
                  <a:gd name="connsiteY3" fmla="*/ 10699 h 118221"/>
                  <a:gd name="connsiteX4" fmla="*/ 11354 w 12335"/>
                  <a:gd name="connsiteY4" fmla="*/ 490 h 118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5" h="118221">
                    <a:moveTo>
                      <a:pt x="11354" y="490"/>
                    </a:moveTo>
                    <a:cubicBezTo>
                      <a:pt x="11354" y="39541"/>
                      <a:pt x="11354" y="78589"/>
                      <a:pt x="11354" y="117641"/>
                    </a:cubicBezTo>
                    <a:cubicBezTo>
                      <a:pt x="2628" y="118164"/>
                      <a:pt x="-1008" y="113831"/>
                      <a:pt x="-979" y="105338"/>
                    </a:cubicBezTo>
                    <a:cubicBezTo>
                      <a:pt x="-979" y="73782"/>
                      <a:pt x="-979" y="42226"/>
                      <a:pt x="-979" y="10699"/>
                    </a:cubicBezTo>
                    <a:cubicBezTo>
                      <a:pt x="-1067" y="2323"/>
                      <a:pt x="1668" y="-2854"/>
                      <a:pt x="11354" y="490"/>
                    </a:cubicBezTo>
                    <a:close/>
                  </a:path>
                </a:pathLst>
              </a:custGeom>
              <a:solidFill>
                <a:srgbClr val="F4F5F7"/>
              </a:solidFill>
              <a:ln w="2907" cap="flat">
                <a:noFill/>
                <a:prstDash val="solid"/>
                <a:miter/>
              </a:ln>
            </p:spPr>
            <p:txBody>
              <a:bodyPr rtlCol="0" anchor="ctr"/>
              <a:lstStyle/>
              <a:p>
                <a:endParaRPr lang="en-US" sz="800"/>
              </a:p>
            </p:txBody>
          </p:sp>
          <p:sp>
            <p:nvSpPr>
              <p:cNvPr id="245" name="Graphic 38">
                <a:extLst>
                  <a:ext uri="{FF2B5EF4-FFF2-40B4-BE49-F238E27FC236}">
                    <a16:creationId xmlns:a16="http://schemas.microsoft.com/office/drawing/2014/main" id="{AFD362B3-03C9-E627-F951-F243A353CB76}"/>
                  </a:ext>
                </a:extLst>
              </p:cNvPr>
              <p:cNvSpPr/>
              <p:nvPr/>
            </p:nvSpPr>
            <p:spPr>
              <a:xfrm>
                <a:off x="16648304" y="2109910"/>
                <a:ext cx="12860" cy="117271"/>
              </a:xfrm>
              <a:custGeom>
                <a:avLst/>
                <a:gdLst>
                  <a:gd name="connsiteX0" fmla="*/ 11646 w 12860"/>
                  <a:gd name="connsiteY0" fmla="*/ -514 h 117271"/>
                  <a:gd name="connsiteX1" fmla="*/ 11879 w 12860"/>
                  <a:gd name="connsiteY1" fmla="*/ 116723 h 117271"/>
                  <a:gd name="connsiteX2" fmla="*/ -426 w 12860"/>
                  <a:gd name="connsiteY2" fmla="*/ 108725 h 117271"/>
                  <a:gd name="connsiteX3" fmla="*/ 2046 w 12860"/>
                  <a:gd name="connsiteY3" fmla="*/ 8822 h 117271"/>
                  <a:gd name="connsiteX4" fmla="*/ 11646 w 12860"/>
                  <a:gd name="connsiteY4" fmla="*/ -514 h 117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60" h="117271">
                    <a:moveTo>
                      <a:pt x="11646" y="-514"/>
                    </a:moveTo>
                    <a:cubicBezTo>
                      <a:pt x="11646" y="38545"/>
                      <a:pt x="11733" y="77605"/>
                      <a:pt x="11879" y="116723"/>
                    </a:cubicBezTo>
                    <a:cubicBezTo>
                      <a:pt x="6061" y="116723"/>
                      <a:pt x="-688" y="117334"/>
                      <a:pt x="-426" y="108725"/>
                    </a:cubicBezTo>
                    <a:cubicBezTo>
                      <a:pt x="534" y="75453"/>
                      <a:pt x="-3568" y="42036"/>
                      <a:pt x="2046" y="8822"/>
                    </a:cubicBezTo>
                    <a:cubicBezTo>
                      <a:pt x="3152" y="2539"/>
                      <a:pt x="5101" y="-863"/>
                      <a:pt x="11646" y="-514"/>
                    </a:cubicBezTo>
                    <a:close/>
                  </a:path>
                </a:pathLst>
              </a:custGeom>
              <a:solidFill>
                <a:srgbClr val="F4F5F7"/>
              </a:solidFill>
              <a:ln w="2907" cap="flat">
                <a:noFill/>
                <a:prstDash val="solid"/>
                <a:miter/>
              </a:ln>
            </p:spPr>
            <p:txBody>
              <a:bodyPr rtlCol="0" anchor="ctr"/>
              <a:lstStyle/>
              <a:p>
                <a:endParaRPr lang="en-US" sz="800"/>
              </a:p>
            </p:txBody>
          </p:sp>
          <p:sp>
            <p:nvSpPr>
              <p:cNvPr id="246" name="Graphic 38">
                <a:extLst>
                  <a:ext uri="{FF2B5EF4-FFF2-40B4-BE49-F238E27FC236}">
                    <a16:creationId xmlns:a16="http://schemas.microsoft.com/office/drawing/2014/main" id="{18E2A85C-FCB2-24F9-4EFF-8D0799C00246}"/>
                  </a:ext>
                </a:extLst>
              </p:cNvPr>
              <p:cNvSpPr/>
              <p:nvPr/>
            </p:nvSpPr>
            <p:spPr>
              <a:xfrm>
                <a:off x="15727265" y="1345352"/>
                <a:ext cx="22428" cy="122444"/>
              </a:xfrm>
              <a:custGeom>
                <a:avLst/>
                <a:gdLst>
                  <a:gd name="connsiteX0" fmla="*/ 21448 w 22428"/>
                  <a:gd name="connsiteY0" fmla="*/ 1492 h 122444"/>
                  <a:gd name="connsiteX1" fmla="*/ 9056 w 22428"/>
                  <a:gd name="connsiteY1" fmla="*/ 41890 h 122444"/>
                  <a:gd name="connsiteX2" fmla="*/ 8416 w 22428"/>
                  <a:gd name="connsiteY2" fmla="*/ 121900 h 122444"/>
                  <a:gd name="connsiteX3" fmla="*/ -980 w 22428"/>
                  <a:gd name="connsiteY3" fmla="*/ 109219 h 122444"/>
                  <a:gd name="connsiteX4" fmla="*/ -980 w 22428"/>
                  <a:gd name="connsiteY4" fmla="*/ 15249 h 122444"/>
                  <a:gd name="connsiteX5" fmla="*/ 21448 w 22428"/>
                  <a:gd name="connsiteY5" fmla="*/ 1492 h 12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28" h="122444">
                    <a:moveTo>
                      <a:pt x="21448" y="1492"/>
                    </a:moveTo>
                    <a:cubicBezTo>
                      <a:pt x="11529" y="13126"/>
                      <a:pt x="8649" y="26591"/>
                      <a:pt x="9056" y="41890"/>
                    </a:cubicBezTo>
                    <a:cubicBezTo>
                      <a:pt x="9725" y="68531"/>
                      <a:pt x="8736" y="95230"/>
                      <a:pt x="8416" y="121900"/>
                    </a:cubicBezTo>
                    <a:cubicBezTo>
                      <a:pt x="-747" y="122132"/>
                      <a:pt x="-1009" y="116083"/>
                      <a:pt x="-980" y="109219"/>
                    </a:cubicBezTo>
                    <a:cubicBezTo>
                      <a:pt x="-980" y="77895"/>
                      <a:pt x="-980" y="46572"/>
                      <a:pt x="-980" y="15249"/>
                    </a:cubicBezTo>
                    <a:cubicBezTo>
                      <a:pt x="-776" y="212"/>
                      <a:pt x="5274" y="-3365"/>
                      <a:pt x="21448" y="1492"/>
                    </a:cubicBezTo>
                    <a:close/>
                  </a:path>
                </a:pathLst>
              </a:custGeom>
              <a:solidFill>
                <a:srgbClr val="F4F5F7"/>
              </a:solidFill>
              <a:ln w="2907" cap="flat">
                <a:noFill/>
                <a:prstDash val="solid"/>
                <a:miter/>
              </a:ln>
            </p:spPr>
            <p:txBody>
              <a:bodyPr rtlCol="0" anchor="ctr"/>
              <a:lstStyle/>
              <a:p>
                <a:endParaRPr lang="en-US" sz="800"/>
              </a:p>
            </p:txBody>
          </p:sp>
          <p:sp>
            <p:nvSpPr>
              <p:cNvPr id="247" name="Graphic 38">
                <a:extLst>
                  <a:ext uri="{FF2B5EF4-FFF2-40B4-BE49-F238E27FC236}">
                    <a16:creationId xmlns:a16="http://schemas.microsoft.com/office/drawing/2014/main" id="{7FD68FE6-0907-47BC-484F-3BAF73FFCABF}"/>
                  </a:ext>
                </a:extLst>
              </p:cNvPr>
              <p:cNvSpPr/>
              <p:nvPr/>
            </p:nvSpPr>
            <p:spPr>
              <a:xfrm>
                <a:off x="16189400" y="2995887"/>
                <a:ext cx="25773" cy="120391"/>
              </a:xfrm>
              <a:custGeom>
                <a:avLst/>
                <a:gdLst>
                  <a:gd name="connsiteX0" fmla="*/ 24792 w 25773"/>
                  <a:gd name="connsiteY0" fmla="*/ 3042 h 120391"/>
                  <a:gd name="connsiteX1" fmla="*/ 14902 w 25773"/>
                  <a:gd name="connsiteY1" fmla="*/ 12146 h 120391"/>
                  <a:gd name="connsiteX2" fmla="*/ 12313 w 25773"/>
                  <a:gd name="connsiteY2" fmla="*/ 15781 h 120391"/>
                  <a:gd name="connsiteX3" fmla="*/ 12313 w 25773"/>
                  <a:gd name="connsiteY3" fmla="*/ 15520 h 120391"/>
                  <a:gd name="connsiteX4" fmla="*/ 8444 w 25773"/>
                  <a:gd name="connsiteY4" fmla="*/ 30062 h 120391"/>
                  <a:gd name="connsiteX5" fmla="*/ 8589 w 25773"/>
                  <a:gd name="connsiteY5" fmla="*/ 119640 h 120391"/>
                  <a:gd name="connsiteX6" fmla="*/ 8589 w 25773"/>
                  <a:gd name="connsiteY6" fmla="*/ 119844 h 120391"/>
                  <a:gd name="connsiteX7" fmla="*/ -981 w 25773"/>
                  <a:gd name="connsiteY7" fmla="*/ 108908 h 120391"/>
                  <a:gd name="connsiteX8" fmla="*/ -981 w 25773"/>
                  <a:gd name="connsiteY8" fmla="*/ 10372 h 120391"/>
                  <a:gd name="connsiteX9" fmla="*/ 8618 w 25773"/>
                  <a:gd name="connsiteY9" fmla="*/ -477 h 120391"/>
                  <a:gd name="connsiteX10" fmla="*/ 24792 w 25773"/>
                  <a:gd name="connsiteY10" fmla="*/ 3042 h 120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73" h="120391">
                    <a:moveTo>
                      <a:pt x="24792" y="3042"/>
                    </a:moveTo>
                    <a:lnTo>
                      <a:pt x="14902" y="12146"/>
                    </a:lnTo>
                    <a:lnTo>
                      <a:pt x="12313" y="15781"/>
                    </a:lnTo>
                    <a:lnTo>
                      <a:pt x="12313" y="15520"/>
                    </a:lnTo>
                    <a:cubicBezTo>
                      <a:pt x="7135" y="19271"/>
                      <a:pt x="8444" y="24914"/>
                      <a:pt x="8444" y="30062"/>
                    </a:cubicBezTo>
                    <a:cubicBezTo>
                      <a:pt x="8444" y="59902"/>
                      <a:pt x="8444" y="89771"/>
                      <a:pt x="8589" y="119640"/>
                    </a:cubicBezTo>
                    <a:lnTo>
                      <a:pt x="8589" y="119844"/>
                    </a:lnTo>
                    <a:cubicBezTo>
                      <a:pt x="939" y="120076"/>
                      <a:pt x="-1010" y="115801"/>
                      <a:pt x="-981" y="108908"/>
                    </a:cubicBezTo>
                    <a:cubicBezTo>
                      <a:pt x="-806" y="76072"/>
                      <a:pt x="-806" y="43236"/>
                      <a:pt x="-981" y="10372"/>
                    </a:cubicBezTo>
                    <a:cubicBezTo>
                      <a:pt x="-981" y="3479"/>
                      <a:pt x="939" y="-826"/>
                      <a:pt x="8618" y="-477"/>
                    </a:cubicBezTo>
                    <a:cubicBezTo>
                      <a:pt x="14175" y="47"/>
                      <a:pt x="20341" y="-2251"/>
                      <a:pt x="24792" y="3042"/>
                    </a:cubicBezTo>
                    <a:close/>
                  </a:path>
                </a:pathLst>
              </a:custGeom>
              <a:solidFill>
                <a:srgbClr val="F4F5F7"/>
              </a:solidFill>
              <a:ln w="2907" cap="flat">
                <a:noFill/>
                <a:prstDash val="solid"/>
                <a:miter/>
              </a:ln>
            </p:spPr>
            <p:txBody>
              <a:bodyPr rtlCol="0" anchor="ctr"/>
              <a:lstStyle/>
              <a:p>
                <a:endParaRPr lang="en-US" sz="800"/>
              </a:p>
            </p:txBody>
          </p:sp>
          <p:sp>
            <p:nvSpPr>
              <p:cNvPr id="248" name="Graphic 38">
                <a:extLst>
                  <a:ext uri="{FF2B5EF4-FFF2-40B4-BE49-F238E27FC236}">
                    <a16:creationId xmlns:a16="http://schemas.microsoft.com/office/drawing/2014/main" id="{AC33B699-7C6C-0786-325B-BD9F786FC987}"/>
                  </a:ext>
                </a:extLst>
              </p:cNvPr>
              <p:cNvSpPr/>
              <p:nvPr/>
            </p:nvSpPr>
            <p:spPr>
              <a:xfrm>
                <a:off x="15727189" y="2995818"/>
                <a:ext cx="22359" cy="120491"/>
              </a:xfrm>
              <a:custGeom>
                <a:avLst/>
                <a:gdLst>
                  <a:gd name="connsiteX0" fmla="*/ 21378 w 22359"/>
                  <a:gd name="connsiteY0" fmla="*/ 2530 h 120491"/>
                  <a:gd name="connsiteX1" fmla="*/ 9510 w 22359"/>
                  <a:gd name="connsiteY1" fmla="*/ 38507 h 120491"/>
                  <a:gd name="connsiteX2" fmla="*/ 8550 w 22359"/>
                  <a:gd name="connsiteY2" fmla="*/ 119942 h 120491"/>
                  <a:gd name="connsiteX3" fmla="*/ -904 w 22359"/>
                  <a:gd name="connsiteY3" fmla="*/ 108861 h 120491"/>
                  <a:gd name="connsiteX4" fmla="*/ -904 w 22359"/>
                  <a:gd name="connsiteY4" fmla="*/ 11430 h 120491"/>
                  <a:gd name="connsiteX5" fmla="*/ 21378 w 22359"/>
                  <a:gd name="connsiteY5" fmla="*/ 2530 h 12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9" h="120491">
                    <a:moveTo>
                      <a:pt x="21378" y="2530"/>
                    </a:moveTo>
                    <a:cubicBezTo>
                      <a:pt x="12128" y="12797"/>
                      <a:pt x="9452" y="24808"/>
                      <a:pt x="9510" y="38507"/>
                    </a:cubicBezTo>
                    <a:cubicBezTo>
                      <a:pt x="9510" y="65613"/>
                      <a:pt x="11255" y="92749"/>
                      <a:pt x="8550" y="119942"/>
                    </a:cubicBezTo>
                    <a:cubicBezTo>
                      <a:pt x="755" y="120204"/>
                      <a:pt x="-933" y="115667"/>
                      <a:pt x="-904" y="108861"/>
                    </a:cubicBezTo>
                    <a:cubicBezTo>
                      <a:pt x="-904" y="76375"/>
                      <a:pt x="-1078" y="43888"/>
                      <a:pt x="-904" y="11430"/>
                    </a:cubicBezTo>
                    <a:cubicBezTo>
                      <a:pt x="-613" y="-1541"/>
                      <a:pt x="4158" y="-3054"/>
                      <a:pt x="21378" y="2530"/>
                    </a:cubicBezTo>
                    <a:close/>
                  </a:path>
                </a:pathLst>
              </a:custGeom>
              <a:solidFill>
                <a:srgbClr val="F4F5F7"/>
              </a:solidFill>
              <a:ln w="2907" cap="flat">
                <a:noFill/>
                <a:prstDash val="solid"/>
                <a:miter/>
              </a:ln>
            </p:spPr>
            <p:txBody>
              <a:bodyPr rtlCol="0" anchor="ctr"/>
              <a:lstStyle/>
              <a:p>
                <a:endParaRPr lang="en-US" sz="800"/>
              </a:p>
            </p:txBody>
          </p:sp>
          <p:sp>
            <p:nvSpPr>
              <p:cNvPr id="249" name="Graphic 38">
                <a:extLst>
                  <a:ext uri="{FF2B5EF4-FFF2-40B4-BE49-F238E27FC236}">
                    <a16:creationId xmlns:a16="http://schemas.microsoft.com/office/drawing/2014/main" id="{99D680F5-ECCE-8465-966A-E7E7B813CF8E}"/>
                  </a:ext>
                </a:extLst>
              </p:cNvPr>
              <p:cNvSpPr/>
              <p:nvPr/>
            </p:nvSpPr>
            <p:spPr>
              <a:xfrm>
                <a:off x="14776178" y="1727057"/>
                <a:ext cx="20794" cy="118783"/>
              </a:xfrm>
              <a:custGeom>
                <a:avLst/>
                <a:gdLst>
                  <a:gd name="connsiteX0" fmla="*/ 7076 w 20794"/>
                  <a:gd name="connsiteY0" fmla="*/ 18005 h 118783"/>
                  <a:gd name="connsiteX1" fmla="*/ -981 w 20794"/>
                  <a:gd name="connsiteY1" fmla="*/ 1310 h 118783"/>
                  <a:gd name="connsiteX2" fmla="*/ 19788 w 20794"/>
                  <a:gd name="connsiteY2" fmla="*/ 16143 h 118783"/>
                  <a:gd name="connsiteX3" fmla="*/ 19381 w 20794"/>
                  <a:gd name="connsiteY3" fmla="*/ 107496 h 118783"/>
                  <a:gd name="connsiteX4" fmla="*/ 14232 w 20794"/>
                  <a:gd name="connsiteY4" fmla="*/ 118228 h 118783"/>
                  <a:gd name="connsiteX5" fmla="*/ 10305 w 20794"/>
                  <a:gd name="connsiteY5" fmla="*/ 107816 h 118783"/>
                  <a:gd name="connsiteX6" fmla="*/ 10305 w 20794"/>
                  <a:gd name="connsiteY6" fmla="*/ 35339 h 118783"/>
                  <a:gd name="connsiteX7" fmla="*/ 7717 w 20794"/>
                  <a:gd name="connsiteY7" fmla="*/ 18644 h 11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94" h="118783">
                    <a:moveTo>
                      <a:pt x="7076" y="18005"/>
                    </a:moveTo>
                    <a:cubicBezTo>
                      <a:pt x="8066" y="11141"/>
                      <a:pt x="2306" y="6953"/>
                      <a:pt x="-981" y="1310"/>
                    </a:cubicBezTo>
                    <a:cubicBezTo>
                      <a:pt x="14232" y="-3343"/>
                      <a:pt x="20254" y="496"/>
                      <a:pt x="19788" y="16143"/>
                    </a:cubicBezTo>
                    <a:cubicBezTo>
                      <a:pt x="18887" y="46594"/>
                      <a:pt x="19614" y="77045"/>
                      <a:pt x="19381" y="107496"/>
                    </a:cubicBezTo>
                    <a:cubicBezTo>
                      <a:pt x="19381" y="111597"/>
                      <a:pt x="21563" y="118635"/>
                      <a:pt x="14232" y="118228"/>
                    </a:cubicBezTo>
                    <a:cubicBezTo>
                      <a:pt x="8647" y="117908"/>
                      <a:pt x="10334" y="111655"/>
                      <a:pt x="10305" y="107816"/>
                    </a:cubicBezTo>
                    <a:cubicBezTo>
                      <a:pt x="10131" y="83647"/>
                      <a:pt x="10305" y="59508"/>
                      <a:pt x="10305" y="35339"/>
                    </a:cubicBezTo>
                    <a:cubicBezTo>
                      <a:pt x="10305" y="29726"/>
                      <a:pt x="11760" y="23705"/>
                      <a:pt x="7717" y="18644"/>
                    </a:cubicBezTo>
                    <a:close/>
                  </a:path>
                </a:pathLst>
              </a:custGeom>
              <a:solidFill>
                <a:srgbClr val="FCFDFD"/>
              </a:solidFill>
              <a:ln w="2907" cap="flat">
                <a:noFill/>
                <a:prstDash val="solid"/>
                <a:miter/>
              </a:ln>
            </p:spPr>
            <p:txBody>
              <a:bodyPr rtlCol="0" anchor="ctr"/>
              <a:lstStyle/>
              <a:p>
                <a:endParaRPr lang="en-US" sz="800"/>
              </a:p>
            </p:txBody>
          </p:sp>
          <p:sp>
            <p:nvSpPr>
              <p:cNvPr id="250" name="Graphic 38">
                <a:extLst>
                  <a:ext uri="{FF2B5EF4-FFF2-40B4-BE49-F238E27FC236}">
                    <a16:creationId xmlns:a16="http://schemas.microsoft.com/office/drawing/2014/main" id="{F7BE00C8-7283-C3CF-C524-2DE5D28471F6}"/>
                  </a:ext>
                </a:extLst>
              </p:cNvPr>
              <p:cNvSpPr/>
              <p:nvPr/>
            </p:nvSpPr>
            <p:spPr>
              <a:xfrm>
                <a:off x="15702250" y="2488289"/>
                <a:ext cx="18802" cy="117111"/>
              </a:xfrm>
              <a:custGeom>
                <a:avLst/>
                <a:gdLst>
                  <a:gd name="connsiteX0" fmla="*/ 5826 w 18802"/>
                  <a:gd name="connsiteY0" fmla="*/ 16765 h 117111"/>
                  <a:gd name="connsiteX1" fmla="*/ -981 w 18802"/>
                  <a:gd name="connsiteY1" fmla="*/ 3445 h 117111"/>
                  <a:gd name="connsiteX2" fmla="*/ 17432 w 18802"/>
                  <a:gd name="connsiteY2" fmla="*/ 8360 h 117111"/>
                  <a:gd name="connsiteX3" fmla="*/ 17636 w 18802"/>
                  <a:gd name="connsiteY3" fmla="*/ 110590 h 117111"/>
                  <a:gd name="connsiteX4" fmla="*/ 12342 w 18802"/>
                  <a:gd name="connsiteY4" fmla="*/ 116407 h 117111"/>
                  <a:gd name="connsiteX5" fmla="*/ 8414 w 18802"/>
                  <a:gd name="connsiteY5" fmla="*/ 107332 h 117111"/>
                  <a:gd name="connsiteX6" fmla="*/ 8414 w 18802"/>
                  <a:gd name="connsiteY6" fmla="*/ 33401 h 117111"/>
                  <a:gd name="connsiteX7" fmla="*/ 5826 w 18802"/>
                  <a:gd name="connsiteY7" fmla="*/ 16765 h 11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02" h="117111">
                    <a:moveTo>
                      <a:pt x="5826" y="16765"/>
                    </a:moveTo>
                    <a:lnTo>
                      <a:pt x="-981" y="3445"/>
                    </a:lnTo>
                    <a:cubicBezTo>
                      <a:pt x="7745" y="-3361"/>
                      <a:pt x="17228" y="-1267"/>
                      <a:pt x="17432" y="8360"/>
                    </a:cubicBezTo>
                    <a:cubicBezTo>
                      <a:pt x="18101" y="42446"/>
                      <a:pt x="17723" y="76533"/>
                      <a:pt x="17636" y="110590"/>
                    </a:cubicBezTo>
                    <a:cubicBezTo>
                      <a:pt x="17636" y="113789"/>
                      <a:pt x="16588" y="117396"/>
                      <a:pt x="12342" y="116407"/>
                    </a:cubicBezTo>
                    <a:cubicBezTo>
                      <a:pt x="7455" y="115360"/>
                      <a:pt x="8443" y="110764"/>
                      <a:pt x="8414" y="107332"/>
                    </a:cubicBezTo>
                    <a:cubicBezTo>
                      <a:pt x="8414" y="82669"/>
                      <a:pt x="8414" y="57890"/>
                      <a:pt x="8414" y="33401"/>
                    </a:cubicBezTo>
                    <a:cubicBezTo>
                      <a:pt x="8240" y="27846"/>
                      <a:pt x="9781" y="21884"/>
                      <a:pt x="5826" y="16765"/>
                    </a:cubicBezTo>
                    <a:close/>
                  </a:path>
                </a:pathLst>
              </a:custGeom>
              <a:solidFill>
                <a:srgbClr val="FCFDFD"/>
              </a:solidFill>
              <a:ln w="2907" cap="flat">
                <a:noFill/>
                <a:prstDash val="solid"/>
                <a:miter/>
              </a:ln>
            </p:spPr>
            <p:txBody>
              <a:bodyPr rtlCol="0" anchor="ctr"/>
              <a:lstStyle/>
              <a:p>
                <a:endParaRPr lang="en-US" sz="800"/>
              </a:p>
            </p:txBody>
          </p:sp>
          <p:sp>
            <p:nvSpPr>
              <p:cNvPr id="251" name="Graphic 38">
                <a:extLst>
                  <a:ext uri="{FF2B5EF4-FFF2-40B4-BE49-F238E27FC236}">
                    <a16:creationId xmlns:a16="http://schemas.microsoft.com/office/drawing/2014/main" id="{F6413A77-584C-75D8-7B02-62072418D2FE}"/>
                  </a:ext>
                </a:extLst>
              </p:cNvPr>
              <p:cNvSpPr/>
              <p:nvPr/>
            </p:nvSpPr>
            <p:spPr>
              <a:xfrm>
                <a:off x="15701727" y="1348910"/>
                <a:ext cx="19349" cy="117196"/>
              </a:xfrm>
              <a:custGeom>
                <a:avLst/>
                <a:gdLst>
                  <a:gd name="connsiteX0" fmla="*/ 2073 w 19349"/>
                  <a:gd name="connsiteY0" fmla="*/ 108220 h 117196"/>
                  <a:gd name="connsiteX1" fmla="*/ 4342 w 19349"/>
                  <a:gd name="connsiteY1" fmla="*/ 102403 h 117196"/>
                  <a:gd name="connsiteX2" fmla="*/ 5826 w 19349"/>
                  <a:gd name="connsiteY2" fmla="*/ 99495 h 117196"/>
                  <a:gd name="connsiteX3" fmla="*/ 5826 w 19349"/>
                  <a:gd name="connsiteY3" fmla="*/ 99495 h 117196"/>
                  <a:gd name="connsiteX4" fmla="*/ 8735 w 19349"/>
                  <a:gd name="connsiteY4" fmla="*/ 71778 h 117196"/>
                  <a:gd name="connsiteX5" fmla="*/ 8996 w 19349"/>
                  <a:gd name="connsiteY5" fmla="*/ 8549 h 117196"/>
                  <a:gd name="connsiteX6" fmla="*/ 13011 w 19349"/>
                  <a:gd name="connsiteY6" fmla="*/ -467 h 117196"/>
                  <a:gd name="connsiteX7" fmla="*/ 18218 w 19349"/>
                  <a:gd name="connsiteY7" fmla="*/ 7241 h 117196"/>
                  <a:gd name="connsiteX8" fmla="*/ 18043 w 19349"/>
                  <a:gd name="connsiteY8" fmla="*/ 106824 h 117196"/>
                  <a:gd name="connsiteX9" fmla="*/ -981 w 19349"/>
                  <a:gd name="connsiteY9" fmla="*/ 111826 h 117196"/>
                  <a:gd name="connsiteX10" fmla="*/ -981 w 19349"/>
                  <a:gd name="connsiteY10" fmla="*/ 111826 h 117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349" h="117196">
                    <a:moveTo>
                      <a:pt x="2073" y="108220"/>
                    </a:moveTo>
                    <a:lnTo>
                      <a:pt x="4342" y="102403"/>
                    </a:lnTo>
                    <a:lnTo>
                      <a:pt x="5826" y="99495"/>
                    </a:lnTo>
                    <a:lnTo>
                      <a:pt x="5826" y="99495"/>
                    </a:lnTo>
                    <a:cubicBezTo>
                      <a:pt x="11643" y="90770"/>
                      <a:pt x="8414" y="81027"/>
                      <a:pt x="8735" y="71778"/>
                    </a:cubicBezTo>
                    <a:cubicBezTo>
                      <a:pt x="9258" y="50721"/>
                      <a:pt x="8735" y="29635"/>
                      <a:pt x="8996" y="8549"/>
                    </a:cubicBezTo>
                    <a:cubicBezTo>
                      <a:pt x="8996" y="5088"/>
                      <a:pt x="8066" y="202"/>
                      <a:pt x="13011" y="-467"/>
                    </a:cubicBezTo>
                    <a:cubicBezTo>
                      <a:pt x="18450" y="-1194"/>
                      <a:pt x="18218" y="3750"/>
                      <a:pt x="18218" y="7241"/>
                    </a:cubicBezTo>
                    <a:cubicBezTo>
                      <a:pt x="18218" y="40454"/>
                      <a:pt x="18654" y="73639"/>
                      <a:pt x="18043" y="106824"/>
                    </a:cubicBezTo>
                    <a:cubicBezTo>
                      <a:pt x="17839" y="117963"/>
                      <a:pt x="10131" y="119650"/>
                      <a:pt x="-981" y="111826"/>
                    </a:cubicBezTo>
                    <a:lnTo>
                      <a:pt x="-981" y="111826"/>
                    </a:lnTo>
                    <a:close/>
                  </a:path>
                </a:pathLst>
              </a:custGeom>
              <a:solidFill>
                <a:srgbClr val="FCFDFD"/>
              </a:solidFill>
              <a:ln w="2907" cap="flat">
                <a:noFill/>
                <a:prstDash val="solid"/>
                <a:miter/>
              </a:ln>
            </p:spPr>
            <p:txBody>
              <a:bodyPr rtlCol="0" anchor="ctr"/>
              <a:lstStyle/>
              <a:p>
                <a:endParaRPr lang="en-US" sz="800"/>
              </a:p>
            </p:txBody>
          </p:sp>
          <p:sp>
            <p:nvSpPr>
              <p:cNvPr id="252" name="Graphic 38">
                <a:extLst>
                  <a:ext uri="{FF2B5EF4-FFF2-40B4-BE49-F238E27FC236}">
                    <a16:creationId xmlns:a16="http://schemas.microsoft.com/office/drawing/2014/main" id="{D4765739-63BC-9584-A6FA-032F0AC922E4}"/>
                  </a:ext>
                </a:extLst>
              </p:cNvPr>
              <p:cNvSpPr/>
              <p:nvPr/>
            </p:nvSpPr>
            <p:spPr>
              <a:xfrm>
                <a:off x="15264804" y="1349003"/>
                <a:ext cx="17053" cy="117589"/>
              </a:xfrm>
              <a:custGeom>
                <a:avLst/>
                <a:gdLst>
                  <a:gd name="connsiteX0" fmla="*/ 15229 w 17053"/>
                  <a:gd name="connsiteY0" fmla="*/ 108417 h 117589"/>
                  <a:gd name="connsiteX1" fmla="*/ 16072 w 17053"/>
                  <a:gd name="connsiteY1" fmla="*/ 114234 h 117589"/>
                  <a:gd name="connsiteX2" fmla="*/ -886 w 17053"/>
                  <a:gd name="connsiteY2" fmla="*/ 101961 h 117589"/>
                  <a:gd name="connsiteX3" fmla="*/ -537 w 17053"/>
                  <a:gd name="connsiteY3" fmla="*/ 12033 h 117589"/>
                  <a:gd name="connsiteX4" fmla="*/ 4321 w 17053"/>
                  <a:gd name="connsiteY4" fmla="*/ -531 h 117589"/>
                  <a:gd name="connsiteX5" fmla="*/ 8597 w 17053"/>
                  <a:gd name="connsiteY5" fmla="*/ 12586 h 117589"/>
                  <a:gd name="connsiteX6" fmla="*/ 8800 w 17053"/>
                  <a:gd name="connsiteY6" fmla="*/ 81980 h 117589"/>
                  <a:gd name="connsiteX7" fmla="*/ 11040 w 17053"/>
                  <a:gd name="connsiteY7" fmla="*/ 98820 h 117589"/>
                  <a:gd name="connsiteX8" fmla="*/ 11535 w 17053"/>
                  <a:gd name="connsiteY8" fmla="*/ 100041 h 117589"/>
                  <a:gd name="connsiteX9" fmla="*/ 15229 w 17053"/>
                  <a:gd name="connsiteY9" fmla="*/ 108417 h 11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53" h="117589">
                    <a:moveTo>
                      <a:pt x="15229" y="108417"/>
                    </a:moveTo>
                    <a:cubicBezTo>
                      <a:pt x="15491" y="110366"/>
                      <a:pt x="15782" y="112315"/>
                      <a:pt x="16072" y="114234"/>
                    </a:cubicBezTo>
                    <a:cubicBezTo>
                      <a:pt x="2837" y="120575"/>
                      <a:pt x="-1381" y="116096"/>
                      <a:pt x="-886" y="101961"/>
                    </a:cubicBezTo>
                    <a:cubicBezTo>
                      <a:pt x="-101" y="72004"/>
                      <a:pt x="-886" y="42019"/>
                      <a:pt x="-537" y="12033"/>
                    </a:cubicBezTo>
                    <a:cubicBezTo>
                      <a:pt x="-537" y="7409"/>
                      <a:pt x="-3155" y="-822"/>
                      <a:pt x="4321" y="-531"/>
                    </a:cubicBezTo>
                    <a:cubicBezTo>
                      <a:pt x="11331" y="-269"/>
                      <a:pt x="8510" y="7874"/>
                      <a:pt x="8597" y="12586"/>
                    </a:cubicBezTo>
                    <a:cubicBezTo>
                      <a:pt x="8887" y="35853"/>
                      <a:pt x="8597" y="58858"/>
                      <a:pt x="8800" y="81980"/>
                    </a:cubicBezTo>
                    <a:cubicBezTo>
                      <a:pt x="8800" y="87797"/>
                      <a:pt x="7317" y="93614"/>
                      <a:pt x="11040" y="98820"/>
                    </a:cubicBezTo>
                    <a:lnTo>
                      <a:pt x="11535" y="100041"/>
                    </a:lnTo>
                    <a:cubicBezTo>
                      <a:pt x="11680" y="103328"/>
                      <a:pt x="11971" y="106527"/>
                      <a:pt x="15229" y="108417"/>
                    </a:cubicBezTo>
                    <a:close/>
                  </a:path>
                </a:pathLst>
              </a:custGeom>
              <a:solidFill>
                <a:srgbClr val="FCFDFD"/>
              </a:solidFill>
              <a:ln w="2907" cap="flat">
                <a:noFill/>
                <a:prstDash val="solid"/>
                <a:miter/>
              </a:ln>
            </p:spPr>
            <p:txBody>
              <a:bodyPr rtlCol="0" anchor="ctr"/>
              <a:lstStyle/>
              <a:p>
                <a:endParaRPr lang="en-US" sz="800"/>
              </a:p>
            </p:txBody>
          </p:sp>
          <p:sp>
            <p:nvSpPr>
              <p:cNvPr id="253" name="Graphic 38">
                <a:extLst>
                  <a:ext uri="{FF2B5EF4-FFF2-40B4-BE49-F238E27FC236}">
                    <a16:creationId xmlns:a16="http://schemas.microsoft.com/office/drawing/2014/main" id="{AA50CE8C-D879-0F9A-6405-00B59E3325F0}"/>
                  </a:ext>
                </a:extLst>
              </p:cNvPr>
              <p:cNvSpPr/>
              <p:nvPr/>
            </p:nvSpPr>
            <p:spPr>
              <a:xfrm>
                <a:off x="14777400" y="2362407"/>
                <a:ext cx="19846" cy="118469"/>
              </a:xfrm>
              <a:custGeom>
                <a:avLst/>
                <a:gdLst>
                  <a:gd name="connsiteX0" fmla="*/ -691 w 19846"/>
                  <a:gd name="connsiteY0" fmla="*/ 78 h 118469"/>
                  <a:gd name="connsiteX1" fmla="*/ 18654 w 19846"/>
                  <a:gd name="connsiteY1" fmla="*/ 18953 h 118469"/>
                  <a:gd name="connsiteX2" fmla="*/ 18159 w 19846"/>
                  <a:gd name="connsiteY2" fmla="*/ 105449 h 118469"/>
                  <a:gd name="connsiteX3" fmla="*/ 13738 w 19846"/>
                  <a:gd name="connsiteY3" fmla="*/ 117926 h 118469"/>
                  <a:gd name="connsiteX4" fmla="*/ 9025 w 19846"/>
                  <a:gd name="connsiteY4" fmla="*/ 104722 h 118469"/>
                  <a:gd name="connsiteX5" fmla="*/ 9025 w 19846"/>
                  <a:gd name="connsiteY5" fmla="*/ 22909 h 118469"/>
                  <a:gd name="connsiteX6" fmla="*/ -981 w 19846"/>
                  <a:gd name="connsiteY6" fmla="*/ 3655 h 118469"/>
                  <a:gd name="connsiteX7" fmla="*/ -981 w 19846"/>
                  <a:gd name="connsiteY7" fmla="*/ 3655 h 118469"/>
                  <a:gd name="connsiteX8" fmla="*/ -603 w 19846"/>
                  <a:gd name="connsiteY8" fmla="*/ 223 h 11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846" h="118469">
                    <a:moveTo>
                      <a:pt x="-691" y="78"/>
                    </a:moveTo>
                    <a:cubicBezTo>
                      <a:pt x="14610" y="-2656"/>
                      <a:pt x="19264" y="3713"/>
                      <a:pt x="18654" y="18953"/>
                    </a:cubicBezTo>
                    <a:cubicBezTo>
                      <a:pt x="17548" y="47747"/>
                      <a:pt x="18654" y="76598"/>
                      <a:pt x="18159" y="105449"/>
                    </a:cubicBezTo>
                    <a:cubicBezTo>
                      <a:pt x="18159" y="109899"/>
                      <a:pt x="21475" y="118159"/>
                      <a:pt x="13738" y="117926"/>
                    </a:cubicBezTo>
                    <a:cubicBezTo>
                      <a:pt x="7309" y="117722"/>
                      <a:pt x="9054" y="109666"/>
                      <a:pt x="9025" y="104722"/>
                    </a:cubicBezTo>
                    <a:cubicBezTo>
                      <a:pt x="8851" y="77441"/>
                      <a:pt x="8851" y="50160"/>
                      <a:pt x="9025" y="22909"/>
                    </a:cubicBezTo>
                    <a:cubicBezTo>
                      <a:pt x="9025" y="14649"/>
                      <a:pt x="8153" y="7058"/>
                      <a:pt x="-981" y="3655"/>
                    </a:cubicBezTo>
                    <a:lnTo>
                      <a:pt x="-981" y="3655"/>
                    </a:lnTo>
                    <a:cubicBezTo>
                      <a:pt x="-981" y="2521"/>
                      <a:pt x="-749" y="1357"/>
                      <a:pt x="-603" y="223"/>
                    </a:cubicBezTo>
                    <a:close/>
                  </a:path>
                </a:pathLst>
              </a:custGeom>
              <a:solidFill>
                <a:srgbClr val="F4F5F7"/>
              </a:solidFill>
              <a:ln w="2907" cap="flat">
                <a:noFill/>
                <a:prstDash val="solid"/>
                <a:miter/>
              </a:ln>
            </p:spPr>
            <p:txBody>
              <a:bodyPr rtlCol="0" anchor="ctr"/>
              <a:lstStyle/>
              <a:p>
                <a:endParaRPr lang="en-US" sz="800"/>
              </a:p>
            </p:txBody>
          </p:sp>
          <p:sp>
            <p:nvSpPr>
              <p:cNvPr id="254" name="Graphic 38">
                <a:extLst>
                  <a:ext uri="{FF2B5EF4-FFF2-40B4-BE49-F238E27FC236}">
                    <a16:creationId xmlns:a16="http://schemas.microsoft.com/office/drawing/2014/main" id="{D31F5891-886E-8D3F-DA54-1ADF971D8398}"/>
                  </a:ext>
                </a:extLst>
              </p:cNvPr>
              <p:cNvSpPr/>
              <p:nvPr/>
            </p:nvSpPr>
            <p:spPr>
              <a:xfrm>
                <a:off x="14780309" y="1348807"/>
                <a:ext cx="16557" cy="115604"/>
              </a:xfrm>
              <a:custGeom>
                <a:avLst/>
                <a:gdLst>
                  <a:gd name="connsiteX0" fmla="*/ -981 w 16557"/>
                  <a:gd name="connsiteY0" fmla="*/ 108323 h 115604"/>
                  <a:gd name="connsiteX1" fmla="*/ 6058 w 16557"/>
                  <a:gd name="connsiteY1" fmla="*/ 91076 h 115604"/>
                  <a:gd name="connsiteX2" fmla="*/ 6291 w 16557"/>
                  <a:gd name="connsiteY2" fmla="*/ 10891 h 115604"/>
                  <a:gd name="connsiteX3" fmla="*/ 10742 w 16557"/>
                  <a:gd name="connsiteY3" fmla="*/ -539 h 115604"/>
                  <a:gd name="connsiteX4" fmla="*/ 15308 w 16557"/>
                  <a:gd name="connsiteY4" fmla="*/ 10920 h 115604"/>
                  <a:gd name="connsiteX5" fmla="*/ 15308 w 16557"/>
                  <a:gd name="connsiteY5" fmla="*/ 103698 h 115604"/>
                  <a:gd name="connsiteX6" fmla="*/ 9491 w 16557"/>
                  <a:gd name="connsiteY6" fmla="*/ 114808 h 115604"/>
                  <a:gd name="connsiteX7" fmla="*/ -981 w 16557"/>
                  <a:gd name="connsiteY7" fmla="*/ 108264 h 11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57" h="115604">
                    <a:moveTo>
                      <a:pt x="-981" y="108323"/>
                    </a:moveTo>
                    <a:cubicBezTo>
                      <a:pt x="7745" y="105240"/>
                      <a:pt x="6000" y="97562"/>
                      <a:pt x="6058" y="91076"/>
                    </a:cubicBezTo>
                    <a:cubicBezTo>
                      <a:pt x="6262" y="64348"/>
                      <a:pt x="6058" y="37619"/>
                      <a:pt x="6291" y="10891"/>
                    </a:cubicBezTo>
                    <a:cubicBezTo>
                      <a:pt x="6291" y="6645"/>
                      <a:pt x="4197" y="-539"/>
                      <a:pt x="10742" y="-539"/>
                    </a:cubicBezTo>
                    <a:cubicBezTo>
                      <a:pt x="17287" y="-539"/>
                      <a:pt x="15279" y="6587"/>
                      <a:pt x="15308" y="10920"/>
                    </a:cubicBezTo>
                    <a:cubicBezTo>
                      <a:pt x="15483" y="41837"/>
                      <a:pt x="15308" y="72753"/>
                      <a:pt x="15308" y="103698"/>
                    </a:cubicBezTo>
                    <a:cubicBezTo>
                      <a:pt x="15308" y="108264"/>
                      <a:pt x="16065" y="113587"/>
                      <a:pt x="9491" y="114808"/>
                    </a:cubicBezTo>
                    <a:cubicBezTo>
                      <a:pt x="4109" y="115768"/>
                      <a:pt x="211" y="114139"/>
                      <a:pt x="-981" y="108264"/>
                    </a:cubicBezTo>
                    <a:close/>
                  </a:path>
                </a:pathLst>
              </a:custGeom>
              <a:solidFill>
                <a:srgbClr val="FCFDFD"/>
              </a:solidFill>
              <a:ln w="2907" cap="flat">
                <a:noFill/>
                <a:prstDash val="solid"/>
                <a:miter/>
              </a:ln>
            </p:spPr>
            <p:txBody>
              <a:bodyPr rtlCol="0" anchor="ctr"/>
              <a:lstStyle/>
              <a:p>
                <a:endParaRPr lang="en-US" sz="800"/>
              </a:p>
            </p:txBody>
          </p:sp>
          <p:sp>
            <p:nvSpPr>
              <p:cNvPr id="255" name="Graphic 38">
                <a:extLst>
                  <a:ext uri="{FF2B5EF4-FFF2-40B4-BE49-F238E27FC236}">
                    <a16:creationId xmlns:a16="http://schemas.microsoft.com/office/drawing/2014/main" id="{56998198-3698-1AC2-52A2-28F75FCAEA88}"/>
                  </a:ext>
                </a:extLst>
              </p:cNvPr>
              <p:cNvSpPr/>
              <p:nvPr/>
            </p:nvSpPr>
            <p:spPr>
              <a:xfrm>
                <a:off x="15727264" y="2743438"/>
                <a:ext cx="10467" cy="119829"/>
              </a:xfrm>
              <a:custGeom>
                <a:avLst/>
                <a:gdLst>
                  <a:gd name="connsiteX0" fmla="*/ 8708 w 10467"/>
                  <a:gd name="connsiteY0" fmla="*/ 119291 h 119829"/>
                  <a:gd name="connsiteX1" fmla="*/ -979 w 10467"/>
                  <a:gd name="connsiteY1" fmla="*/ 108239 h 119829"/>
                  <a:gd name="connsiteX2" fmla="*/ -979 w 10467"/>
                  <a:gd name="connsiteY2" fmla="*/ 8917 h 119829"/>
                  <a:gd name="connsiteX3" fmla="*/ 4664 w 10467"/>
                  <a:gd name="connsiteY3" fmla="*/ -535 h 119829"/>
                  <a:gd name="connsiteX4" fmla="*/ 8504 w 10467"/>
                  <a:gd name="connsiteY4" fmla="*/ 8656 h 119829"/>
                  <a:gd name="connsiteX5" fmla="*/ 8708 w 10467"/>
                  <a:gd name="connsiteY5" fmla="*/ 119000 h 11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67" h="119829">
                    <a:moveTo>
                      <a:pt x="8708" y="119291"/>
                    </a:moveTo>
                    <a:cubicBezTo>
                      <a:pt x="1115" y="119291"/>
                      <a:pt x="-1008" y="115249"/>
                      <a:pt x="-979" y="108239"/>
                    </a:cubicBezTo>
                    <a:cubicBezTo>
                      <a:pt x="-775" y="75142"/>
                      <a:pt x="-979" y="42015"/>
                      <a:pt x="-979" y="8917"/>
                    </a:cubicBezTo>
                    <a:cubicBezTo>
                      <a:pt x="-979" y="4759"/>
                      <a:pt x="-1270" y="-418"/>
                      <a:pt x="4664" y="-535"/>
                    </a:cubicBezTo>
                    <a:cubicBezTo>
                      <a:pt x="12431" y="-709"/>
                      <a:pt x="8475" y="5282"/>
                      <a:pt x="8504" y="8656"/>
                    </a:cubicBezTo>
                    <a:cubicBezTo>
                      <a:pt x="8650" y="45418"/>
                      <a:pt x="8650" y="82209"/>
                      <a:pt x="8708" y="119000"/>
                    </a:cubicBezTo>
                    <a:close/>
                  </a:path>
                </a:pathLst>
              </a:custGeom>
              <a:solidFill>
                <a:srgbClr val="FCFDFD"/>
              </a:solidFill>
              <a:ln w="2907" cap="flat">
                <a:noFill/>
                <a:prstDash val="solid"/>
                <a:miter/>
              </a:ln>
            </p:spPr>
            <p:txBody>
              <a:bodyPr rtlCol="0" anchor="ctr"/>
              <a:lstStyle/>
              <a:p>
                <a:endParaRPr lang="en-US" sz="800"/>
              </a:p>
            </p:txBody>
          </p:sp>
          <p:sp>
            <p:nvSpPr>
              <p:cNvPr id="320" name="Graphic 38">
                <a:extLst>
                  <a:ext uri="{FF2B5EF4-FFF2-40B4-BE49-F238E27FC236}">
                    <a16:creationId xmlns:a16="http://schemas.microsoft.com/office/drawing/2014/main" id="{5BD56CAB-A528-5EED-A2CD-BAD5E38505E1}"/>
                  </a:ext>
                </a:extLst>
              </p:cNvPr>
              <p:cNvSpPr/>
              <p:nvPr/>
            </p:nvSpPr>
            <p:spPr>
              <a:xfrm>
                <a:off x="16189481" y="3380113"/>
                <a:ext cx="9431" cy="118829"/>
              </a:xfrm>
              <a:custGeom>
                <a:avLst/>
                <a:gdLst>
                  <a:gd name="connsiteX0" fmla="*/ 8450 w 9431"/>
                  <a:gd name="connsiteY0" fmla="*/ 118275 h 118829"/>
                  <a:gd name="connsiteX1" fmla="*/ -974 w 9431"/>
                  <a:gd name="connsiteY1" fmla="*/ 108852 h 118829"/>
                  <a:gd name="connsiteX2" fmla="*/ -974 w 9431"/>
                  <a:gd name="connsiteY2" fmla="*/ 7989 h 118829"/>
                  <a:gd name="connsiteX3" fmla="*/ 3505 w 9431"/>
                  <a:gd name="connsiteY3" fmla="*/ -533 h 118829"/>
                  <a:gd name="connsiteX4" fmla="*/ 8072 w 9431"/>
                  <a:gd name="connsiteY4" fmla="*/ 9385 h 118829"/>
                  <a:gd name="connsiteX5" fmla="*/ 8421 w 9431"/>
                  <a:gd name="connsiteY5" fmla="*/ 118101 h 11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31" h="118829">
                    <a:moveTo>
                      <a:pt x="8450" y="118275"/>
                    </a:moveTo>
                    <a:cubicBezTo>
                      <a:pt x="1905" y="118537"/>
                      <a:pt x="-1004" y="115512"/>
                      <a:pt x="-974" y="108852"/>
                    </a:cubicBezTo>
                    <a:cubicBezTo>
                      <a:pt x="-829" y="75231"/>
                      <a:pt x="-974" y="41610"/>
                      <a:pt x="-974" y="7989"/>
                    </a:cubicBezTo>
                    <a:cubicBezTo>
                      <a:pt x="-974" y="4440"/>
                      <a:pt x="-1352" y="-736"/>
                      <a:pt x="3505" y="-533"/>
                    </a:cubicBezTo>
                    <a:cubicBezTo>
                      <a:pt x="9498" y="-300"/>
                      <a:pt x="8072" y="5516"/>
                      <a:pt x="8072" y="9385"/>
                    </a:cubicBezTo>
                    <a:cubicBezTo>
                      <a:pt x="8305" y="45623"/>
                      <a:pt x="8334" y="81862"/>
                      <a:pt x="8421" y="118101"/>
                    </a:cubicBezTo>
                    <a:close/>
                  </a:path>
                </a:pathLst>
              </a:custGeom>
              <a:solidFill>
                <a:srgbClr val="FCFDFD"/>
              </a:solidFill>
              <a:ln w="2907" cap="flat">
                <a:noFill/>
                <a:prstDash val="solid"/>
                <a:miter/>
              </a:ln>
            </p:spPr>
            <p:txBody>
              <a:bodyPr rtlCol="0" anchor="ctr"/>
              <a:lstStyle/>
              <a:p>
                <a:endParaRPr lang="en-US" sz="800"/>
              </a:p>
            </p:txBody>
          </p:sp>
          <p:sp>
            <p:nvSpPr>
              <p:cNvPr id="321" name="Graphic 38">
                <a:extLst>
                  <a:ext uri="{FF2B5EF4-FFF2-40B4-BE49-F238E27FC236}">
                    <a16:creationId xmlns:a16="http://schemas.microsoft.com/office/drawing/2014/main" id="{B019DE08-9E22-0A21-A990-D24CCA9BC39A}"/>
                  </a:ext>
                </a:extLst>
              </p:cNvPr>
              <p:cNvSpPr/>
              <p:nvPr/>
            </p:nvSpPr>
            <p:spPr>
              <a:xfrm>
                <a:off x="14787057" y="3378519"/>
                <a:ext cx="9665" cy="119186"/>
              </a:xfrm>
              <a:custGeom>
                <a:avLst/>
                <a:gdLst>
                  <a:gd name="connsiteX0" fmla="*/ -981 w 9665"/>
                  <a:gd name="connsiteY0" fmla="*/ -539 h 119186"/>
                  <a:gd name="connsiteX1" fmla="*/ 8676 w 9665"/>
                  <a:gd name="connsiteY1" fmla="*/ 8885 h 119186"/>
                  <a:gd name="connsiteX2" fmla="*/ 8676 w 9665"/>
                  <a:gd name="connsiteY2" fmla="*/ 109923 h 119186"/>
                  <a:gd name="connsiteX3" fmla="*/ 4225 w 9665"/>
                  <a:gd name="connsiteY3" fmla="*/ 118648 h 119186"/>
                  <a:gd name="connsiteX4" fmla="*/ -371 w 9665"/>
                  <a:gd name="connsiteY4" fmla="*/ 108730 h 119186"/>
                  <a:gd name="connsiteX5" fmla="*/ -953 w 9665"/>
                  <a:gd name="connsiteY5" fmla="*/ -161 h 119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65" h="119186">
                    <a:moveTo>
                      <a:pt x="-981" y="-539"/>
                    </a:moveTo>
                    <a:cubicBezTo>
                      <a:pt x="5331" y="-539"/>
                      <a:pt x="8705" y="2050"/>
                      <a:pt x="8676" y="8885"/>
                    </a:cubicBezTo>
                    <a:cubicBezTo>
                      <a:pt x="8530" y="42564"/>
                      <a:pt x="8676" y="76243"/>
                      <a:pt x="8676" y="109923"/>
                    </a:cubicBezTo>
                    <a:cubicBezTo>
                      <a:pt x="8676" y="113471"/>
                      <a:pt x="9083" y="118648"/>
                      <a:pt x="4225" y="118648"/>
                    </a:cubicBezTo>
                    <a:cubicBezTo>
                      <a:pt x="-1796" y="118444"/>
                      <a:pt x="-341" y="112598"/>
                      <a:pt x="-371" y="108730"/>
                    </a:cubicBezTo>
                    <a:cubicBezTo>
                      <a:pt x="-661" y="72433"/>
                      <a:pt x="-778" y="36020"/>
                      <a:pt x="-953" y="-161"/>
                    </a:cubicBezTo>
                    <a:close/>
                  </a:path>
                </a:pathLst>
              </a:custGeom>
              <a:solidFill>
                <a:srgbClr val="FCFDFD"/>
              </a:solidFill>
              <a:ln w="2907" cap="flat">
                <a:noFill/>
                <a:prstDash val="solid"/>
                <a:miter/>
              </a:ln>
            </p:spPr>
            <p:txBody>
              <a:bodyPr rtlCol="0" anchor="ctr"/>
              <a:lstStyle/>
              <a:p>
                <a:endParaRPr lang="en-US" sz="800"/>
              </a:p>
            </p:txBody>
          </p:sp>
          <p:sp>
            <p:nvSpPr>
              <p:cNvPr id="322" name="Graphic 38">
                <a:extLst>
                  <a:ext uri="{FF2B5EF4-FFF2-40B4-BE49-F238E27FC236}">
                    <a16:creationId xmlns:a16="http://schemas.microsoft.com/office/drawing/2014/main" id="{A5A780D1-6834-978B-AE12-E1582B476086}"/>
                  </a:ext>
                </a:extLst>
              </p:cNvPr>
              <p:cNvSpPr/>
              <p:nvPr/>
            </p:nvSpPr>
            <p:spPr>
              <a:xfrm>
                <a:off x="17098397" y="1980657"/>
                <a:ext cx="9134" cy="119323"/>
              </a:xfrm>
              <a:custGeom>
                <a:avLst/>
                <a:gdLst>
                  <a:gd name="connsiteX0" fmla="*/ -981 w 9134"/>
                  <a:gd name="connsiteY0" fmla="*/ 118560 h 119323"/>
                  <a:gd name="connsiteX1" fmla="*/ -981 w 9134"/>
                  <a:gd name="connsiteY1" fmla="*/ -335 h 119323"/>
                  <a:gd name="connsiteX2" fmla="*/ 8153 w 9134"/>
                  <a:gd name="connsiteY2" fmla="*/ 10339 h 119323"/>
                  <a:gd name="connsiteX3" fmla="*/ 8153 w 9134"/>
                  <a:gd name="connsiteY3" fmla="*/ 107945 h 119323"/>
                  <a:gd name="connsiteX4" fmla="*/ -981 w 9134"/>
                  <a:gd name="connsiteY4" fmla="*/ 118560 h 1193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4" h="119323">
                    <a:moveTo>
                      <a:pt x="-981" y="118560"/>
                    </a:moveTo>
                    <a:cubicBezTo>
                      <a:pt x="-981" y="78919"/>
                      <a:pt x="-981" y="39307"/>
                      <a:pt x="-981" y="-335"/>
                    </a:cubicBezTo>
                    <a:cubicBezTo>
                      <a:pt x="7745" y="-1702"/>
                      <a:pt x="8153" y="4028"/>
                      <a:pt x="8153" y="10339"/>
                    </a:cubicBezTo>
                    <a:cubicBezTo>
                      <a:pt x="8153" y="42855"/>
                      <a:pt x="8153" y="75400"/>
                      <a:pt x="8153" y="107945"/>
                    </a:cubicBezTo>
                    <a:cubicBezTo>
                      <a:pt x="8153" y="114169"/>
                      <a:pt x="7862" y="120015"/>
                      <a:pt x="-981" y="118560"/>
                    </a:cubicBezTo>
                    <a:close/>
                  </a:path>
                </a:pathLst>
              </a:custGeom>
              <a:solidFill>
                <a:srgbClr val="FCFDFD"/>
              </a:solidFill>
              <a:ln w="2907" cap="flat">
                <a:noFill/>
                <a:prstDash val="solid"/>
                <a:miter/>
              </a:ln>
            </p:spPr>
            <p:txBody>
              <a:bodyPr rtlCol="0" anchor="ctr"/>
              <a:lstStyle/>
              <a:p>
                <a:endParaRPr lang="en-US" sz="800"/>
              </a:p>
            </p:txBody>
          </p:sp>
          <p:sp>
            <p:nvSpPr>
              <p:cNvPr id="323" name="Graphic 38">
                <a:extLst>
                  <a:ext uri="{FF2B5EF4-FFF2-40B4-BE49-F238E27FC236}">
                    <a16:creationId xmlns:a16="http://schemas.microsoft.com/office/drawing/2014/main" id="{96F275E0-3BAE-08D6-8A18-85C5B46B1070}"/>
                  </a:ext>
                </a:extLst>
              </p:cNvPr>
              <p:cNvSpPr/>
              <p:nvPr/>
            </p:nvSpPr>
            <p:spPr>
              <a:xfrm>
                <a:off x="16189482" y="3253540"/>
                <a:ext cx="9401" cy="118823"/>
              </a:xfrm>
              <a:custGeom>
                <a:avLst/>
                <a:gdLst>
                  <a:gd name="connsiteX0" fmla="*/ 8420 w 9401"/>
                  <a:gd name="connsiteY0" fmla="*/ 118275 h 118823"/>
                  <a:gd name="connsiteX1" fmla="*/ -976 w 9401"/>
                  <a:gd name="connsiteY1" fmla="*/ 108794 h 118823"/>
                  <a:gd name="connsiteX2" fmla="*/ -976 w 9401"/>
                  <a:gd name="connsiteY2" fmla="*/ 7989 h 118823"/>
                  <a:gd name="connsiteX3" fmla="*/ 3533 w 9401"/>
                  <a:gd name="connsiteY3" fmla="*/ -533 h 118823"/>
                  <a:gd name="connsiteX4" fmla="*/ 8071 w 9401"/>
                  <a:gd name="connsiteY4" fmla="*/ 9414 h 118823"/>
                  <a:gd name="connsiteX5" fmla="*/ 8391 w 9401"/>
                  <a:gd name="connsiteY5" fmla="*/ 118101 h 118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01" h="118823">
                    <a:moveTo>
                      <a:pt x="8420" y="118275"/>
                    </a:moveTo>
                    <a:cubicBezTo>
                      <a:pt x="1875" y="118479"/>
                      <a:pt x="-1005" y="115367"/>
                      <a:pt x="-976" y="108794"/>
                    </a:cubicBezTo>
                    <a:cubicBezTo>
                      <a:pt x="-976" y="75173"/>
                      <a:pt x="-976" y="41581"/>
                      <a:pt x="-976" y="7989"/>
                    </a:cubicBezTo>
                    <a:cubicBezTo>
                      <a:pt x="-976" y="4412"/>
                      <a:pt x="-1325" y="-736"/>
                      <a:pt x="3533" y="-533"/>
                    </a:cubicBezTo>
                    <a:cubicBezTo>
                      <a:pt x="9351" y="-271"/>
                      <a:pt x="8071" y="5546"/>
                      <a:pt x="8071" y="9414"/>
                    </a:cubicBezTo>
                    <a:cubicBezTo>
                      <a:pt x="8275" y="45653"/>
                      <a:pt x="8362" y="81891"/>
                      <a:pt x="8391" y="118101"/>
                    </a:cubicBezTo>
                    <a:close/>
                  </a:path>
                </a:pathLst>
              </a:custGeom>
              <a:solidFill>
                <a:srgbClr val="FCFDFD"/>
              </a:solidFill>
              <a:ln w="2907" cap="flat">
                <a:noFill/>
                <a:prstDash val="solid"/>
                <a:miter/>
              </a:ln>
            </p:spPr>
            <p:txBody>
              <a:bodyPr rtlCol="0" anchor="ctr"/>
              <a:lstStyle/>
              <a:p>
                <a:endParaRPr lang="en-US" sz="800"/>
              </a:p>
            </p:txBody>
          </p:sp>
          <p:sp>
            <p:nvSpPr>
              <p:cNvPr id="324" name="Graphic 38">
                <a:extLst>
                  <a:ext uri="{FF2B5EF4-FFF2-40B4-BE49-F238E27FC236}">
                    <a16:creationId xmlns:a16="http://schemas.microsoft.com/office/drawing/2014/main" id="{05959E73-A1C1-F76E-5087-E0DFC6697B34}"/>
                  </a:ext>
                </a:extLst>
              </p:cNvPr>
              <p:cNvSpPr/>
              <p:nvPr/>
            </p:nvSpPr>
            <p:spPr>
              <a:xfrm>
                <a:off x="16189458" y="3125639"/>
                <a:ext cx="9454" cy="120159"/>
              </a:xfrm>
              <a:custGeom>
                <a:avLst/>
                <a:gdLst>
                  <a:gd name="connsiteX0" fmla="*/ 8415 w 9454"/>
                  <a:gd name="connsiteY0" fmla="*/ 119603 h 120159"/>
                  <a:gd name="connsiteX1" fmla="*/ -981 w 9454"/>
                  <a:gd name="connsiteY1" fmla="*/ 108434 h 120159"/>
                  <a:gd name="connsiteX2" fmla="*/ -981 w 9454"/>
                  <a:gd name="connsiteY2" fmla="*/ 10538 h 120159"/>
                  <a:gd name="connsiteX3" fmla="*/ 8473 w 9454"/>
                  <a:gd name="connsiteY3" fmla="*/ -514 h 120159"/>
                  <a:gd name="connsiteX4" fmla="*/ 8473 w 9454"/>
                  <a:gd name="connsiteY4" fmla="*/ -311 h 120159"/>
                  <a:gd name="connsiteX5" fmla="*/ 8473 w 9454"/>
                  <a:gd name="connsiteY5" fmla="*/ 119399 h 12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4" h="120159">
                    <a:moveTo>
                      <a:pt x="8415" y="119603"/>
                    </a:moveTo>
                    <a:cubicBezTo>
                      <a:pt x="415" y="119952"/>
                      <a:pt x="-1010" y="115153"/>
                      <a:pt x="-981" y="108434"/>
                    </a:cubicBezTo>
                    <a:cubicBezTo>
                      <a:pt x="-835" y="75802"/>
                      <a:pt x="-835" y="43170"/>
                      <a:pt x="-981" y="10538"/>
                    </a:cubicBezTo>
                    <a:cubicBezTo>
                      <a:pt x="-981" y="3790"/>
                      <a:pt x="503" y="-921"/>
                      <a:pt x="8473" y="-514"/>
                    </a:cubicBezTo>
                    <a:lnTo>
                      <a:pt x="8473" y="-311"/>
                    </a:lnTo>
                    <a:lnTo>
                      <a:pt x="8473" y="119399"/>
                    </a:lnTo>
                    <a:close/>
                  </a:path>
                </a:pathLst>
              </a:custGeom>
              <a:solidFill>
                <a:srgbClr val="FCFDFD"/>
              </a:solidFill>
              <a:ln w="2907" cap="flat">
                <a:noFill/>
                <a:prstDash val="solid"/>
                <a:miter/>
              </a:ln>
            </p:spPr>
            <p:txBody>
              <a:bodyPr rtlCol="0" anchor="ctr"/>
              <a:lstStyle/>
              <a:p>
                <a:endParaRPr lang="en-US" sz="800"/>
              </a:p>
            </p:txBody>
          </p:sp>
          <p:sp>
            <p:nvSpPr>
              <p:cNvPr id="325" name="Graphic 38">
                <a:extLst>
                  <a:ext uri="{FF2B5EF4-FFF2-40B4-BE49-F238E27FC236}">
                    <a16:creationId xmlns:a16="http://schemas.microsoft.com/office/drawing/2014/main" id="{8D75203B-BCBB-01B5-3FDA-45BFADBD23FD}"/>
                  </a:ext>
                </a:extLst>
              </p:cNvPr>
              <p:cNvSpPr/>
              <p:nvPr/>
            </p:nvSpPr>
            <p:spPr>
              <a:xfrm>
                <a:off x="16173984" y="1980811"/>
                <a:ext cx="9251" cy="119066"/>
              </a:xfrm>
              <a:custGeom>
                <a:avLst/>
                <a:gdLst>
                  <a:gd name="connsiteX0" fmla="*/ -981 w 9251"/>
                  <a:gd name="connsiteY0" fmla="*/ 118202 h 119066"/>
                  <a:gd name="connsiteX1" fmla="*/ -981 w 9251"/>
                  <a:gd name="connsiteY1" fmla="*/ -228 h 119066"/>
                  <a:gd name="connsiteX2" fmla="*/ 8269 w 9251"/>
                  <a:gd name="connsiteY2" fmla="*/ 10155 h 119066"/>
                  <a:gd name="connsiteX3" fmla="*/ 8269 w 9251"/>
                  <a:gd name="connsiteY3" fmla="*/ 107819 h 119066"/>
                  <a:gd name="connsiteX4" fmla="*/ -981 w 9251"/>
                  <a:gd name="connsiteY4" fmla="*/ 118202 h 119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1" h="119066">
                    <a:moveTo>
                      <a:pt x="-981" y="118202"/>
                    </a:moveTo>
                    <a:cubicBezTo>
                      <a:pt x="-981" y="78735"/>
                      <a:pt x="-981" y="39268"/>
                      <a:pt x="-981" y="-228"/>
                    </a:cubicBezTo>
                    <a:cubicBezTo>
                      <a:pt x="7978" y="-1973"/>
                      <a:pt x="8298" y="3931"/>
                      <a:pt x="8269" y="10155"/>
                    </a:cubicBezTo>
                    <a:lnTo>
                      <a:pt x="8269" y="107819"/>
                    </a:lnTo>
                    <a:cubicBezTo>
                      <a:pt x="8240" y="114014"/>
                      <a:pt x="8036" y="120005"/>
                      <a:pt x="-981" y="118202"/>
                    </a:cubicBezTo>
                    <a:close/>
                  </a:path>
                </a:pathLst>
              </a:custGeom>
              <a:solidFill>
                <a:srgbClr val="FCFDFD"/>
              </a:solidFill>
              <a:ln w="2907" cap="flat">
                <a:noFill/>
                <a:prstDash val="solid"/>
                <a:miter/>
              </a:ln>
            </p:spPr>
            <p:txBody>
              <a:bodyPr rtlCol="0" anchor="ctr"/>
              <a:lstStyle/>
              <a:p>
                <a:endParaRPr lang="en-US" sz="800"/>
              </a:p>
            </p:txBody>
          </p:sp>
          <p:sp>
            <p:nvSpPr>
              <p:cNvPr id="326" name="Graphic 38">
                <a:extLst>
                  <a:ext uri="{FF2B5EF4-FFF2-40B4-BE49-F238E27FC236}">
                    <a16:creationId xmlns:a16="http://schemas.microsoft.com/office/drawing/2014/main" id="{B6AC218E-148C-B87F-63BC-AE48D4330C5B}"/>
                  </a:ext>
                </a:extLst>
              </p:cNvPr>
              <p:cNvSpPr/>
              <p:nvPr/>
            </p:nvSpPr>
            <p:spPr>
              <a:xfrm>
                <a:off x="14802940" y="1727567"/>
                <a:ext cx="8900" cy="119355"/>
              </a:xfrm>
              <a:custGeom>
                <a:avLst/>
                <a:gdLst>
                  <a:gd name="connsiteX0" fmla="*/ 7920 w 8900"/>
                  <a:gd name="connsiteY0" fmla="*/ -305 h 119355"/>
                  <a:gd name="connsiteX1" fmla="*/ 7920 w 8900"/>
                  <a:gd name="connsiteY1" fmla="*/ 118590 h 119355"/>
                  <a:gd name="connsiteX2" fmla="*/ -981 w 8900"/>
                  <a:gd name="connsiteY2" fmla="*/ 109370 h 119355"/>
                  <a:gd name="connsiteX3" fmla="*/ -981 w 8900"/>
                  <a:gd name="connsiteY3" fmla="*/ 8914 h 119355"/>
                  <a:gd name="connsiteX4" fmla="*/ 7920 w 8900"/>
                  <a:gd name="connsiteY4" fmla="*/ -305 h 1193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00" h="119355">
                    <a:moveTo>
                      <a:pt x="7920" y="-305"/>
                    </a:moveTo>
                    <a:lnTo>
                      <a:pt x="7920" y="118590"/>
                    </a:lnTo>
                    <a:cubicBezTo>
                      <a:pt x="386" y="119898"/>
                      <a:pt x="-981" y="115391"/>
                      <a:pt x="-981" y="109370"/>
                    </a:cubicBezTo>
                    <a:cubicBezTo>
                      <a:pt x="-981" y="75865"/>
                      <a:pt x="-981" y="42390"/>
                      <a:pt x="-981" y="8914"/>
                    </a:cubicBezTo>
                    <a:cubicBezTo>
                      <a:pt x="-952" y="2952"/>
                      <a:pt x="357" y="-1643"/>
                      <a:pt x="7920" y="-305"/>
                    </a:cubicBezTo>
                    <a:close/>
                  </a:path>
                </a:pathLst>
              </a:custGeom>
              <a:solidFill>
                <a:srgbClr val="FCFDFD"/>
              </a:solidFill>
              <a:ln w="2907" cap="flat">
                <a:noFill/>
                <a:prstDash val="solid"/>
                <a:miter/>
              </a:ln>
            </p:spPr>
            <p:txBody>
              <a:bodyPr rtlCol="0" anchor="ctr"/>
              <a:lstStyle/>
              <a:p>
                <a:endParaRPr lang="en-US" sz="800"/>
              </a:p>
            </p:txBody>
          </p:sp>
          <p:sp>
            <p:nvSpPr>
              <p:cNvPr id="327" name="Graphic 38">
                <a:extLst>
                  <a:ext uri="{FF2B5EF4-FFF2-40B4-BE49-F238E27FC236}">
                    <a16:creationId xmlns:a16="http://schemas.microsoft.com/office/drawing/2014/main" id="{F27509A8-908F-350A-3E9D-F4D7837CA627}"/>
                  </a:ext>
                </a:extLst>
              </p:cNvPr>
              <p:cNvSpPr/>
              <p:nvPr/>
            </p:nvSpPr>
            <p:spPr>
              <a:xfrm>
                <a:off x="14803051" y="2234762"/>
                <a:ext cx="9274" cy="117588"/>
              </a:xfrm>
              <a:custGeom>
                <a:avLst/>
                <a:gdLst>
                  <a:gd name="connsiteX0" fmla="*/ 8274 w 9274"/>
                  <a:gd name="connsiteY0" fmla="*/ 58154 h 117588"/>
                  <a:gd name="connsiteX1" fmla="*/ 8274 w 9274"/>
                  <a:gd name="connsiteY1" fmla="*/ 108527 h 117588"/>
                  <a:gd name="connsiteX2" fmla="*/ 3736 w 9274"/>
                  <a:gd name="connsiteY2" fmla="*/ 117049 h 117588"/>
                  <a:gd name="connsiteX3" fmla="*/ -976 w 9274"/>
                  <a:gd name="connsiteY3" fmla="*/ 108673 h 117588"/>
                  <a:gd name="connsiteX4" fmla="*/ -976 w 9274"/>
                  <a:gd name="connsiteY4" fmla="*/ 7984 h 117588"/>
                  <a:gd name="connsiteX5" fmla="*/ 3591 w 9274"/>
                  <a:gd name="connsiteY5" fmla="*/ -538 h 117588"/>
                  <a:gd name="connsiteX6" fmla="*/ 8245 w 9274"/>
                  <a:gd name="connsiteY6" fmla="*/ 7810 h 117588"/>
                  <a:gd name="connsiteX7" fmla="*/ 8274 w 9274"/>
                  <a:gd name="connsiteY7" fmla="*/ 58154 h 1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74" h="117588">
                    <a:moveTo>
                      <a:pt x="8274" y="58154"/>
                    </a:moveTo>
                    <a:cubicBezTo>
                      <a:pt x="8274" y="74936"/>
                      <a:pt x="8274" y="91746"/>
                      <a:pt x="8274" y="108527"/>
                    </a:cubicBezTo>
                    <a:cubicBezTo>
                      <a:pt x="8274" y="112076"/>
                      <a:pt x="8711" y="116962"/>
                      <a:pt x="3736" y="117049"/>
                    </a:cubicBezTo>
                    <a:cubicBezTo>
                      <a:pt x="-1238" y="117136"/>
                      <a:pt x="-976" y="112279"/>
                      <a:pt x="-976" y="108673"/>
                    </a:cubicBezTo>
                    <a:cubicBezTo>
                      <a:pt x="-976" y="75110"/>
                      <a:pt x="-976" y="41547"/>
                      <a:pt x="-976" y="7984"/>
                    </a:cubicBezTo>
                    <a:cubicBezTo>
                      <a:pt x="-976" y="4407"/>
                      <a:pt x="-1325" y="-450"/>
                      <a:pt x="3591" y="-538"/>
                    </a:cubicBezTo>
                    <a:cubicBezTo>
                      <a:pt x="8507" y="-625"/>
                      <a:pt x="8245" y="4291"/>
                      <a:pt x="8245" y="7810"/>
                    </a:cubicBezTo>
                    <a:cubicBezTo>
                      <a:pt x="8332" y="24591"/>
                      <a:pt x="8274" y="41373"/>
                      <a:pt x="8274" y="58154"/>
                    </a:cubicBezTo>
                    <a:close/>
                  </a:path>
                </a:pathLst>
              </a:custGeom>
              <a:solidFill>
                <a:srgbClr val="FCFDFD"/>
              </a:solidFill>
              <a:ln w="2907" cap="flat">
                <a:noFill/>
                <a:prstDash val="solid"/>
                <a:miter/>
              </a:ln>
            </p:spPr>
            <p:txBody>
              <a:bodyPr rtlCol="0" anchor="ctr"/>
              <a:lstStyle/>
              <a:p>
                <a:endParaRPr lang="en-US" sz="800"/>
              </a:p>
            </p:txBody>
          </p:sp>
          <p:sp>
            <p:nvSpPr>
              <p:cNvPr id="328" name="Graphic 38">
                <a:extLst>
                  <a:ext uri="{FF2B5EF4-FFF2-40B4-BE49-F238E27FC236}">
                    <a16:creationId xmlns:a16="http://schemas.microsoft.com/office/drawing/2014/main" id="{871FD1F7-4DDD-DEDE-312C-E7F96F688E37}"/>
                  </a:ext>
                </a:extLst>
              </p:cNvPr>
              <p:cNvSpPr/>
              <p:nvPr/>
            </p:nvSpPr>
            <p:spPr>
              <a:xfrm>
                <a:off x="15250122" y="1727558"/>
                <a:ext cx="8726" cy="119338"/>
              </a:xfrm>
              <a:custGeom>
                <a:avLst/>
                <a:gdLst>
                  <a:gd name="connsiteX0" fmla="*/ -981 w 8726"/>
                  <a:gd name="connsiteY0" fmla="*/ 118570 h 119338"/>
                  <a:gd name="connsiteX1" fmla="*/ -981 w 8726"/>
                  <a:gd name="connsiteY1" fmla="*/ -296 h 119338"/>
                  <a:gd name="connsiteX2" fmla="*/ 7745 w 8726"/>
                  <a:gd name="connsiteY2" fmla="*/ 8923 h 119338"/>
                  <a:gd name="connsiteX3" fmla="*/ 7745 w 8726"/>
                  <a:gd name="connsiteY3" fmla="*/ 109292 h 119338"/>
                  <a:gd name="connsiteX4" fmla="*/ -981 w 8726"/>
                  <a:gd name="connsiteY4" fmla="*/ 118570 h 1193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26" h="119338">
                    <a:moveTo>
                      <a:pt x="-981" y="118570"/>
                    </a:moveTo>
                    <a:cubicBezTo>
                      <a:pt x="-981" y="78958"/>
                      <a:pt x="-981" y="39345"/>
                      <a:pt x="-981" y="-296"/>
                    </a:cubicBezTo>
                    <a:cubicBezTo>
                      <a:pt x="6611" y="-1663"/>
                      <a:pt x="7745" y="2932"/>
                      <a:pt x="7745" y="8923"/>
                    </a:cubicBezTo>
                    <a:cubicBezTo>
                      <a:pt x="7745" y="42370"/>
                      <a:pt x="7745" y="75817"/>
                      <a:pt x="7745" y="109292"/>
                    </a:cubicBezTo>
                    <a:cubicBezTo>
                      <a:pt x="7745" y="115225"/>
                      <a:pt x="6553" y="119908"/>
                      <a:pt x="-981" y="118570"/>
                    </a:cubicBezTo>
                    <a:close/>
                  </a:path>
                </a:pathLst>
              </a:custGeom>
              <a:solidFill>
                <a:srgbClr val="FCFDFD"/>
              </a:solidFill>
              <a:ln w="2907" cap="flat">
                <a:noFill/>
                <a:prstDash val="solid"/>
                <a:miter/>
              </a:ln>
            </p:spPr>
            <p:txBody>
              <a:bodyPr rtlCol="0" anchor="ctr"/>
              <a:lstStyle/>
              <a:p>
                <a:endParaRPr lang="en-US" sz="800"/>
              </a:p>
            </p:txBody>
          </p:sp>
          <p:sp>
            <p:nvSpPr>
              <p:cNvPr id="329" name="Graphic 38">
                <a:extLst>
                  <a:ext uri="{FF2B5EF4-FFF2-40B4-BE49-F238E27FC236}">
                    <a16:creationId xmlns:a16="http://schemas.microsoft.com/office/drawing/2014/main" id="{70E3C4C3-77D4-29C6-7887-88A48AED36C3}"/>
                  </a:ext>
                </a:extLst>
              </p:cNvPr>
              <p:cNvSpPr/>
              <p:nvPr/>
            </p:nvSpPr>
            <p:spPr>
              <a:xfrm>
                <a:off x="15711679" y="1728430"/>
                <a:ext cx="9159" cy="117597"/>
              </a:xfrm>
              <a:custGeom>
                <a:avLst/>
                <a:gdLst>
                  <a:gd name="connsiteX0" fmla="*/ -927 w 9159"/>
                  <a:gd name="connsiteY0" fmla="*/ 57000 h 117597"/>
                  <a:gd name="connsiteX1" fmla="*/ -927 w 9159"/>
                  <a:gd name="connsiteY1" fmla="*/ 6656 h 117597"/>
                  <a:gd name="connsiteX2" fmla="*/ 3349 w 9159"/>
                  <a:gd name="connsiteY2" fmla="*/ -528 h 117597"/>
                  <a:gd name="connsiteX3" fmla="*/ 8178 w 9159"/>
                  <a:gd name="connsiteY3" fmla="*/ 6074 h 117597"/>
                  <a:gd name="connsiteX4" fmla="*/ 8178 w 9159"/>
                  <a:gd name="connsiteY4" fmla="*/ 109933 h 117597"/>
                  <a:gd name="connsiteX5" fmla="*/ 3873 w 9159"/>
                  <a:gd name="connsiteY5" fmla="*/ 117059 h 117597"/>
                  <a:gd name="connsiteX6" fmla="*/ -956 w 9159"/>
                  <a:gd name="connsiteY6" fmla="*/ 108915 h 117597"/>
                  <a:gd name="connsiteX7" fmla="*/ -927 w 9159"/>
                  <a:gd name="connsiteY7" fmla="*/ 57000 h 117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9" h="117597">
                    <a:moveTo>
                      <a:pt x="-927" y="57000"/>
                    </a:moveTo>
                    <a:cubicBezTo>
                      <a:pt x="-927" y="40219"/>
                      <a:pt x="-927" y="23437"/>
                      <a:pt x="-927" y="6656"/>
                    </a:cubicBezTo>
                    <a:cubicBezTo>
                      <a:pt x="-927" y="3515"/>
                      <a:pt x="-694" y="-295"/>
                      <a:pt x="3349" y="-528"/>
                    </a:cubicBezTo>
                    <a:cubicBezTo>
                      <a:pt x="7392" y="-761"/>
                      <a:pt x="8149" y="2875"/>
                      <a:pt x="8178" y="6074"/>
                    </a:cubicBezTo>
                    <a:cubicBezTo>
                      <a:pt x="8178" y="40684"/>
                      <a:pt x="8178" y="75294"/>
                      <a:pt x="8178" y="109933"/>
                    </a:cubicBezTo>
                    <a:cubicBezTo>
                      <a:pt x="8178" y="113074"/>
                      <a:pt x="7916" y="117029"/>
                      <a:pt x="3873" y="117059"/>
                    </a:cubicBezTo>
                    <a:cubicBezTo>
                      <a:pt x="-1392" y="117059"/>
                      <a:pt x="-927" y="112405"/>
                      <a:pt x="-956" y="108915"/>
                    </a:cubicBezTo>
                    <a:cubicBezTo>
                      <a:pt x="-1015" y="91610"/>
                      <a:pt x="-956" y="74305"/>
                      <a:pt x="-927" y="57000"/>
                    </a:cubicBezTo>
                    <a:close/>
                  </a:path>
                </a:pathLst>
              </a:custGeom>
              <a:solidFill>
                <a:srgbClr val="FCFDFD"/>
              </a:solidFill>
              <a:ln w="2907" cap="flat">
                <a:noFill/>
                <a:prstDash val="solid"/>
                <a:miter/>
              </a:ln>
            </p:spPr>
            <p:txBody>
              <a:bodyPr rtlCol="0" anchor="ctr"/>
              <a:lstStyle/>
              <a:p>
                <a:endParaRPr lang="en-US" sz="800"/>
              </a:p>
            </p:txBody>
          </p:sp>
          <p:sp>
            <p:nvSpPr>
              <p:cNvPr id="330" name="Graphic 38">
                <a:extLst>
                  <a:ext uri="{FF2B5EF4-FFF2-40B4-BE49-F238E27FC236}">
                    <a16:creationId xmlns:a16="http://schemas.microsoft.com/office/drawing/2014/main" id="{F1DEDACB-89C6-3E97-7C1F-C14AAC94B041}"/>
                  </a:ext>
                </a:extLst>
              </p:cNvPr>
              <p:cNvSpPr/>
              <p:nvPr/>
            </p:nvSpPr>
            <p:spPr>
              <a:xfrm>
                <a:off x="15727290" y="1727005"/>
                <a:ext cx="9430" cy="120399"/>
              </a:xfrm>
              <a:custGeom>
                <a:avLst/>
                <a:gdLst>
                  <a:gd name="connsiteX0" fmla="*/ 8449 w 9430"/>
                  <a:gd name="connsiteY0" fmla="*/ -528 h 120399"/>
                  <a:gd name="connsiteX1" fmla="*/ 8449 w 9430"/>
                  <a:gd name="connsiteY1" fmla="*/ 119850 h 120399"/>
                  <a:gd name="connsiteX2" fmla="*/ -976 w 9430"/>
                  <a:gd name="connsiteY2" fmla="*/ 108624 h 120399"/>
                  <a:gd name="connsiteX3" fmla="*/ -976 w 9430"/>
                  <a:gd name="connsiteY3" fmla="*/ 10611 h 120399"/>
                  <a:gd name="connsiteX4" fmla="*/ 8449 w 9430"/>
                  <a:gd name="connsiteY4" fmla="*/ -528 h 120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0" h="120399">
                    <a:moveTo>
                      <a:pt x="8449" y="-528"/>
                    </a:moveTo>
                    <a:lnTo>
                      <a:pt x="8449" y="119850"/>
                    </a:lnTo>
                    <a:cubicBezTo>
                      <a:pt x="537" y="120112"/>
                      <a:pt x="-1005" y="115400"/>
                      <a:pt x="-976" y="108624"/>
                    </a:cubicBezTo>
                    <a:cubicBezTo>
                      <a:pt x="-830" y="75963"/>
                      <a:pt x="-830" y="43272"/>
                      <a:pt x="-976" y="10611"/>
                    </a:cubicBezTo>
                    <a:cubicBezTo>
                      <a:pt x="-1092" y="3922"/>
                      <a:pt x="508" y="-790"/>
                      <a:pt x="8449" y="-528"/>
                    </a:cubicBezTo>
                    <a:close/>
                  </a:path>
                </a:pathLst>
              </a:custGeom>
              <a:solidFill>
                <a:srgbClr val="FCFDFD"/>
              </a:solidFill>
              <a:ln w="2907" cap="flat">
                <a:noFill/>
                <a:prstDash val="solid"/>
                <a:miter/>
              </a:ln>
            </p:spPr>
            <p:txBody>
              <a:bodyPr rtlCol="0" anchor="ctr"/>
              <a:lstStyle/>
              <a:p>
                <a:endParaRPr lang="en-US" sz="800"/>
              </a:p>
            </p:txBody>
          </p:sp>
          <p:sp>
            <p:nvSpPr>
              <p:cNvPr id="331" name="Graphic 38">
                <a:extLst>
                  <a:ext uri="{FF2B5EF4-FFF2-40B4-BE49-F238E27FC236}">
                    <a16:creationId xmlns:a16="http://schemas.microsoft.com/office/drawing/2014/main" id="{87197C08-D05E-659F-9CF4-44E82F211884}"/>
                  </a:ext>
                </a:extLst>
              </p:cNvPr>
              <p:cNvSpPr/>
              <p:nvPr/>
            </p:nvSpPr>
            <p:spPr>
              <a:xfrm>
                <a:off x="15711725" y="2870625"/>
                <a:ext cx="9313" cy="117588"/>
              </a:xfrm>
              <a:custGeom>
                <a:avLst/>
                <a:gdLst>
                  <a:gd name="connsiteX0" fmla="*/ 8306 w 9313"/>
                  <a:gd name="connsiteY0" fmla="*/ 58154 h 117588"/>
                  <a:gd name="connsiteX1" fmla="*/ 8306 w 9313"/>
                  <a:gd name="connsiteY1" fmla="*/ 108527 h 117588"/>
                  <a:gd name="connsiteX2" fmla="*/ 3740 w 9313"/>
                  <a:gd name="connsiteY2" fmla="*/ 117049 h 117588"/>
                  <a:gd name="connsiteX3" fmla="*/ -973 w 9313"/>
                  <a:gd name="connsiteY3" fmla="*/ 108702 h 117588"/>
                  <a:gd name="connsiteX4" fmla="*/ -973 w 9313"/>
                  <a:gd name="connsiteY4" fmla="*/ 7984 h 117588"/>
                  <a:gd name="connsiteX5" fmla="*/ 3565 w 9313"/>
                  <a:gd name="connsiteY5" fmla="*/ -538 h 117588"/>
                  <a:gd name="connsiteX6" fmla="*/ 8306 w 9313"/>
                  <a:gd name="connsiteY6" fmla="*/ 7810 h 117588"/>
                  <a:gd name="connsiteX7" fmla="*/ 8306 w 9313"/>
                  <a:gd name="connsiteY7" fmla="*/ 58154 h 1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3" h="117588">
                    <a:moveTo>
                      <a:pt x="8306" y="58154"/>
                    </a:moveTo>
                    <a:cubicBezTo>
                      <a:pt x="8306" y="74965"/>
                      <a:pt x="8306" y="91746"/>
                      <a:pt x="8306" y="108527"/>
                    </a:cubicBezTo>
                    <a:cubicBezTo>
                      <a:pt x="8306" y="112105"/>
                      <a:pt x="8655" y="116962"/>
                      <a:pt x="3740" y="117049"/>
                    </a:cubicBezTo>
                    <a:cubicBezTo>
                      <a:pt x="-1176" y="117136"/>
                      <a:pt x="-973" y="112279"/>
                      <a:pt x="-973" y="108702"/>
                    </a:cubicBezTo>
                    <a:cubicBezTo>
                      <a:pt x="-973" y="75139"/>
                      <a:pt x="-973" y="41576"/>
                      <a:pt x="-973" y="7984"/>
                    </a:cubicBezTo>
                    <a:cubicBezTo>
                      <a:pt x="-973" y="4407"/>
                      <a:pt x="-1380" y="-450"/>
                      <a:pt x="3565" y="-538"/>
                    </a:cubicBezTo>
                    <a:cubicBezTo>
                      <a:pt x="8510" y="-624"/>
                      <a:pt x="8278" y="4232"/>
                      <a:pt x="8306" y="7810"/>
                    </a:cubicBezTo>
                    <a:cubicBezTo>
                      <a:pt x="8364" y="24678"/>
                      <a:pt x="8306" y="41460"/>
                      <a:pt x="8306" y="58154"/>
                    </a:cubicBezTo>
                    <a:close/>
                  </a:path>
                </a:pathLst>
              </a:custGeom>
              <a:solidFill>
                <a:srgbClr val="FCFDFD"/>
              </a:solidFill>
              <a:ln w="2907" cap="flat">
                <a:noFill/>
                <a:prstDash val="solid"/>
                <a:miter/>
              </a:ln>
            </p:spPr>
            <p:txBody>
              <a:bodyPr rtlCol="0" anchor="ctr"/>
              <a:lstStyle/>
              <a:p>
                <a:endParaRPr lang="en-US" sz="800"/>
              </a:p>
            </p:txBody>
          </p:sp>
          <p:sp>
            <p:nvSpPr>
              <p:cNvPr id="332" name="Graphic 38">
                <a:extLst>
                  <a:ext uri="{FF2B5EF4-FFF2-40B4-BE49-F238E27FC236}">
                    <a16:creationId xmlns:a16="http://schemas.microsoft.com/office/drawing/2014/main" id="{17B004EE-6FFF-ECD1-015C-A05DF37FBF53}"/>
                  </a:ext>
                </a:extLst>
              </p:cNvPr>
              <p:cNvSpPr/>
              <p:nvPr/>
            </p:nvSpPr>
            <p:spPr>
              <a:xfrm>
                <a:off x="15727383" y="1980475"/>
                <a:ext cx="9046" cy="119687"/>
              </a:xfrm>
              <a:custGeom>
                <a:avLst/>
                <a:gdLst>
                  <a:gd name="connsiteX0" fmla="*/ 7745 w 9046"/>
                  <a:gd name="connsiteY0" fmla="*/ 119091 h 119687"/>
                  <a:gd name="connsiteX1" fmla="*/ -981 w 9046"/>
                  <a:gd name="connsiteY1" fmla="*/ 107835 h 119687"/>
                  <a:gd name="connsiteX2" fmla="*/ -981 w 9046"/>
                  <a:gd name="connsiteY2" fmla="*/ 10607 h 119687"/>
                  <a:gd name="connsiteX3" fmla="*/ 8065 w 9046"/>
                  <a:gd name="connsiteY3" fmla="*/ -503 h 119687"/>
                  <a:gd name="connsiteX4" fmla="*/ 7745 w 9046"/>
                  <a:gd name="connsiteY4" fmla="*/ 119091 h 11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46" h="119687">
                    <a:moveTo>
                      <a:pt x="7745" y="119091"/>
                    </a:moveTo>
                    <a:cubicBezTo>
                      <a:pt x="-981" y="119789"/>
                      <a:pt x="-981" y="114030"/>
                      <a:pt x="-981" y="107835"/>
                    </a:cubicBezTo>
                    <a:cubicBezTo>
                      <a:pt x="-981" y="75436"/>
                      <a:pt x="-981" y="43036"/>
                      <a:pt x="-981" y="10607"/>
                    </a:cubicBezTo>
                    <a:cubicBezTo>
                      <a:pt x="-981" y="4209"/>
                      <a:pt x="-341" y="-1026"/>
                      <a:pt x="8065" y="-503"/>
                    </a:cubicBezTo>
                    <a:cubicBezTo>
                      <a:pt x="7919" y="39342"/>
                      <a:pt x="7804" y="79217"/>
                      <a:pt x="7745" y="119091"/>
                    </a:cubicBezTo>
                    <a:close/>
                  </a:path>
                </a:pathLst>
              </a:custGeom>
              <a:solidFill>
                <a:srgbClr val="FCFDFD"/>
              </a:solidFill>
              <a:ln w="2907" cap="flat">
                <a:noFill/>
                <a:prstDash val="solid"/>
                <a:miter/>
              </a:ln>
            </p:spPr>
            <p:txBody>
              <a:bodyPr rtlCol="0" anchor="ctr"/>
              <a:lstStyle/>
              <a:p>
                <a:endParaRPr lang="en-US" sz="800"/>
              </a:p>
            </p:txBody>
          </p:sp>
          <p:sp>
            <p:nvSpPr>
              <p:cNvPr id="333" name="Graphic 38">
                <a:extLst>
                  <a:ext uri="{FF2B5EF4-FFF2-40B4-BE49-F238E27FC236}">
                    <a16:creationId xmlns:a16="http://schemas.microsoft.com/office/drawing/2014/main" id="{126F876C-6D23-3852-3441-636461346D50}"/>
                  </a:ext>
                </a:extLst>
              </p:cNvPr>
              <p:cNvSpPr/>
              <p:nvPr/>
            </p:nvSpPr>
            <p:spPr>
              <a:xfrm>
                <a:off x="14802969" y="2869654"/>
                <a:ext cx="9250" cy="119577"/>
              </a:xfrm>
              <a:custGeom>
                <a:avLst/>
                <a:gdLst>
                  <a:gd name="connsiteX0" fmla="*/ 8269 w 9250"/>
                  <a:gd name="connsiteY0" fmla="*/ -409 h 119577"/>
                  <a:gd name="connsiteX1" fmla="*/ 8065 w 9250"/>
                  <a:gd name="connsiteY1" fmla="*/ 118835 h 119577"/>
                  <a:gd name="connsiteX2" fmla="*/ -981 w 9250"/>
                  <a:gd name="connsiteY2" fmla="*/ 108074 h 119577"/>
                  <a:gd name="connsiteX3" fmla="*/ -981 w 9250"/>
                  <a:gd name="connsiteY3" fmla="*/ 10497 h 119577"/>
                  <a:gd name="connsiteX4" fmla="*/ 8269 w 9250"/>
                  <a:gd name="connsiteY4" fmla="*/ -409 h 119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0" h="119577">
                    <a:moveTo>
                      <a:pt x="8269" y="-409"/>
                    </a:moveTo>
                    <a:cubicBezTo>
                      <a:pt x="8269" y="39319"/>
                      <a:pt x="8210" y="79077"/>
                      <a:pt x="8065" y="118835"/>
                    </a:cubicBezTo>
                    <a:cubicBezTo>
                      <a:pt x="-894" y="120231"/>
                      <a:pt x="-981" y="114210"/>
                      <a:pt x="-981" y="108074"/>
                    </a:cubicBezTo>
                    <a:cubicBezTo>
                      <a:pt x="-981" y="75558"/>
                      <a:pt x="-981" y="43042"/>
                      <a:pt x="-981" y="10497"/>
                    </a:cubicBezTo>
                    <a:cubicBezTo>
                      <a:pt x="-981" y="4011"/>
                      <a:pt x="-254" y="-1456"/>
                      <a:pt x="8269" y="-409"/>
                    </a:cubicBezTo>
                    <a:close/>
                  </a:path>
                </a:pathLst>
              </a:custGeom>
              <a:solidFill>
                <a:srgbClr val="FCFDFD"/>
              </a:solidFill>
              <a:ln w="2907" cap="flat">
                <a:noFill/>
                <a:prstDash val="solid"/>
                <a:miter/>
              </a:ln>
            </p:spPr>
            <p:txBody>
              <a:bodyPr rtlCol="0" anchor="ctr"/>
              <a:lstStyle/>
              <a:p>
                <a:endParaRPr lang="en-US" sz="800"/>
              </a:p>
            </p:txBody>
          </p:sp>
          <p:sp>
            <p:nvSpPr>
              <p:cNvPr id="334" name="Graphic 38">
                <a:extLst>
                  <a:ext uri="{FF2B5EF4-FFF2-40B4-BE49-F238E27FC236}">
                    <a16:creationId xmlns:a16="http://schemas.microsoft.com/office/drawing/2014/main" id="{C94A0B3C-57DC-22EB-A3F0-768D70CC59A4}"/>
                  </a:ext>
                </a:extLst>
              </p:cNvPr>
              <p:cNvSpPr/>
              <p:nvPr/>
            </p:nvSpPr>
            <p:spPr>
              <a:xfrm>
                <a:off x="15736110" y="1967453"/>
                <a:ext cx="3810" cy="360815"/>
              </a:xfrm>
              <a:custGeom>
                <a:avLst/>
                <a:gdLst>
                  <a:gd name="connsiteX0" fmla="*/ -981 w 3810"/>
                  <a:gd name="connsiteY0" fmla="*/ 132113 h 360815"/>
                  <a:gd name="connsiteX1" fmla="*/ -749 w 3810"/>
                  <a:gd name="connsiteY1" fmla="*/ 12520 h 360815"/>
                  <a:gd name="connsiteX2" fmla="*/ -545 w 3810"/>
                  <a:gd name="connsiteY2" fmla="*/ 5831 h 360815"/>
                  <a:gd name="connsiteX3" fmla="*/ 2160 w 3810"/>
                  <a:gd name="connsiteY3" fmla="*/ -539 h 360815"/>
                  <a:gd name="connsiteX4" fmla="*/ 2829 w 3810"/>
                  <a:gd name="connsiteY4" fmla="*/ 360277 h 360815"/>
                  <a:gd name="connsiteX5" fmla="*/ 95 w 3810"/>
                  <a:gd name="connsiteY5" fmla="*/ 320257 h 360815"/>
                  <a:gd name="connsiteX6" fmla="*/ -662 w 3810"/>
                  <a:gd name="connsiteY6" fmla="*/ 265492 h 360815"/>
                  <a:gd name="connsiteX7" fmla="*/ -662 w 3810"/>
                  <a:gd name="connsiteY7" fmla="*/ 258861 h 360815"/>
                  <a:gd name="connsiteX8" fmla="*/ -662 w 3810"/>
                  <a:gd name="connsiteY8" fmla="*/ 142264 h 360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10" h="360815">
                    <a:moveTo>
                      <a:pt x="-981" y="132113"/>
                    </a:moveTo>
                    <a:cubicBezTo>
                      <a:pt x="-981" y="92239"/>
                      <a:pt x="-894" y="52365"/>
                      <a:pt x="-749" y="12520"/>
                    </a:cubicBezTo>
                    <a:cubicBezTo>
                      <a:pt x="-749" y="10280"/>
                      <a:pt x="-749" y="8070"/>
                      <a:pt x="-545" y="5831"/>
                    </a:cubicBezTo>
                    <a:lnTo>
                      <a:pt x="2160" y="-539"/>
                    </a:lnTo>
                    <a:cubicBezTo>
                      <a:pt x="2364" y="119665"/>
                      <a:pt x="2567" y="239957"/>
                      <a:pt x="2829" y="360277"/>
                    </a:cubicBezTo>
                    <a:cubicBezTo>
                      <a:pt x="-3250" y="347306"/>
                      <a:pt x="705" y="333607"/>
                      <a:pt x="95" y="320257"/>
                    </a:cubicBezTo>
                    <a:cubicBezTo>
                      <a:pt x="-720" y="302022"/>
                      <a:pt x="-458" y="283728"/>
                      <a:pt x="-662" y="265492"/>
                    </a:cubicBezTo>
                    <a:cubicBezTo>
                      <a:pt x="-662" y="263282"/>
                      <a:pt x="-662" y="261072"/>
                      <a:pt x="-662" y="258861"/>
                    </a:cubicBezTo>
                    <a:cubicBezTo>
                      <a:pt x="-662" y="220092"/>
                      <a:pt x="-662" y="181207"/>
                      <a:pt x="-662" y="142264"/>
                    </a:cubicBezTo>
                    <a:close/>
                  </a:path>
                </a:pathLst>
              </a:custGeom>
              <a:solidFill>
                <a:srgbClr val="B7BDCB"/>
              </a:solidFill>
              <a:ln w="2907" cap="flat">
                <a:noFill/>
                <a:prstDash val="solid"/>
                <a:miter/>
              </a:ln>
            </p:spPr>
            <p:txBody>
              <a:bodyPr rtlCol="0" anchor="ctr"/>
              <a:lstStyle/>
              <a:p>
                <a:endParaRPr lang="en-US" sz="800"/>
              </a:p>
            </p:txBody>
          </p:sp>
          <p:sp>
            <p:nvSpPr>
              <p:cNvPr id="335" name="Graphic 38">
                <a:extLst>
                  <a:ext uri="{FF2B5EF4-FFF2-40B4-BE49-F238E27FC236}">
                    <a16:creationId xmlns:a16="http://schemas.microsoft.com/office/drawing/2014/main" id="{E249AF59-B3D3-3D54-D1AB-E7AE28B92725}"/>
                  </a:ext>
                </a:extLst>
              </p:cNvPr>
              <p:cNvSpPr/>
              <p:nvPr/>
            </p:nvSpPr>
            <p:spPr>
              <a:xfrm>
                <a:off x="15265095" y="1728410"/>
                <a:ext cx="9187" cy="117647"/>
              </a:xfrm>
              <a:custGeom>
                <a:avLst/>
                <a:gdLst>
                  <a:gd name="connsiteX0" fmla="*/ -915 w 9187"/>
                  <a:gd name="connsiteY0" fmla="*/ 58212 h 117647"/>
                  <a:gd name="connsiteX1" fmla="*/ -915 w 9187"/>
                  <a:gd name="connsiteY1" fmla="*/ 7839 h 117647"/>
                  <a:gd name="connsiteX2" fmla="*/ 3768 w 9187"/>
                  <a:gd name="connsiteY2" fmla="*/ -538 h 117647"/>
                  <a:gd name="connsiteX3" fmla="*/ 8190 w 9187"/>
                  <a:gd name="connsiteY3" fmla="*/ 8013 h 117647"/>
                  <a:gd name="connsiteX4" fmla="*/ 8190 w 9187"/>
                  <a:gd name="connsiteY4" fmla="*/ 108731 h 117647"/>
                  <a:gd name="connsiteX5" fmla="*/ 3623 w 9187"/>
                  <a:gd name="connsiteY5" fmla="*/ 117107 h 117647"/>
                  <a:gd name="connsiteX6" fmla="*/ -973 w 9187"/>
                  <a:gd name="connsiteY6" fmla="*/ 108556 h 117647"/>
                  <a:gd name="connsiteX7" fmla="*/ -915 w 9187"/>
                  <a:gd name="connsiteY7" fmla="*/ 58212 h 11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87" h="117647">
                    <a:moveTo>
                      <a:pt x="-915" y="58212"/>
                    </a:moveTo>
                    <a:cubicBezTo>
                      <a:pt x="-915" y="41431"/>
                      <a:pt x="-915" y="24649"/>
                      <a:pt x="-915" y="7839"/>
                    </a:cubicBezTo>
                    <a:cubicBezTo>
                      <a:pt x="-915" y="4261"/>
                      <a:pt x="-1177" y="-624"/>
                      <a:pt x="3768" y="-538"/>
                    </a:cubicBezTo>
                    <a:cubicBezTo>
                      <a:pt x="8713" y="-450"/>
                      <a:pt x="8190" y="4494"/>
                      <a:pt x="8190" y="8013"/>
                    </a:cubicBezTo>
                    <a:cubicBezTo>
                      <a:pt x="8190" y="41576"/>
                      <a:pt x="8190" y="75139"/>
                      <a:pt x="8190" y="108731"/>
                    </a:cubicBezTo>
                    <a:cubicBezTo>
                      <a:pt x="8190" y="112250"/>
                      <a:pt x="8713" y="117194"/>
                      <a:pt x="3623" y="117107"/>
                    </a:cubicBezTo>
                    <a:cubicBezTo>
                      <a:pt x="-1468" y="117020"/>
                      <a:pt x="-944" y="112134"/>
                      <a:pt x="-973" y="108556"/>
                    </a:cubicBezTo>
                    <a:cubicBezTo>
                      <a:pt x="-1003" y="91775"/>
                      <a:pt x="-944" y="74994"/>
                      <a:pt x="-915" y="58212"/>
                    </a:cubicBezTo>
                    <a:close/>
                  </a:path>
                </a:pathLst>
              </a:custGeom>
              <a:solidFill>
                <a:srgbClr val="FCFDFD"/>
              </a:solidFill>
              <a:ln w="2907" cap="flat">
                <a:noFill/>
                <a:prstDash val="solid"/>
                <a:miter/>
              </a:ln>
            </p:spPr>
            <p:txBody>
              <a:bodyPr rtlCol="0" anchor="ctr"/>
              <a:lstStyle/>
              <a:p>
                <a:endParaRPr lang="en-US" sz="800"/>
              </a:p>
            </p:txBody>
          </p:sp>
          <p:sp>
            <p:nvSpPr>
              <p:cNvPr id="336" name="Graphic 38">
                <a:extLst>
                  <a:ext uri="{FF2B5EF4-FFF2-40B4-BE49-F238E27FC236}">
                    <a16:creationId xmlns:a16="http://schemas.microsoft.com/office/drawing/2014/main" id="{E905140B-5D1B-ED3D-CE33-D3FB73EB4499}"/>
                  </a:ext>
                </a:extLst>
              </p:cNvPr>
              <p:cNvSpPr/>
              <p:nvPr/>
            </p:nvSpPr>
            <p:spPr>
              <a:xfrm>
                <a:off x="14787440" y="2744252"/>
                <a:ext cx="9225" cy="117124"/>
              </a:xfrm>
              <a:custGeom>
                <a:avLst/>
                <a:gdLst>
                  <a:gd name="connsiteX0" fmla="*/ -811 w 9225"/>
                  <a:gd name="connsiteY0" fmla="*/ 58069 h 117124"/>
                  <a:gd name="connsiteX1" fmla="*/ -811 w 9225"/>
                  <a:gd name="connsiteY1" fmla="*/ 9034 h 117124"/>
                  <a:gd name="connsiteX2" fmla="*/ 4018 w 9225"/>
                  <a:gd name="connsiteY2" fmla="*/ -535 h 117124"/>
                  <a:gd name="connsiteX3" fmla="*/ 8206 w 9225"/>
                  <a:gd name="connsiteY3" fmla="*/ 8190 h 117124"/>
                  <a:gd name="connsiteX4" fmla="*/ 8206 w 9225"/>
                  <a:gd name="connsiteY4" fmla="*/ 107861 h 117124"/>
                  <a:gd name="connsiteX5" fmla="*/ 3960 w 9225"/>
                  <a:gd name="connsiteY5" fmla="*/ 116586 h 117124"/>
                  <a:gd name="connsiteX6" fmla="*/ -840 w 9225"/>
                  <a:gd name="connsiteY6" fmla="*/ 106959 h 117124"/>
                  <a:gd name="connsiteX7" fmla="*/ -811 w 9225"/>
                  <a:gd name="connsiteY7" fmla="*/ 58069 h 11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5" h="117124">
                    <a:moveTo>
                      <a:pt x="-811" y="58069"/>
                    </a:moveTo>
                    <a:cubicBezTo>
                      <a:pt x="-811" y="41724"/>
                      <a:pt x="-811" y="25379"/>
                      <a:pt x="-811" y="9034"/>
                    </a:cubicBezTo>
                    <a:cubicBezTo>
                      <a:pt x="-811" y="5282"/>
                      <a:pt x="-2382" y="-709"/>
                      <a:pt x="4018" y="-535"/>
                    </a:cubicBezTo>
                    <a:cubicBezTo>
                      <a:pt x="8934" y="-389"/>
                      <a:pt x="8206" y="4816"/>
                      <a:pt x="8206" y="8190"/>
                    </a:cubicBezTo>
                    <a:cubicBezTo>
                      <a:pt x="8206" y="41433"/>
                      <a:pt x="8206" y="74647"/>
                      <a:pt x="8206" y="107861"/>
                    </a:cubicBezTo>
                    <a:cubicBezTo>
                      <a:pt x="8206" y="111380"/>
                      <a:pt x="8846" y="116586"/>
                      <a:pt x="3960" y="116586"/>
                    </a:cubicBezTo>
                    <a:cubicBezTo>
                      <a:pt x="-2382" y="116586"/>
                      <a:pt x="-782" y="110769"/>
                      <a:pt x="-840" y="106959"/>
                    </a:cubicBezTo>
                    <a:cubicBezTo>
                      <a:pt x="-1073" y="90789"/>
                      <a:pt x="-811" y="74444"/>
                      <a:pt x="-811" y="58069"/>
                    </a:cubicBezTo>
                    <a:close/>
                  </a:path>
                </a:pathLst>
              </a:custGeom>
              <a:solidFill>
                <a:srgbClr val="FCFDFD"/>
              </a:solidFill>
              <a:ln w="2907" cap="flat">
                <a:noFill/>
                <a:prstDash val="solid"/>
                <a:miter/>
              </a:ln>
            </p:spPr>
            <p:txBody>
              <a:bodyPr rtlCol="0" anchor="ctr"/>
              <a:lstStyle/>
              <a:p>
                <a:endParaRPr lang="en-US" sz="800"/>
              </a:p>
            </p:txBody>
          </p:sp>
          <p:sp>
            <p:nvSpPr>
              <p:cNvPr id="337" name="Graphic 38">
                <a:extLst>
                  <a:ext uri="{FF2B5EF4-FFF2-40B4-BE49-F238E27FC236}">
                    <a16:creationId xmlns:a16="http://schemas.microsoft.com/office/drawing/2014/main" id="{74D4823B-ABD0-F2D4-1A39-1909B4640942}"/>
                  </a:ext>
                </a:extLst>
              </p:cNvPr>
              <p:cNvSpPr/>
              <p:nvPr/>
            </p:nvSpPr>
            <p:spPr>
              <a:xfrm>
                <a:off x="14787515" y="1855014"/>
                <a:ext cx="9155" cy="117615"/>
              </a:xfrm>
              <a:custGeom>
                <a:avLst/>
                <a:gdLst>
                  <a:gd name="connsiteX0" fmla="*/ 8161 w 9155"/>
                  <a:gd name="connsiteY0" fmla="*/ 58269 h 117615"/>
                  <a:gd name="connsiteX1" fmla="*/ 8161 w 9155"/>
                  <a:gd name="connsiteY1" fmla="*/ 108584 h 117615"/>
                  <a:gd name="connsiteX2" fmla="*/ 3565 w 9155"/>
                  <a:gd name="connsiteY2" fmla="*/ 117077 h 117615"/>
                  <a:gd name="connsiteX3" fmla="*/ -973 w 9155"/>
                  <a:gd name="connsiteY3" fmla="*/ 108614 h 117615"/>
                  <a:gd name="connsiteX4" fmla="*/ -973 w 9155"/>
                  <a:gd name="connsiteY4" fmla="*/ 7954 h 117615"/>
                  <a:gd name="connsiteX5" fmla="*/ 3565 w 9155"/>
                  <a:gd name="connsiteY5" fmla="*/ -539 h 117615"/>
                  <a:gd name="connsiteX6" fmla="*/ 8161 w 9155"/>
                  <a:gd name="connsiteY6" fmla="*/ 7925 h 117615"/>
                  <a:gd name="connsiteX7" fmla="*/ 8161 w 9155"/>
                  <a:gd name="connsiteY7" fmla="*/ 58269 h 117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55" h="117615">
                    <a:moveTo>
                      <a:pt x="8161" y="58269"/>
                    </a:moveTo>
                    <a:cubicBezTo>
                      <a:pt x="8161" y="75051"/>
                      <a:pt x="8161" y="91803"/>
                      <a:pt x="8161" y="108584"/>
                    </a:cubicBezTo>
                    <a:cubicBezTo>
                      <a:pt x="8161" y="112162"/>
                      <a:pt x="8481" y="117048"/>
                      <a:pt x="3565" y="117077"/>
                    </a:cubicBezTo>
                    <a:cubicBezTo>
                      <a:pt x="-1351" y="117106"/>
                      <a:pt x="-973" y="112162"/>
                      <a:pt x="-973" y="108614"/>
                    </a:cubicBezTo>
                    <a:cubicBezTo>
                      <a:pt x="-973" y="75080"/>
                      <a:pt x="-973" y="41517"/>
                      <a:pt x="-973" y="7954"/>
                    </a:cubicBezTo>
                    <a:cubicBezTo>
                      <a:pt x="-973" y="4377"/>
                      <a:pt x="-1380" y="-539"/>
                      <a:pt x="3565" y="-539"/>
                    </a:cubicBezTo>
                    <a:cubicBezTo>
                      <a:pt x="8510" y="-539"/>
                      <a:pt x="8161" y="4318"/>
                      <a:pt x="8161" y="7925"/>
                    </a:cubicBezTo>
                    <a:cubicBezTo>
                      <a:pt x="8190" y="24706"/>
                      <a:pt x="8161" y="41488"/>
                      <a:pt x="8161" y="58269"/>
                    </a:cubicBezTo>
                    <a:close/>
                  </a:path>
                </a:pathLst>
              </a:custGeom>
              <a:solidFill>
                <a:srgbClr val="FCFDFD"/>
              </a:solidFill>
              <a:ln w="2907" cap="flat">
                <a:noFill/>
                <a:prstDash val="solid"/>
                <a:miter/>
              </a:ln>
            </p:spPr>
            <p:txBody>
              <a:bodyPr rtlCol="0" anchor="ctr"/>
              <a:lstStyle/>
              <a:p>
                <a:endParaRPr lang="en-US" sz="800"/>
              </a:p>
            </p:txBody>
          </p:sp>
          <p:sp>
            <p:nvSpPr>
              <p:cNvPr id="338" name="Graphic 38">
                <a:extLst>
                  <a:ext uri="{FF2B5EF4-FFF2-40B4-BE49-F238E27FC236}">
                    <a16:creationId xmlns:a16="http://schemas.microsoft.com/office/drawing/2014/main" id="{5CCAE3F9-8D45-CA40-1EF7-DDD955772522}"/>
                  </a:ext>
                </a:extLst>
              </p:cNvPr>
              <p:cNvSpPr/>
              <p:nvPr/>
            </p:nvSpPr>
            <p:spPr>
              <a:xfrm>
                <a:off x="17098340" y="1854053"/>
                <a:ext cx="9191" cy="119558"/>
              </a:xfrm>
              <a:custGeom>
                <a:avLst/>
                <a:gdLst>
                  <a:gd name="connsiteX0" fmla="*/ -981 w 9191"/>
                  <a:gd name="connsiteY0" fmla="*/ 118852 h 119558"/>
                  <a:gd name="connsiteX1" fmla="*/ -981 w 9191"/>
                  <a:gd name="connsiteY1" fmla="*/ -392 h 119558"/>
                  <a:gd name="connsiteX2" fmla="*/ 8210 w 9191"/>
                  <a:gd name="connsiteY2" fmla="*/ 10428 h 119558"/>
                  <a:gd name="connsiteX3" fmla="*/ 8210 w 9191"/>
                  <a:gd name="connsiteY3" fmla="*/ 108150 h 119558"/>
                  <a:gd name="connsiteX4" fmla="*/ -981 w 9191"/>
                  <a:gd name="connsiteY4" fmla="*/ 118852 h 119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1" h="119558">
                    <a:moveTo>
                      <a:pt x="-981" y="118852"/>
                    </a:moveTo>
                    <a:lnTo>
                      <a:pt x="-981" y="-392"/>
                    </a:lnTo>
                    <a:cubicBezTo>
                      <a:pt x="7745" y="-1526"/>
                      <a:pt x="8210" y="4087"/>
                      <a:pt x="8210" y="10428"/>
                    </a:cubicBezTo>
                    <a:cubicBezTo>
                      <a:pt x="8210" y="43002"/>
                      <a:pt x="8210" y="75575"/>
                      <a:pt x="8210" y="108150"/>
                    </a:cubicBezTo>
                    <a:cubicBezTo>
                      <a:pt x="8210" y="114403"/>
                      <a:pt x="7745" y="120074"/>
                      <a:pt x="-981" y="118852"/>
                    </a:cubicBezTo>
                    <a:close/>
                  </a:path>
                </a:pathLst>
              </a:custGeom>
              <a:solidFill>
                <a:srgbClr val="FCFDFD"/>
              </a:solidFill>
              <a:ln w="2907" cap="flat">
                <a:noFill/>
                <a:prstDash val="solid"/>
                <a:miter/>
              </a:ln>
            </p:spPr>
            <p:txBody>
              <a:bodyPr rtlCol="0" anchor="ctr"/>
              <a:lstStyle/>
              <a:p>
                <a:endParaRPr lang="en-US" sz="800"/>
              </a:p>
            </p:txBody>
          </p:sp>
          <p:sp>
            <p:nvSpPr>
              <p:cNvPr id="339" name="Graphic 38">
                <a:extLst>
                  <a:ext uri="{FF2B5EF4-FFF2-40B4-BE49-F238E27FC236}">
                    <a16:creationId xmlns:a16="http://schemas.microsoft.com/office/drawing/2014/main" id="{490161E9-08BE-AE10-F0CC-D9A754FC8D4F}"/>
                  </a:ext>
                </a:extLst>
              </p:cNvPr>
              <p:cNvSpPr/>
              <p:nvPr/>
            </p:nvSpPr>
            <p:spPr>
              <a:xfrm>
                <a:off x="15265045" y="1854985"/>
                <a:ext cx="9237" cy="117644"/>
              </a:xfrm>
              <a:custGeom>
                <a:avLst/>
                <a:gdLst>
                  <a:gd name="connsiteX0" fmla="*/ -865 w 9237"/>
                  <a:gd name="connsiteY0" fmla="*/ 56728 h 117644"/>
                  <a:gd name="connsiteX1" fmla="*/ -865 w 9237"/>
                  <a:gd name="connsiteY1" fmla="*/ 7954 h 117644"/>
                  <a:gd name="connsiteX2" fmla="*/ 3731 w 9237"/>
                  <a:gd name="connsiteY2" fmla="*/ -539 h 117644"/>
                  <a:gd name="connsiteX3" fmla="*/ 8240 w 9237"/>
                  <a:gd name="connsiteY3" fmla="*/ 7954 h 117644"/>
                  <a:gd name="connsiteX4" fmla="*/ 8240 w 9237"/>
                  <a:gd name="connsiteY4" fmla="*/ 108643 h 117644"/>
                  <a:gd name="connsiteX5" fmla="*/ 3702 w 9237"/>
                  <a:gd name="connsiteY5" fmla="*/ 117106 h 117644"/>
                  <a:gd name="connsiteX6" fmla="*/ -981 w 9237"/>
                  <a:gd name="connsiteY6" fmla="*/ 108672 h 117644"/>
                  <a:gd name="connsiteX7" fmla="*/ -865 w 9237"/>
                  <a:gd name="connsiteY7" fmla="*/ 56728 h 11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37" h="117644">
                    <a:moveTo>
                      <a:pt x="-865" y="56728"/>
                    </a:moveTo>
                    <a:cubicBezTo>
                      <a:pt x="-865" y="40470"/>
                      <a:pt x="-865" y="24212"/>
                      <a:pt x="-865" y="7954"/>
                    </a:cubicBezTo>
                    <a:cubicBezTo>
                      <a:pt x="-865" y="4348"/>
                      <a:pt x="-1155" y="-509"/>
                      <a:pt x="3731" y="-539"/>
                    </a:cubicBezTo>
                    <a:cubicBezTo>
                      <a:pt x="8618" y="-568"/>
                      <a:pt x="8240" y="4406"/>
                      <a:pt x="8240" y="7954"/>
                    </a:cubicBezTo>
                    <a:cubicBezTo>
                      <a:pt x="8240" y="41517"/>
                      <a:pt x="8240" y="75080"/>
                      <a:pt x="8240" y="108643"/>
                    </a:cubicBezTo>
                    <a:cubicBezTo>
                      <a:pt x="8240" y="112220"/>
                      <a:pt x="8764" y="117106"/>
                      <a:pt x="3702" y="117106"/>
                    </a:cubicBezTo>
                    <a:cubicBezTo>
                      <a:pt x="-1359" y="117106"/>
                      <a:pt x="-952" y="112249"/>
                      <a:pt x="-981" y="108672"/>
                    </a:cubicBezTo>
                    <a:cubicBezTo>
                      <a:pt x="-894" y="91338"/>
                      <a:pt x="-865" y="74033"/>
                      <a:pt x="-865" y="56728"/>
                    </a:cubicBezTo>
                    <a:close/>
                  </a:path>
                </a:pathLst>
              </a:custGeom>
              <a:solidFill>
                <a:srgbClr val="FCFDFD"/>
              </a:solidFill>
              <a:ln w="2907" cap="flat">
                <a:noFill/>
                <a:prstDash val="solid"/>
                <a:miter/>
              </a:ln>
            </p:spPr>
            <p:txBody>
              <a:bodyPr rtlCol="0" anchor="ctr"/>
              <a:lstStyle/>
              <a:p>
                <a:endParaRPr lang="en-US" sz="800"/>
              </a:p>
            </p:txBody>
          </p:sp>
          <p:sp>
            <p:nvSpPr>
              <p:cNvPr id="340" name="Graphic 38">
                <a:extLst>
                  <a:ext uri="{FF2B5EF4-FFF2-40B4-BE49-F238E27FC236}">
                    <a16:creationId xmlns:a16="http://schemas.microsoft.com/office/drawing/2014/main" id="{BA8936BF-4AC4-3D4E-3512-2D632C49F071}"/>
                  </a:ext>
                </a:extLst>
              </p:cNvPr>
              <p:cNvSpPr/>
              <p:nvPr/>
            </p:nvSpPr>
            <p:spPr>
              <a:xfrm>
                <a:off x="15711791" y="1855040"/>
                <a:ext cx="9275" cy="117534"/>
              </a:xfrm>
              <a:custGeom>
                <a:avLst/>
                <a:gdLst>
                  <a:gd name="connsiteX0" fmla="*/ 8240 w 9275"/>
                  <a:gd name="connsiteY0" fmla="*/ 57632 h 117534"/>
                  <a:gd name="connsiteX1" fmla="*/ 8240 w 9275"/>
                  <a:gd name="connsiteY1" fmla="*/ 108034 h 117534"/>
                  <a:gd name="connsiteX2" fmla="*/ 4138 w 9275"/>
                  <a:gd name="connsiteY2" fmla="*/ 116934 h 117534"/>
                  <a:gd name="connsiteX3" fmla="*/ -981 w 9275"/>
                  <a:gd name="connsiteY3" fmla="*/ 109227 h 117534"/>
                  <a:gd name="connsiteX4" fmla="*/ -981 w 9275"/>
                  <a:gd name="connsiteY4" fmla="*/ 6909 h 117534"/>
                  <a:gd name="connsiteX5" fmla="*/ 3004 w 9275"/>
                  <a:gd name="connsiteY5" fmla="*/ -507 h 117534"/>
                  <a:gd name="connsiteX6" fmla="*/ 8153 w 9275"/>
                  <a:gd name="connsiteY6" fmla="*/ 7259 h 117534"/>
                  <a:gd name="connsiteX7" fmla="*/ 8240 w 9275"/>
                  <a:gd name="connsiteY7" fmla="*/ 57632 h 11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75" h="117534">
                    <a:moveTo>
                      <a:pt x="8240" y="57632"/>
                    </a:moveTo>
                    <a:cubicBezTo>
                      <a:pt x="8240" y="74442"/>
                      <a:pt x="8240" y="91224"/>
                      <a:pt x="8240" y="108034"/>
                    </a:cubicBezTo>
                    <a:cubicBezTo>
                      <a:pt x="8240" y="111495"/>
                      <a:pt x="9083" y="116323"/>
                      <a:pt x="4138" y="116934"/>
                    </a:cubicBezTo>
                    <a:cubicBezTo>
                      <a:pt x="-1301" y="117603"/>
                      <a:pt x="-952" y="112717"/>
                      <a:pt x="-981" y="109227"/>
                    </a:cubicBezTo>
                    <a:cubicBezTo>
                      <a:pt x="-981" y="75111"/>
                      <a:pt x="-981" y="41025"/>
                      <a:pt x="-981" y="6909"/>
                    </a:cubicBezTo>
                    <a:cubicBezTo>
                      <a:pt x="-981" y="3826"/>
                      <a:pt x="-981" y="-158"/>
                      <a:pt x="3004" y="-507"/>
                    </a:cubicBezTo>
                    <a:cubicBezTo>
                      <a:pt x="8502" y="-972"/>
                      <a:pt x="8124" y="3797"/>
                      <a:pt x="8153" y="7259"/>
                    </a:cubicBezTo>
                    <a:cubicBezTo>
                      <a:pt x="8298" y="24069"/>
                      <a:pt x="8240" y="40850"/>
                      <a:pt x="8240" y="57632"/>
                    </a:cubicBezTo>
                    <a:close/>
                  </a:path>
                </a:pathLst>
              </a:custGeom>
              <a:solidFill>
                <a:srgbClr val="FCFDFD"/>
              </a:solidFill>
              <a:ln w="2907" cap="flat">
                <a:noFill/>
                <a:prstDash val="solid"/>
                <a:miter/>
              </a:ln>
            </p:spPr>
            <p:txBody>
              <a:bodyPr rtlCol="0" anchor="ctr"/>
              <a:lstStyle/>
              <a:p>
                <a:endParaRPr lang="en-US" sz="800"/>
              </a:p>
            </p:txBody>
          </p:sp>
          <p:sp>
            <p:nvSpPr>
              <p:cNvPr id="341" name="Graphic 38">
                <a:extLst>
                  <a:ext uri="{FF2B5EF4-FFF2-40B4-BE49-F238E27FC236}">
                    <a16:creationId xmlns:a16="http://schemas.microsoft.com/office/drawing/2014/main" id="{3A33CFC6-0F6C-FF4A-DE47-5451F89A4680}"/>
                  </a:ext>
                </a:extLst>
              </p:cNvPr>
              <p:cNvSpPr/>
              <p:nvPr/>
            </p:nvSpPr>
            <p:spPr>
              <a:xfrm>
                <a:off x="16636024" y="1855012"/>
                <a:ext cx="9343" cy="117618"/>
              </a:xfrm>
              <a:custGeom>
                <a:avLst/>
                <a:gdLst>
                  <a:gd name="connsiteX0" fmla="*/ 8304 w 9343"/>
                  <a:gd name="connsiteY0" fmla="*/ 59725 h 117618"/>
                  <a:gd name="connsiteX1" fmla="*/ 8304 w 9343"/>
                  <a:gd name="connsiteY1" fmla="*/ 108528 h 117618"/>
                  <a:gd name="connsiteX2" fmla="*/ 3738 w 9343"/>
                  <a:gd name="connsiteY2" fmla="*/ 117079 h 117618"/>
                  <a:gd name="connsiteX3" fmla="*/ -975 w 9343"/>
                  <a:gd name="connsiteY3" fmla="*/ 108732 h 117618"/>
                  <a:gd name="connsiteX4" fmla="*/ -975 w 9343"/>
                  <a:gd name="connsiteY4" fmla="*/ 7956 h 117618"/>
                  <a:gd name="connsiteX5" fmla="*/ 3621 w 9343"/>
                  <a:gd name="connsiteY5" fmla="*/ -537 h 117618"/>
                  <a:gd name="connsiteX6" fmla="*/ 8363 w 9343"/>
                  <a:gd name="connsiteY6" fmla="*/ 7752 h 117618"/>
                  <a:gd name="connsiteX7" fmla="*/ 8304 w 9343"/>
                  <a:gd name="connsiteY7" fmla="*/ 59725 h 117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3" h="117618">
                    <a:moveTo>
                      <a:pt x="8304" y="59725"/>
                    </a:moveTo>
                    <a:cubicBezTo>
                      <a:pt x="8304" y="75984"/>
                      <a:pt x="8304" y="92270"/>
                      <a:pt x="8304" y="108528"/>
                    </a:cubicBezTo>
                    <a:cubicBezTo>
                      <a:pt x="8304" y="112106"/>
                      <a:pt x="8625" y="116992"/>
                      <a:pt x="3738" y="117079"/>
                    </a:cubicBezTo>
                    <a:cubicBezTo>
                      <a:pt x="-1149" y="117166"/>
                      <a:pt x="-975" y="112309"/>
                      <a:pt x="-975" y="108732"/>
                    </a:cubicBezTo>
                    <a:cubicBezTo>
                      <a:pt x="-975" y="75140"/>
                      <a:pt x="-975" y="41548"/>
                      <a:pt x="-975" y="7956"/>
                    </a:cubicBezTo>
                    <a:cubicBezTo>
                      <a:pt x="-975" y="4350"/>
                      <a:pt x="-1353" y="-420"/>
                      <a:pt x="3621" y="-537"/>
                    </a:cubicBezTo>
                    <a:cubicBezTo>
                      <a:pt x="8596" y="-653"/>
                      <a:pt x="8334" y="4175"/>
                      <a:pt x="8363" y="7752"/>
                    </a:cubicBezTo>
                    <a:cubicBezTo>
                      <a:pt x="8334" y="25087"/>
                      <a:pt x="8304" y="42391"/>
                      <a:pt x="8304" y="59725"/>
                    </a:cubicBezTo>
                    <a:close/>
                  </a:path>
                </a:pathLst>
              </a:custGeom>
              <a:solidFill>
                <a:srgbClr val="FCFDFD"/>
              </a:solidFill>
              <a:ln w="2907" cap="flat">
                <a:noFill/>
                <a:prstDash val="solid"/>
                <a:miter/>
              </a:ln>
            </p:spPr>
            <p:txBody>
              <a:bodyPr rtlCol="0" anchor="ctr"/>
              <a:lstStyle/>
              <a:p>
                <a:endParaRPr lang="en-US" sz="800"/>
              </a:p>
            </p:txBody>
          </p:sp>
          <p:sp>
            <p:nvSpPr>
              <p:cNvPr id="342" name="Graphic 38">
                <a:extLst>
                  <a:ext uri="{FF2B5EF4-FFF2-40B4-BE49-F238E27FC236}">
                    <a16:creationId xmlns:a16="http://schemas.microsoft.com/office/drawing/2014/main" id="{1997290C-83CB-682E-B52E-D90355936B2E}"/>
                  </a:ext>
                </a:extLst>
              </p:cNvPr>
              <p:cNvSpPr/>
              <p:nvPr/>
            </p:nvSpPr>
            <p:spPr>
              <a:xfrm>
                <a:off x="14803001" y="3379132"/>
                <a:ext cx="9450" cy="119824"/>
              </a:xfrm>
              <a:custGeom>
                <a:avLst/>
                <a:gdLst>
                  <a:gd name="connsiteX0" fmla="*/ 8091 w 9450"/>
                  <a:gd name="connsiteY0" fmla="*/ -395 h 119824"/>
                  <a:gd name="connsiteX1" fmla="*/ 8382 w 9450"/>
                  <a:gd name="connsiteY1" fmla="*/ 103987 h 119824"/>
                  <a:gd name="connsiteX2" fmla="*/ 5473 w 9450"/>
                  <a:gd name="connsiteY2" fmla="*/ 119285 h 119824"/>
                  <a:gd name="connsiteX3" fmla="*/ -869 w 9450"/>
                  <a:gd name="connsiteY3" fmla="*/ 106837 h 119824"/>
                  <a:gd name="connsiteX4" fmla="*/ -869 w 9450"/>
                  <a:gd name="connsiteY4" fmla="*/ 11995 h 119824"/>
                  <a:gd name="connsiteX5" fmla="*/ 8091 w 9450"/>
                  <a:gd name="connsiteY5" fmla="*/ -395 h 119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0" h="119824">
                    <a:moveTo>
                      <a:pt x="8091" y="-395"/>
                    </a:moveTo>
                    <a:cubicBezTo>
                      <a:pt x="8091" y="34390"/>
                      <a:pt x="8178" y="69174"/>
                      <a:pt x="8382" y="103987"/>
                    </a:cubicBezTo>
                    <a:cubicBezTo>
                      <a:pt x="8789" y="109252"/>
                      <a:pt x="7771" y="114545"/>
                      <a:pt x="5473" y="119285"/>
                    </a:cubicBezTo>
                    <a:cubicBezTo>
                      <a:pt x="-2003" y="117860"/>
                      <a:pt x="-839" y="111927"/>
                      <a:pt x="-869" y="106837"/>
                    </a:cubicBezTo>
                    <a:cubicBezTo>
                      <a:pt x="-869" y="75223"/>
                      <a:pt x="-869" y="43609"/>
                      <a:pt x="-869" y="11995"/>
                    </a:cubicBezTo>
                    <a:cubicBezTo>
                      <a:pt x="-985" y="5858"/>
                      <a:pt x="-2294" y="-1675"/>
                      <a:pt x="8091" y="-395"/>
                    </a:cubicBezTo>
                    <a:close/>
                  </a:path>
                </a:pathLst>
              </a:custGeom>
              <a:solidFill>
                <a:srgbClr val="FCFDFD"/>
              </a:solidFill>
              <a:ln w="2907" cap="flat">
                <a:noFill/>
                <a:prstDash val="solid"/>
                <a:miter/>
              </a:ln>
            </p:spPr>
            <p:txBody>
              <a:bodyPr rtlCol="0" anchor="ctr"/>
              <a:lstStyle/>
              <a:p>
                <a:endParaRPr lang="en-US" sz="800"/>
              </a:p>
            </p:txBody>
          </p:sp>
          <p:sp>
            <p:nvSpPr>
              <p:cNvPr id="343" name="Graphic 38">
                <a:extLst>
                  <a:ext uri="{FF2B5EF4-FFF2-40B4-BE49-F238E27FC236}">
                    <a16:creationId xmlns:a16="http://schemas.microsoft.com/office/drawing/2014/main" id="{8F4EC525-7457-9669-4E80-89F284120F48}"/>
                  </a:ext>
                </a:extLst>
              </p:cNvPr>
              <p:cNvSpPr/>
              <p:nvPr/>
            </p:nvSpPr>
            <p:spPr>
              <a:xfrm>
                <a:off x="16172260" y="1600500"/>
                <a:ext cx="10951" cy="120471"/>
              </a:xfrm>
              <a:custGeom>
                <a:avLst/>
                <a:gdLst>
                  <a:gd name="connsiteX0" fmla="*/ 305 w 10951"/>
                  <a:gd name="connsiteY0" fmla="*/ 119927 h 120471"/>
                  <a:gd name="connsiteX1" fmla="*/ 305 w 10951"/>
                  <a:gd name="connsiteY1" fmla="*/ -539 h 120471"/>
                  <a:gd name="connsiteX2" fmla="*/ 9963 w 10951"/>
                  <a:gd name="connsiteY2" fmla="*/ 11386 h 120471"/>
                  <a:gd name="connsiteX3" fmla="*/ 9963 w 10951"/>
                  <a:gd name="connsiteY3" fmla="*/ 108992 h 120471"/>
                  <a:gd name="connsiteX4" fmla="*/ 305 w 10951"/>
                  <a:gd name="connsiteY4" fmla="*/ 119927 h 120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1" h="120471">
                    <a:moveTo>
                      <a:pt x="305" y="119927"/>
                    </a:moveTo>
                    <a:cubicBezTo>
                      <a:pt x="-1410" y="79762"/>
                      <a:pt x="-1410" y="39626"/>
                      <a:pt x="305" y="-539"/>
                    </a:cubicBezTo>
                    <a:cubicBezTo>
                      <a:pt x="7432" y="276"/>
                      <a:pt x="9963" y="4667"/>
                      <a:pt x="9963" y="11386"/>
                    </a:cubicBezTo>
                    <a:cubicBezTo>
                      <a:pt x="9963" y="43902"/>
                      <a:pt x="9963" y="76447"/>
                      <a:pt x="9963" y="108992"/>
                    </a:cubicBezTo>
                    <a:cubicBezTo>
                      <a:pt x="10109" y="116001"/>
                      <a:pt x="7869" y="120102"/>
                      <a:pt x="305" y="119927"/>
                    </a:cubicBezTo>
                    <a:close/>
                  </a:path>
                </a:pathLst>
              </a:custGeom>
              <a:solidFill>
                <a:srgbClr val="FCFDFD"/>
              </a:solidFill>
              <a:ln w="2907" cap="flat">
                <a:noFill/>
                <a:prstDash val="solid"/>
                <a:miter/>
              </a:ln>
            </p:spPr>
            <p:txBody>
              <a:bodyPr rtlCol="0" anchor="ctr"/>
              <a:lstStyle/>
              <a:p>
                <a:endParaRPr lang="en-US" sz="800"/>
              </a:p>
            </p:txBody>
          </p:sp>
          <p:sp>
            <p:nvSpPr>
              <p:cNvPr id="344" name="Graphic 38">
                <a:extLst>
                  <a:ext uri="{FF2B5EF4-FFF2-40B4-BE49-F238E27FC236}">
                    <a16:creationId xmlns:a16="http://schemas.microsoft.com/office/drawing/2014/main" id="{57EAC1E4-09DE-FD80-63B1-A2FE4AB9C5F4}"/>
                  </a:ext>
                </a:extLst>
              </p:cNvPr>
              <p:cNvSpPr/>
              <p:nvPr/>
            </p:nvSpPr>
            <p:spPr>
              <a:xfrm>
                <a:off x="15265074" y="2996713"/>
                <a:ext cx="9596" cy="119148"/>
              </a:xfrm>
              <a:custGeom>
                <a:avLst/>
                <a:gdLst>
                  <a:gd name="connsiteX0" fmla="*/ 8240 w 9596"/>
                  <a:gd name="connsiteY0" fmla="*/ -198 h 119148"/>
                  <a:gd name="connsiteX1" fmla="*/ 8530 w 9596"/>
                  <a:gd name="connsiteY1" fmla="*/ 103458 h 119148"/>
                  <a:gd name="connsiteX2" fmla="*/ 5447 w 9596"/>
                  <a:gd name="connsiteY2" fmla="*/ 118610 h 119148"/>
                  <a:gd name="connsiteX3" fmla="*/ -894 w 9596"/>
                  <a:gd name="connsiteY3" fmla="*/ 106279 h 119148"/>
                  <a:gd name="connsiteX4" fmla="*/ -894 w 9596"/>
                  <a:gd name="connsiteY4" fmla="*/ 11639 h 119148"/>
                  <a:gd name="connsiteX5" fmla="*/ 8240 w 9596"/>
                  <a:gd name="connsiteY5" fmla="*/ -198 h 11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6" h="119148">
                    <a:moveTo>
                      <a:pt x="8240" y="-198"/>
                    </a:moveTo>
                    <a:cubicBezTo>
                      <a:pt x="8240" y="34354"/>
                      <a:pt x="8327" y="68906"/>
                      <a:pt x="8530" y="103458"/>
                    </a:cubicBezTo>
                    <a:cubicBezTo>
                      <a:pt x="8938" y="108693"/>
                      <a:pt x="7861" y="113957"/>
                      <a:pt x="5447" y="118610"/>
                    </a:cubicBezTo>
                    <a:cubicBezTo>
                      <a:pt x="-2145" y="117330"/>
                      <a:pt x="-894" y="111339"/>
                      <a:pt x="-894" y="106279"/>
                    </a:cubicBezTo>
                    <a:cubicBezTo>
                      <a:pt x="-894" y="74723"/>
                      <a:pt x="-1039" y="43195"/>
                      <a:pt x="-894" y="11639"/>
                    </a:cubicBezTo>
                    <a:cubicBezTo>
                      <a:pt x="-865" y="5706"/>
                      <a:pt x="-2610" y="-2292"/>
                      <a:pt x="8240" y="-198"/>
                    </a:cubicBezTo>
                    <a:close/>
                  </a:path>
                </a:pathLst>
              </a:custGeom>
              <a:solidFill>
                <a:srgbClr val="FCFDFD"/>
              </a:solidFill>
              <a:ln w="2907" cap="flat">
                <a:noFill/>
                <a:prstDash val="solid"/>
                <a:miter/>
              </a:ln>
            </p:spPr>
            <p:txBody>
              <a:bodyPr rtlCol="0" anchor="ctr"/>
              <a:lstStyle/>
              <a:p>
                <a:endParaRPr lang="en-US" sz="800"/>
              </a:p>
            </p:txBody>
          </p:sp>
          <p:sp>
            <p:nvSpPr>
              <p:cNvPr id="345" name="Graphic 38">
                <a:extLst>
                  <a:ext uri="{FF2B5EF4-FFF2-40B4-BE49-F238E27FC236}">
                    <a16:creationId xmlns:a16="http://schemas.microsoft.com/office/drawing/2014/main" id="{4EAA3289-57D8-C1C3-0056-1B9E2A1A4F6C}"/>
                  </a:ext>
                </a:extLst>
              </p:cNvPr>
              <p:cNvSpPr/>
              <p:nvPr/>
            </p:nvSpPr>
            <p:spPr>
              <a:xfrm>
                <a:off x="14787086" y="1982409"/>
                <a:ext cx="9576" cy="118148"/>
              </a:xfrm>
              <a:custGeom>
                <a:avLst/>
                <a:gdLst>
                  <a:gd name="connsiteX0" fmla="*/ -894 w 9576"/>
                  <a:gd name="connsiteY0" fmla="*/ 117477 h 118148"/>
                  <a:gd name="connsiteX1" fmla="*/ -661 w 9576"/>
                  <a:gd name="connsiteY1" fmla="*/ 18155 h 118148"/>
                  <a:gd name="connsiteX2" fmla="*/ -487 w 9576"/>
                  <a:gd name="connsiteY2" fmla="*/ 7132 h 118148"/>
                  <a:gd name="connsiteX3" fmla="*/ 5157 w 9576"/>
                  <a:gd name="connsiteY3" fmla="*/ -488 h 118148"/>
                  <a:gd name="connsiteX4" fmla="*/ 8531 w 9576"/>
                  <a:gd name="connsiteY4" fmla="*/ 7219 h 118148"/>
                  <a:gd name="connsiteX5" fmla="*/ 8531 w 9576"/>
                  <a:gd name="connsiteY5" fmla="*/ 51369 h 118148"/>
                  <a:gd name="connsiteX6" fmla="*/ 8531 w 9576"/>
                  <a:gd name="connsiteY6" fmla="*/ 104970 h 118148"/>
                  <a:gd name="connsiteX7" fmla="*/ -981 w 9576"/>
                  <a:gd name="connsiteY7" fmla="*/ 117593 h 118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76" h="118148">
                    <a:moveTo>
                      <a:pt x="-894" y="117477"/>
                    </a:moveTo>
                    <a:cubicBezTo>
                      <a:pt x="-894" y="84379"/>
                      <a:pt x="-807" y="51281"/>
                      <a:pt x="-661" y="18155"/>
                    </a:cubicBezTo>
                    <a:cubicBezTo>
                      <a:pt x="-661" y="14461"/>
                      <a:pt x="-661" y="10768"/>
                      <a:pt x="-487" y="7132"/>
                    </a:cubicBezTo>
                    <a:cubicBezTo>
                      <a:pt x="-312" y="3497"/>
                      <a:pt x="8" y="-1070"/>
                      <a:pt x="5157" y="-488"/>
                    </a:cubicBezTo>
                    <a:cubicBezTo>
                      <a:pt x="9345" y="6"/>
                      <a:pt x="8502" y="4282"/>
                      <a:pt x="8531" y="7219"/>
                    </a:cubicBezTo>
                    <a:cubicBezTo>
                      <a:pt x="8676" y="21936"/>
                      <a:pt x="8531" y="36652"/>
                      <a:pt x="8531" y="51369"/>
                    </a:cubicBezTo>
                    <a:cubicBezTo>
                      <a:pt x="8531" y="69226"/>
                      <a:pt x="8531" y="87113"/>
                      <a:pt x="8531" y="104970"/>
                    </a:cubicBezTo>
                    <a:cubicBezTo>
                      <a:pt x="8531" y="111805"/>
                      <a:pt x="8298" y="117971"/>
                      <a:pt x="-981" y="117593"/>
                    </a:cubicBezTo>
                    <a:close/>
                  </a:path>
                </a:pathLst>
              </a:custGeom>
              <a:solidFill>
                <a:srgbClr val="FCFDFD"/>
              </a:solidFill>
              <a:ln w="2907" cap="flat">
                <a:noFill/>
                <a:prstDash val="solid"/>
                <a:miter/>
              </a:ln>
            </p:spPr>
            <p:txBody>
              <a:bodyPr rtlCol="0" anchor="ctr"/>
              <a:lstStyle/>
              <a:p>
                <a:endParaRPr lang="en-US" sz="800"/>
              </a:p>
            </p:txBody>
          </p:sp>
          <p:sp>
            <p:nvSpPr>
              <p:cNvPr id="346" name="Graphic 38">
                <a:extLst>
                  <a:ext uri="{FF2B5EF4-FFF2-40B4-BE49-F238E27FC236}">
                    <a16:creationId xmlns:a16="http://schemas.microsoft.com/office/drawing/2014/main" id="{8E3911D3-715B-0BEE-C51E-4195F0E60933}"/>
                  </a:ext>
                </a:extLst>
              </p:cNvPr>
              <p:cNvSpPr/>
              <p:nvPr/>
            </p:nvSpPr>
            <p:spPr>
              <a:xfrm>
                <a:off x="14802939" y="1854402"/>
                <a:ext cx="9251" cy="119392"/>
              </a:xfrm>
              <a:custGeom>
                <a:avLst/>
                <a:gdLst>
                  <a:gd name="connsiteX0" fmla="*/ 7892 w 9251"/>
                  <a:gd name="connsiteY0" fmla="*/ -538 h 119392"/>
                  <a:gd name="connsiteX1" fmla="*/ 8270 w 9251"/>
                  <a:gd name="connsiteY1" fmla="*/ 118707 h 119392"/>
                  <a:gd name="connsiteX2" fmla="*/ -980 w 9251"/>
                  <a:gd name="connsiteY2" fmla="*/ 107887 h 119392"/>
                  <a:gd name="connsiteX3" fmla="*/ -980 w 9251"/>
                  <a:gd name="connsiteY3" fmla="*/ 11590 h 119392"/>
                  <a:gd name="connsiteX4" fmla="*/ 7892 w 9251"/>
                  <a:gd name="connsiteY4" fmla="*/ -538 h 119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1" h="119392">
                    <a:moveTo>
                      <a:pt x="7892" y="-538"/>
                    </a:moveTo>
                    <a:cubicBezTo>
                      <a:pt x="8037" y="39162"/>
                      <a:pt x="8183" y="78890"/>
                      <a:pt x="8270" y="118707"/>
                    </a:cubicBezTo>
                    <a:cubicBezTo>
                      <a:pt x="-457" y="119841"/>
                      <a:pt x="-1009" y="114257"/>
                      <a:pt x="-980" y="107887"/>
                    </a:cubicBezTo>
                    <a:cubicBezTo>
                      <a:pt x="-980" y="75895"/>
                      <a:pt x="-980" y="43670"/>
                      <a:pt x="-980" y="11590"/>
                    </a:cubicBezTo>
                    <a:cubicBezTo>
                      <a:pt x="-864" y="5512"/>
                      <a:pt x="-602" y="-625"/>
                      <a:pt x="7892" y="-538"/>
                    </a:cubicBezTo>
                    <a:close/>
                  </a:path>
                </a:pathLst>
              </a:custGeom>
              <a:solidFill>
                <a:srgbClr val="FCFDFD"/>
              </a:solidFill>
              <a:ln w="2907" cap="flat">
                <a:noFill/>
                <a:prstDash val="solid"/>
                <a:miter/>
              </a:ln>
            </p:spPr>
            <p:txBody>
              <a:bodyPr rtlCol="0" anchor="ctr"/>
              <a:lstStyle/>
              <a:p>
                <a:endParaRPr lang="en-US" sz="800"/>
              </a:p>
            </p:txBody>
          </p:sp>
          <p:sp>
            <p:nvSpPr>
              <p:cNvPr id="347" name="Graphic 38">
                <a:extLst>
                  <a:ext uri="{FF2B5EF4-FFF2-40B4-BE49-F238E27FC236}">
                    <a16:creationId xmlns:a16="http://schemas.microsoft.com/office/drawing/2014/main" id="{4EB59BD5-D15C-61A3-FBD3-EC9732C25FA3}"/>
                  </a:ext>
                </a:extLst>
              </p:cNvPr>
              <p:cNvSpPr/>
              <p:nvPr/>
            </p:nvSpPr>
            <p:spPr>
              <a:xfrm>
                <a:off x="14802982" y="2617034"/>
                <a:ext cx="9033" cy="118584"/>
              </a:xfrm>
              <a:custGeom>
                <a:avLst/>
                <a:gdLst>
                  <a:gd name="connsiteX0" fmla="*/ 7878 w 9033"/>
                  <a:gd name="connsiteY0" fmla="*/ -210 h 118584"/>
                  <a:gd name="connsiteX1" fmla="*/ 8053 w 9033"/>
                  <a:gd name="connsiteY1" fmla="*/ 118046 h 118584"/>
                  <a:gd name="connsiteX2" fmla="*/ -878 w 9033"/>
                  <a:gd name="connsiteY2" fmla="*/ 102515 h 118584"/>
                  <a:gd name="connsiteX3" fmla="*/ -878 w 9033"/>
                  <a:gd name="connsiteY3" fmla="*/ 10289 h 118584"/>
                  <a:gd name="connsiteX4" fmla="*/ 7878 w 9033"/>
                  <a:gd name="connsiteY4" fmla="*/ -210 h 1185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3" h="118584">
                    <a:moveTo>
                      <a:pt x="7878" y="-210"/>
                    </a:moveTo>
                    <a:lnTo>
                      <a:pt x="8053" y="118046"/>
                    </a:lnTo>
                    <a:cubicBezTo>
                      <a:pt x="-1576" y="116707"/>
                      <a:pt x="-820" y="108971"/>
                      <a:pt x="-878" y="102515"/>
                    </a:cubicBezTo>
                    <a:cubicBezTo>
                      <a:pt x="-1111" y="71773"/>
                      <a:pt x="-878" y="41031"/>
                      <a:pt x="-878" y="10289"/>
                    </a:cubicBezTo>
                    <a:cubicBezTo>
                      <a:pt x="-907" y="4531"/>
                      <a:pt x="-1489" y="-2100"/>
                      <a:pt x="7878" y="-210"/>
                    </a:cubicBezTo>
                    <a:close/>
                  </a:path>
                </a:pathLst>
              </a:custGeom>
              <a:solidFill>
                <a:srgbClr val="FCFDFD"/>
              </a:solidFill>
              <a:ln w="2907" cap="flat">
                <a:noFill/>
                <a:prstDash val="solid"/>
                <a:miter/>
              </a:ln>
            </p:spPr>
            <p:txBody>
              <a:bodyPr rtlCol="0" anchor="ctr"/>
              <a:lstStyle/>
              <a:p>
                <a:endParaRPr lang="en-US" sz="800"/>
              </a:p>
            </p:txBody>
          </p:sp>
          <p:sp>
            <p:nvSpPr>
              <p:cNvPr id="348" name="Graphic 38">
                <a:extLst>
                  <a:ext uri="{FF2B5EF4-FFF2-40B4-BE49-F238E27FC236}">
                    <a16:creationId xmlns:a16="http://schemas.microsoft.com/office/drawing/2014/main" id="{4819D73D-4CC2-483B-771B-7A75185DE42D}"/>
                  </a:ext>
                </a:extLst>
              </p:cNvPr>
              <p:cNvSpPr/>
              <p:nvPr/>
            </p:nvSpPr>
            <p:spPr>
              <a:xfrm>
                <a:off x="15265161" y="2109702"/>
                <a:ext cx="9868" cy="117531"/>
              </a:xfrm>
              <a:custGeom>
                <a:avLst/>
                <a:gdLst>
                  <a:gd name="connsiteX0" fmla="*/ 8851 w 9868"/>
                  <a:gd name="connsiteY0" fmla="*/ -277 h 117531"/>
                  <a:gd name="connsiteX1" fmla="*/ 8269 w 9868"/>
                  <a:gd name="connsiteY1" fmla="*/ 107334 h 117531"/>
                  <a:gd name="connsiteX2" fmla="*/ 4371 w 9868"/>
                  <a:gd name="connsiteY2" fmla="*/ 116990 h 117531"/>
                  <a:gd name="connsiteX3" fmla="*/ -981 w 9868"/>
                  <a:gd name="connsiteY3" fmla="*/ 107014 h 117531"/>
                  <a:gd name="connsiteX4" fmla="*/ -981 w 9868"/>
                  <a:gd name="connsiteY4" fmla="*/ 10572 h 117531"/>
                  <a:gd name="connsiteX5" fmla="*/ 8793 w 9868"/>
                  <a:gd name="connsiteY5" fmla="*/ -539 h 11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8" h="117531">
                    <a:moveTo>
                      <a:pt x="8851" y="-277"/>
                    </a:moveTo>
                    <a:cubicBezTo>
                      <a:pt x="8705" y="35555"/>
                      <a:pt x="8647" y="71386"/>
                      <a:pt x="8269" y="107334"/>
                    </a:cubicBezTo>
                    <a:cubicBezTo>
                      <a:pt x="8269" y="110795"/>
                      <a:pt x="11178" y="117164"/>
                      <a:pt x="4371" y="116990"/>
                    </a:cubicBezTo>
                    <a:cubicBezTo>
                      <a:pt x="-894" y="116990"/>
                      <a:pt x="-981" y="111173"/>
                      <a:pt x="-981" y="107014"/>
                    </a:cubicBezTo>
                    <a:cubicBezTo>
                      <a:pt x="-981" y="74876"/>
                      <a:pt x="-981" y="42738"/>
                      <a:pt x="-981" y="10572"/>
                    </a:cubicBezTo>
                    <a:cubicBezTo>
                      <a:pt x="-981" y="3504"/>
                      <a:pt x="1317" y="-539"/>
                      <a:pt x="8793" y="-539"/>
                    </a:cubicBezTo>
                    <a:close/>
                  </a:path>
                </a:pathLst>
              </a:custGeom>
              <a:solidFill>
                <a:srgbClr val="FCFDFD"/>
              </a:solidFill>
              <a:ln w="2907" cap="flat">
                <a:noFill/>
                <a:prstDash val="solid"/>
                <a:miter/>
              </a:ln>
            </p:spPr>
            <p:txBody>
              <a:bodyPr rtlCol="0" anchor="ctr"/>
              <a:lstStyle/>
              <a:p>
                <a:endParaRPr lang="en-US" sz="800"/>
              </a:p>
            </p:txBody>
          </p:sp>
          <p:sp>
            <p:nvSpPr>
              <p:cNvPr id="349" name="Graphic 38">
                <a:extLst>
                  <a:ext uri="{FF2B5EF4-FFF2-40B4-BE49-F238E27FC236}">
                    <a16:creationId xmlns:a16="http://schemas.microsoft.com/office/drawing/2014/main" id="{111EF81A-8576-50ED-28CA-A86ADDD81932}"/>
                  </a:ext>
                </a:extLst>
              </p:cNvPr>
              <p:cNvSpPr/>
              <p:nvPr/>
            </p:nvSpPr>
            <p:spPr>
              <a:xfrm>
                <a:off x="16172267" y="1726754"/>
                <a:ext cx="11055" cy="120874"/>
              </a:xfrm>
              <a:custGeom>
                <a:avLst/>
                <a:gdLst>
                  <a:gd name="connsiteX0" fmla="*/ 241 w 11055"/>
                  <a:gd name="connsiteY0" fmla="*/ 120334 h 120874"/>
                  <a:gd name="connsiteX1" fmla="*/ 241 w 11055"/>
                  <a:gd name="connsiteY1" fmla="*/ -539 h 120874"/>
                  <a:gd name="connsiteX2" fmla="*/ 10073 w 11055"/>
                  <a:gd name="connsiteY2" fmla="*/ 10484 h 120874"/>
                  <a:gd name="connsiteX3" fmla="*/ 10073 w 11055"/>
                  <a:gd name="connsiteY3" fmla="*/ 109370 h 120874"/>
                  <a:gd name="connsiteX4" fmla="*/ 241 w 11055"/>
                  <a:gd name="connsiteY4" fmla="*/ 120334 h 1208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55" h="120874">
                    <a:moveTo>
                      <a:pt x="241" y="120334"/>
                    </a:moveTo>
                    <a:cubicBezTo>
                      <a:pt x="-1446" y="80053"/>
                      <a:pt x="-1330" y="39772"/>
                      <a:pt x="241" y="-539"/>
                    </a:cubicBezTo>
                    <a:cubicBezTo>
                      <a:pt x="7600" y="-539"/>
                      <a:pt x="10131" y="3388"/>
                      <a:pt x="10073" y="10484"/>
                    </a:cubicBezTo>
                    <a:cubicBezTo>
                      <a:pt x="9898" y="43436"/>
                      <a:pt x="9898" y="76417"/>
                      <a:pt x="10073" y="109370"/>
                    </a:cubicBezTo>
                    <a:cubicBezTo>
                      <a:pt x="10073" y="116379"/>
                      <a:pt x="7717" y="120421"/>
                      <a:pt x="241" y="120334"/>
                    </a:cubicBezTo>
                    <a:close/>
                  </a:path>
                </a:pathLst>
              </a:custGeom>
              <a:solidFill>
                <a:srgbClr val="FCFDFD"/>
              </a:solidFill>
              <a:ln w="2907" cap="flat">
                <a:noFill/>
                <a:prstDash val="solid"/>
                <a:miter/>
              </a:ln>
            </p:spPr>
            <p:txBody>
              <a:bodyPr rtlCol="0" anchor="ctr"/>
              <a:lstStyle/>
              <a:p>
                <a:endParaRPr lang="en-US" sz="800"/>
              </a:p>
            </p:txBody>
          </p:sp>
          <p:sp>
            <p:nvSpPr>
              <p:cNvPr id="350" name="Graphic 38">
                <a:extLst>
                  <a:ext uri="{FF2B5EF4-FFF2-40B4-BE49-F238E27FC236}">
                    <a16:creationId xmlns:a16="http://schemas.microsoft.com/office/drawing/2014/main" id="{2448097E-B5A5-0DC0-39A2-2E39070557B5}"/>
                  </a:ext>
                </a:extLst>
              </p:cNvPr>
              <p:cNvSpPr/>
              <p:nvPr/>
            </p:nvSpPr>
            <p:spPr>
              <a:xfrm>
                <a:off x="15264928" y="2869375"/>
                <a:ext cx="9545" cy="121745"/>
              </a:xfrm>
              <a:custGeom>
                <a:avLst/>
                <a:gdLst>
                  <a:gd name="connsiteX0" fmla="*/ 5623 w 9545"/>
                  <a:gd name="connsiteY0" fmla="*/ -539 h 121745"/>
                  <a:gd name="connsiteX1" fmla="*/ 8532 w 9545"/>
                  <a:gd name="connsiteY1" fmla="*/ 11095 h 121745"/>
                  <a:gd name="connsiteX2" fmla="*/ 8182 w 9545"/>
                  <a:gd name="connsiteY2" fmla="*/ 121207 h 121745"/>
                  <a:gd name="connsiteX3" fmla="*/ -980 w 9545"/>
                  <a:gd name="connsiteY3" fmla="*/ 107595 h 121745"/>
                  <a:gd name="connsiteX4" fmla="*/ -980 w 9545"/>
                  <a:gd name="connsiteY4" fmla="*/ 16446 h 121745"/>
                  <a:gd name="connsiteX5" fmla="*/ 5623 w 9545"/>
                  <a:gd name="connsiteY5" fmla="*/ -539 h 12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45" h="121745">
                    <a:moveTo>
                      <a:pt x="5623" y="-539"/>
                    </a:moveTo>
                    <a:cubicBezTo>
                      <a:pt x="9084" y="2748"/>
                      <a:pt x="8532" y="7081"/>
                      <a:pt x="8532" y="11095"/>
                    </a:cubicBezTo>
                    <a:cubicBezTo>
                      <a:pt x="8532" y="47799"/>
                      <a:pt x="8415" y="84503"/>
                      <a:pt x="8182" y="121207"/>
                    </a:cubicBezTo>
                    <a:cubicBezTo>
                      <a:pt x="-544" y="120363"/>
                      <a:pt x="-1009" y="114401"/>
                      <a:pt x="-980" y="107595"/>
                    </a:cubicBezTo>
                    <a:cubicBezTo>
                      <a:pt x="-980" y="77203"/>
                      <a:pt x="-748" y="46810"/>
                      <a:pt x="-980" y="16446"/>
                    </a:cubicBezTo>
                    <a:cubicBezTo>
                      <a:pt x="-806" y="10193"/>
                      <a:pt x="1521" y="4173"/>
                      <a:pt x="5623" y="-539"/>
                    </a:cubicBezTo>
                    <a:close/>
                  </a:path>
                </a:pathLst>
              </a:custGeom>
              <a:solidFill>
                <a:srgbClr val="FCFDFD"/>
              </a:solidFill>
              <a:ln w="2907" cap="flat">
                <a:noFill/>
                <a:prstDash val="solid"/>
                <a:miter/>
              </a:ln>
            </p:spPr>
            <p:txBody>
              <a:bodyPr rtlCol="0" anchor="ctr"/>
              <a:lstStyle/>
              <a:p>
                <a:endParaRPr lang="en-US" sz="800"/>
              </a:p>
            </p:txBody>
          </p:sp>
          <p:sp>
            <p:nvSpPr>
              <p:cNvPr id="351" name="Graphic 38">
                <a:extLst>
                  <a:ext uri="{FF2B5EF4-FFF2-40B4-BE49-F238E27FC236}">
                    <a16:creationId xmlns:a16="http://schemas.microsoft.com/office/drawing/2014/main" id="{5DEC721C-979B-C556-164D-0D2D5B3E0AFC}"/>
                  </a:ext>
                </a:extLst>
              </p:cNvPr>
              <p:cNvSpPr/>
              <p:nvPr/>
            </p:nvSpPr>
            <p:spPr>
              <a:xfrm>
                <a:off x="17098282" y="2110305"/>
                <a:ext cx="9311" cy="117375"/>
              </a:xfrm>
              <a:custGeom>
                <a:avLst/>
                <a:gdLst>
                  <a:gd name="connsiteX0" fmla="*/ -981 w 9311"/>
                  <a:gd name="connsiteY0" fmla="*/ 115950 h 117375"/>
                  <a:gd name="connsiteX1" fmla="*/ -981 w 9311"/>
                  <a:gd name="connsiteY1" fmla="*/ -386 h 117375"/>
                  <a:gd name="connsiteX2" fmla="*/ 8181 w 9311"/>
                  <a:gd name="connsiteY2" fmla="*/ 8776 h 117375"/>
                  <a:gd name="connsiteX3" fmla="*/ 8327 w 9311"/>
                  <a:gd name="connsiteY3" fmla="*/ 108999 h 117375"/>
                  <a:gd name="connsiteX4" fmla="*/ -981 w 9311"/>
                  <a:gd name="connsiteY4" fmla="*/ 115950 h 117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1" h="117375">
                    <a:moveTo>
                      <a:pt x="-981" y="115950"/>
                    </a:moveTo>
                    <a:cubicBezTo>
                      <a:pt x="-981" y="77181"/>
                      <a:pt x="-981" y="38383"/>
                      <a:pt x="-981" y="-386"/>
                    </a:cubicBezTo>
                    <a:cubicBezTo>
                      <a:pt x="6145" y="-1375"/>
                      <a:pt x="8181" y="2523"/>
                      <a:pt x="8181" y="8776"/>
                    </a:cubicBezTo>
                    <a:cubicBezTo>
                      <a:pt x="8181" y="42193"/>
                      <a:pt x="8007" y="75669"/>
                      <a:pt x="8327" y="108999"/>
                    </a:cubicBezTo>
                    <a:cubicBezTo>
                      <a:pt x="8443" y="116619"/>
                      <a:pt x="5476" y="118073"/>
                      <a:pt x="-981" y="115950"/>
                    </a:cubicBezTo>
                    <a:close/>
                  </a:path>
                </a:pathLst>
              </a:custGeom>
              <a:solidFill>
                <a:srgbClr val="FCFDFD"/>
              </a:solidFill>
              <a:ln w="2907" cap="flat">
                <a:noFill/>
                <a:prstDash val="solid"/>
                <a:miter/>
              </a:ln>
            </p:spPr>
            <p:txBody>
              <a:bodyPr rtlCol="0" anchor="ctr"/>
              <a:lstStyle/>
              <a:p>
                <a:endParaRPr lang="en-US" sz="800"/>
              </a:p>
            </p:txBody>
          </p:sp>
          <p:sp>
            <p:nvSpPr>
              <p:cNvPr id="353" name="Graphic 38">
                <a:extLst>
                  <a:ext uri="{FF2B5EF4-FFF2-40B4-BE49-F238E27FC236}">
                    <a16:creationId xmlns:a16="http://schemas.microsoft.com/office/drawing/2014/main" id="{5FE34D2A-BC99-3D2B-C527-D8060B5717EF}"/>
                  </a:ext>
                </a:extLst>
              </p:cNvPr>
              <p:cNvSpPr/>
              <p:nvPr/>
            </p:nvSpPr>
            <p:spPr>
              <a:xfrm>
                <a:off x="16189426" y="1220142"/>
                <a:ext cx="9661" cy="117991"/>
              </a:xfrm>
              <a:custGeom>
                <a:avLst/>
                <a:gdLst>
                  <a:gd name="connsiteX0" fmla="*/ 8680 w 9661"/>
                  <a:gd name="connsiteY0" fmla="*/ -46 h 117991"/>
                  <a:gd name="connsiteX1" fmla="*/ 8680 w 9661"/>
                  <a:gd name="connsiteY1" fmla="*/ 117453 h 117991"/>
                  <a:gd name="connsiteX2" fmla="*/ -832 w 9661"/>
                  <a:gd name="connsiteY2" fmla="*/ 108001 h 117991"/>
                  <a:gd name="connsiteX3" fmla="*/ -977 w 9661"/>
                  <a:gd name="connsiteY3" fmla="*/ 7196 h 117991"/>
                  <a:gd name="connsiteX4" fmla="*/ 8680 w 9661"/>
                  <a:gd name="connsiteY4" fmla="*/ -46 h 1179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1" h="117991">
                    <a:moveTo>
                      <a:pt x="8680" y="-46"/>
                    </a:moveTo>
                    <a:cubicBezTo>
                      <a:pt x="8680" y="39139"/>
                      <a:pt x="8680" y="78306"/>
                      <a:pt x="8680" y="117453"/>
                    </a:cubicBezTo>
                    <a:cubicBezTo>
                      <a:pt x="2310" y="117453"/>
                      <a:pt x="-861" y="114748"/>
                      <a:pt x="-832" y="108001"/>
                    </a:cubicBezTo>
                    <a:cubicBezTo>
                      <a:pt x="-832" y="74380"/>
                      <a:pt x="-599" y="40788"/>
                      <a:pt x="-977" y="7196"/>
                    </a:cubicBezTo>
                    <a:cubicBezTo>
                      <a:pt x="-1122" y="-948"/>
                      <a:pt x="2804" y="-1180"/>
                      <a:pt x="8680" y="-46"/>
                    </a:cubicBezTo>
                    <a:close/>
                  </a:path>
                </a:pathLst>
              </a:custGeom>
              <a:solidFill>
                <a:srgbClr val="FCFDFD"/>
              </a:solidFill>
              <a:ln w="2907" cap="flat">
                <a:noFill/>
                <a:prstDash val="solid"/>
                <a:miter/>
              </a:ln>
            </p:spPr>
            <p:txBody>
              <a:bodyPr rtlCol="0" anchor="ctr"/>
              <a:lstStyle/>
              <a:p>
                <a:endParaRPr lang="en-US" sz="800"/>
              </a:p>
            </p:txBody>
          </p:sp>
          <p:sp>
            <p:nvSpPr>
              <p:cNvPr id="354" name="Graphic 38">
                <a:extLst>
                  <a:ext uri="{FF2B5EF4-FFF2-40B4-BE49-F238E27FC236}">
                    <a16:creationId xmlns:a16="http://schemas.microsoft.com/office/drawing/2014/main" id="{6F83972E-1D63-1680-FF79-FBA2F27FAC21}"/>
                  </a:ext>
                </a:extLst>
              </p:cNvPr>
              <p:cNvSpPr/>
              <p:nvPr/>
            </p:nvSpPr>
            <p:spPr>
              <a:xfrm>
                <a:off x="15249678" y="2237758"/>
                <a:ext cx="9229" cy="114621"/>
              </a:xfrm>
              <a:custGeom>
                <a:avLst/>
                <a:gdLst>
                  <a:gd name="connsiteX0" fmla="*/ 8190 w 9229"/>
                  <a:gd name="connsiteY0" fmla="*/ 58386 h 114621"/>
                  <a:gd name="connsiteX1" fmla="*/ 8190 w 9229"/>
                  <a:gd name="connsiteY1" fmla="*/ 105647 h 114621"/>
                  <a:gd name="connsiteX2" fmla="*/ 3564 w 9229"/>
                  <a:gd name="connsiteY2" fmla="*/ 114082 h 114621"/>
                  <a:gd name="connsiteX3" fmla="*/ -973 w 9229"/>
                  <a:gd name="connsiteY3" fmla="*/ 105531 h 114621"/>
                  <a:gd name="connsiteX4" fmla="*/ -973 w 9229"/>
                  <a:gd name="connsiteY4" fmla="*/ 7867 h 114621"/>
                  <a:gd name="connsiteX5" fmla="*/ 3651 w 9229"/>
                  <a:gd name="connsiteY5" fmla="*/ -538 h 114621"/>
                  <a:gd name="connsiteX6" fmla="*/ 8248 w 9229"/>
                  <a:gd name="connsiteY6" fmla="*/ 7984 h 114621"/>
                  <a:gd name="connsiteX7" fmla="*/ 8190 w 9229"/>
                  <a:gd name="connsiteY7" fmla="*/ 58386 h 11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9" h="114621">
                    <a:moveTo>
                      <a:pt x="8190" y="58386"/>
                    </a:moveTo>
                    <a:cubicBezTo>
                      <a:pt x="8190" y="74121"/>
                      <a:pt x="8190" y="89884"/>
                      <a:pt x="8190" y="105647"/>
                    </a:cubicBezTo>
                    <a:cubicBezTo>
                      <a:pt x="8190" y="109225"/>
                      <a:pt x="8510" y="114140"/>
                      <a:pt x="3564" y="114082"/>
                    </a:cubicBezTo>
                    <a:cubicBezTo>
                      <a:pt x="-1381" y="114024"/>
                      <a:pt x="-973" y="109109"/>
                      <a:pt x="-973" y="105531"/>
                    </a:cubicBezTo>
                    <a:cubicBezTo>
                      <a:pt x="-973" y="72986"/>
                      <a:pt x="-973" y="40412"/>
                      <a:pt x="-973" y="7867"/>
                    </a:cubicBezTo>
                    <a:cubicBezTo>
                      <a:pt x="-973" y="4319"/>
                      <a:pt x="-1352" y="-596"/>
                      <a:pt x="3651" y="-538"/>
                    </a:cubicBezTo>
                    <a:cubicBezTo>
                      <a:pt x="8655" y="-480"/>
                      <a:pt x="8219" y="4406"/>
                      <a:pt x="8248" y="7984"/>
                    </a:cubicBezTo>
                    <a:cubicBezTo>
                      <a:pt x="8190" y="24765"/>
                      <a:pt x="8190" y="41575"/>
                      <a:pt x="8190" y="58386"/>
                    </a:cubicBezTo>
                    <a:close/>
                  </a:path>
                </a:pathLst>
              </a:custGeom>
              <a:solidFill>
                <a:srgbClr val="FCFDFD"/>
              </a:solidFill>
              <a:ln w="2907" cap="flat">
                <a:noFill/>
                <a:prstDash val="solid"/>
                <a:miter/>
              </a:ln>
            </p:spPr>
            <p:txBody>
              <a:bodyPr rtlCol="0" anchor="ctr"/>
              <a:lstStyle/>
              <a:p>
                <a:endParaRPr lang="en-US" sz="800"/>
              </a:p>
            </p:txBody>
          </p:sp>
          <p:sp>
            <p:nvSpPr>
              <p:cNvPr id="355" name="Graphic 38">
                <a:extLst>
                  <a:ext uri="{FF2B5EF4-FFF2-40B4-BE49-F238E27FC236}">
                    <a16:creationId xmlns:a16="http://schemas.microsoft.com/office/drawing/2014/main" id="{BA74730C-5CDC-A4B3-1307-2B6D34C19234}"/>
                  </a:ext>
                </a:extLst>
              </p:cNvPr>
              <p:cNvSpPr/>
              <p:nvPr/>
            </p:nvSpPr>
            <p:spPr>
              <a:xfrm>
                <a:off x="14802940" y="1475263"/>
                <a:ext cx="9258" cy="114476"/>
              </a:xfrm>
              <a:custGeom>
                <a:avLst/>
                <a:gdLst>
                  <a:gd name="connsiteX0" fmla="*/ -952 w 9258"/>
                  <a:gd name="connsiteY0" fmla="*/ 56758 h 114476"/>
                  <a:gd name="connsiteX1" fmla="*/ -952 w 9258"/>
                  <a:gd name="connsiteY1" fmla="*/ 7984 h 114476"/>
                  <a:gd name="connsiteX2" fmla="*/ 3615 w 9258"/>
                  <a:gd name="connsiteY2" fmla="*/ -538 h 114476"/>
                  <a:gd name="connsiteX3" fmla="*/ 8269 w 9258"/>
                  <a:gd name="connsiteY3" fmla="*/ 7839 h 114476"/>
                  <a:gd name="connsiteX4" fmla="*/ 8269 w 9258"/>
                  <a:gd name="connsiteY4" fmla="*/ 105386 h 114476"/>
                  <a:gd name="connsiteX5" fmla="*/ 3731 w 9258"/>
                  <a:gd name="connsiteY5" fmla="*/ 113937 h 114476"/>
                  <a:gd name="connsiteX6" fmla="*/ -981 w 9258"/>
                  <a:gd name="connsiteY6" fmla="*/ 105561 h 114476"/>
                  <a:gd name="connsiteX7" fmla="*/ -952 w 9258"/>
                  <a:gd name="connsiteY7" fmla="*/ 56758 h 11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8" h="114476">
                    <a:moveTo>
                      <a:pt x="-952" y="56758"/>
                    </a:moveTo>
                    <a:cubicBezTo>
                      <a:pt x="-952" y="40500"/>
                      <a:pt x="-952" y="24242"/>
                      <a:pt x="-952" y="7984"/>
                    </a:cubicBezTo>
                    <a:cubicBezTo>
                      <a:pt x="-952" y="4407"/>
                      <a:pt x="-1301" y="-450"/>
                      <a:pt x="3615" y="-538"/>
                    </a:cubicBezTo>
                    <a:cubicBezTo>
                      <a:pt x="8531" y="-625"/>
                      <a:pt x="8269" y="4291"/>
                      <a:pt x="8269" y="7839"/>
                    </a:cubicBezTo>
                    <a:cubicBezTo>
                      <a:pt x="8269" y="40355"/>
                      <a:pt x="8269" y="72870"/>
                      <a:pt x="8269" y="105386"/>
                    </a:cubicBezTo>
                    <a:cubicBezTo>
                      <a:pt x="8269" y="108964"/>
                      <a:pt x="8676" y="113850"/>
                      <a:pt x="3731" y="113937"/>
                    </a:cubicBezTo>
                    <a:cubicBezTo>
                      <a:pt x="-1214" y="114024"/>
                      <a:pt x="-952" y="109138"/>
                      <a:pt x="-981" y="105561"/>
                    </a:cubicBezTo>
                    <a:cubicBezTo>
                      <a:pt x="-981" y="89303"/>
                      <a:pt x="-923" y="73045"/>
                      <a:pt x="-952" y="56758"/>
                    </a:cubicBezTo>
                    <a:close/>
                  </a:path>
                </a:pathLst>
              </a:custGeom>
              <a:solidFill>
                <a:srgbClr val="FCFDFD"/>
              </a:solidFill>
              <a:ln w="2907" cap="flat">
                <a:noFill/>
                <a:prstDash val="solid"/>
                <a:miter/>
              </a:ln>
            </p:spPr>
            <p:txBody>
              <a:bodyPr rtlCol="0" anchor="ctr"/>
              <a:lstStyle/>
              <a:p>
                <a:endParaRPr lang="en-US" sz="800"/>
              </a:p>
            </p:txBody>
          </p:sp>
          <p:sp>
            <p:nvSpPr>
              <p:cNvPr id="356" name="Graphic 38">
                <a:extLst>
                  <a:ext uri="{FF2B5EF4-FFF2-40B4-BE49-F238E27FC236}">
                    <a16:creationId xmlns:a16="http://schemas.microsoft.com/office/drawing/2014/main" id="{71DE2C76-49E9-C341-F97F-7412DBBC3672}"/>
                  </a:ext>
                </a:extLst>
              </p:cNvPr>
              <p:cNvSpPr/>
              <p:nvPr/>
            </p:nvSpPr>
            <p:spPr>
              <a:xfrm>
                <a:off x="16189429" y="2109782"/>
                <a:ext cx="9745" cy="117455"/>
              </a:xfrm>
              <a:custGeom>
                <a:avLst/>
                <a:gdLst>
                  <a:gd name="connsiteX0" fmla="*/ 8764 w 9745"/>
                  <a:gd name="connsiteY0" fmla="*/ -531 h 117455"/>
                  <a:gd name="connsiteX1" fmla="*/ 8444 w 9745"/>
                  <a:gd name="connsiteY1" fmla="*/ 116910 h 117455"/>
                  <a:gd name="connsiteX2" fmla="*/ -981 w 9745"/>
                  <a:gd name="connsiteY2" fmla="*/ 105829 h 117455"/>
                  <a:gd name="connsiteX3" fmla="*/ -981 w 9745"/>
                  <a:gd name="connsiteY3" fmla="*/ 10288 h 117455"/>
                  <a:gd name="connsiteX4" fmla="*/ 8764 w 9745"/>
                  <a:gd name="connsiteY4" fmla="*/ -531 h 117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45" h="117455">
                    <a:moveTo>
                      <a:pt x="8764" y="-531"/>
                    </a:moveTo>
                    <a:cubicBezTo>
                      <a:pt x="8648" y="38616"/>
                      <a:pt x="8531" y="77763"/>
                      <a:pt x="8444" y="116910"/>
                    </a:cubicBezTo>
                    <a:cubicBezTo>
                      <a:pt x="706" y="117114"/>
                      <a:pt x="-1010" y="112605"/>
                      <a:pt x="-981" y="105829"/>
                    </a:cubicBezTo>
                    <a:cubicBezTo>
                      <a:pt x="-806" y="73982"/>
                      <a:pt x="-806" y="42135"/>
                      <a:pt x="-981" y="10288"/>
                    </a:cubicBezTo>
                    <a:cubicBezTo>
                      <a:pt x="-1010" y="3250"/>
                      <a:pt x="1288" y="-735"/>
                      <a:pt x="8764" y="-531"/>
                    </a:cubicBezTo>
                    <a:close/>
                  </a:path>
                </a:pathLst>
              </a:custGeom>
              <a:solidFill>
                <a:srgbClr val="FCFDFD"/>
              </a:solidFill>
              <a:ln w="2907" cap="flat">
                <a:noFill/>
                <a:prstDash val="solid"/>
                <a:miter/>
              </a:ln>
            </p:spPr>
            <p:txBody>
              <a:bodyPr rtlCol="0" anchor="ctr"/>
              <a:lstStyle/>
              <a:p>
                <a:endParaRPr lang="en-US" sz="800"/>
              </a:p>
            </p:txBody>
          </p:sp>
          <p:sp>
            <p:nvSpPr>
              <p:cNvPr id="357" name="Graphic 38">
                <a:extLst>
                  <a:ext uri="{FF2B5EF4-FFF2-40B4-BE49-F238E27FC236}">
                    <a16:creationId xmlns:a16="http://schemas.microsoft.com/office/drawing/2014/main" id="{668E61E3-C153-A6BD-184C-BD7869096D10}"/>
                  </a:ext>
                </a:extLst>
              </p:cNvPr>
              <p:cNvSpPr/>
              <p:nvPr/>
            </p:nvSpPr>
            <p:spPr>
              <a:xfrm>
                <a:off x="14787512" y="1222084"/>
                <a:ext cx="9057" cy="114595"/>
              </a:xfrm>
              <a:custGeom>
                <a:avLst/>
                <a:gdLst>
                  <a:gd name="connsiteX0" fmla="*/ -883 w 9057"/>
                  <a:gd name="connsiteY0" fmla="*/ 55394 h 114595"/>
                  <a:gd name="connsiteX1" fmla="*/ -883 w 9057"/>
                  <a:gd name="connsiteY1" fmla="*/ 6620 h 114595"/>
                  <a:gd name="connsiteX2" fmla="*/ 3364 w 9057"/>
                  <a:gd name="connsiteY2" fmla="*/ -535 h 114595"/>
                  <a:gd name="connsiteX3" fmla="*/ 8076 w 9057"/>
                  <a:gd name="connsiteY3" fmla="*/ 6242 h 114595"/>
                  <a:gd name="connsiteX4" fmla="*/ 8076 w 9057"/>
                  <a:gd name="connsiteY4" fmla="*/ 106931 h 114595"/>
                  <a:gd name="connsiteX5" fmla="*/ 3742 w 9057"/>
                  <a:gd name="connsiteY5" fmla="*/ 114056 h 114595"/>
                  <a:gd name="connsiteX6" fmla="*/ -941 w 9057"/>
                  <a:gd name="connsiteY6" fmla="*/ 105738 h 114595"/>
                  <a:gd name="connsiteX7" fmla="*/ -883 w 9057"/>
                  <a:gd name="connsiteY7" fmla="*/ 55394 h 114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57" h="114595">
                    <a:moveTo>
                      <a:pt x="-883" y="55394"/>
                    </a:moveTo>
                    <a:cubicBezTo>
                      <a:pt x="-883" y="39136"/>
                      <a:pt x="-883" y="22878"/>
                      <a:pt x="-883" y="6620"/>
                    </a:cubicBezTo>
                    <a:cubicBezTo>
                      <a:pt x="-883" y="3508"/>
                      <a:pt x="-708" y="-389"/>
                      <a:pt x="3364" y="-535"/>
                    </a:cubicBezTo>
                    <a:cubicBezTo>
                      <a:pt x="7436" y="-680"/>
                      <a:pt x="8076" y="3043"/>
                      <a:pt x="8076" y="6242"/>
                    </a:cubicBezTo>
                    <a:cubicBezTo>
                      <a:pt x="8076" y="39805"/>
                      <a:pt x="8076" y="73368"/>
                      <a:pt x="8076" y="106931"/>
                    </a:cubicBezTo>
                    <a:cubicBezTo>
                      <a:pt x="8076" y="110072"/>
                      <a:pt x="7727" y="114085"/>
                      <a:pt x="3742" y="114056"/>
                    </a:cubicBezTo>
                    <a:cubicBezTo>
                      <a:pt x="-1436" y="114056"/>
                      <a:pt x="-912" y="109257"/>
                      <a:pt x="-941" y="105738"/>
                    </a:cubicBezTo>
                    <a:cubicBezTo>
                      <a:pt x="-1058" y="88957"/>
                      <a:pt x="-883" y="72175"/>
                      <a:pt x="-883" y="55394"/>
                    </a:cubicBezTo>
                    <a:close/>
                  </a:path>
                </a:pathLst>
              </a:custGeom>
              <a:solidFill>
                <a:srgbClr val="FCFDFD"/>
              </a:solidFill>
              <a:ln w="2907" cap="flat">
                <a:noFill/>
                <a:prstDash val="solid"/>
                <a:miter/>
              </a:ln>
            </p:spPr>
            <p:txBody>
              <a:bodyPr rtlCol="0" anchor="ctr"/>
              <a:lstStyle/>
              <a:p>
                <a:endParaRPr lang="en-US" sz="800"/>
              </a:p>
            </p:txBody>
          </p:sp>
          <p:sp>
            <p:nvSpPr>
              <p:cNvPr id="358" name="Graphic 38">
                <a:extLst>
                  <a:ext uri="{FF2B5EF4-FFF2-40B4-BE49-F238E27FC236}">
                    <a16:creationId xmlns:a16="http://schemas.microsoft.com/office/drawing/2014/main" id="{B41CF0D4-39A0-E09F-F2E8-5B699349BD13}"/>
                  </a:ext>
                </a:extLst>
              </p:cNvPr>
              <p:cNvSpPr/>
              <p:nvPr/>
            </p:nvSpPr>
            <p:spPr>
              <a:xfrm>
                <a:off x="15727343" y="1473747"/>
                <a:ext cx="9406" cy="117507"/>
              </a:xfrm>
              <a:custGeom>
                <a:avLst/>
                <a:gdLst>
                  <a:gd name="connsiteX0" fmla="*/ 8425 w 9406"/>
                  <a:gd name="connsiteY0" fmla="*/ -534 h 117507"/>
                  <a:gd name="connsiteX1" fmla="*/ 8425 w 9406"/>
                  <a:gd name="connsiteY1" fmla="*/ 116965 h 117507"/>
                  <a:gd name="connsiteX2" fmla="*/ -971 w 9406"/>
                  <a:gd name="connsiteY2" fmla="*/ 105855 h 117507"/>
                  <a:gd name="connsiteX3" fmla="*/ -971 w 9406"/>
                  <a:gd name="connsiteY3" fmla="*/ 10518 h 117507"/>
                  <a:gd name="connsiteX4" fmla="*/ 8425 w 9406"/>
                  <a:gd name="connsiteY4" fmla="*/ -534 h 1175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06" h="117507">
                    <a:moveTo>
                      <a:pt x="8425" y="-534"/>
                    </a:moveTo>
                    <a:lnTo>
                      <a:pt x="8425" y="116965"/>
                    </a:lnTo>
                    <a:cubicBezTo>
                      <a:pt x="716" y="117111"/>
                      <a:pt x="-1000" y="112632"/>
                      <a:pt x="-971" y="105855"/>
                    </a:cubicBezTo>
                    <a:cubicBezTo>
                      <a:pt x="-796" y="74096"/>
                      <a:pt x="-796" y="42316"/>
                      <a:pt x="-971" y="10518"/>
                    </a:cubicBezTo>
                    <a:cubicBezTo>
                      <a:pt x="-1145" y="3742"/>
                      <a:pt x="745" y="-708"/>
                      <a:pt x="8425" y="-534"/>
                    </a:cubicBezTo>
                    <a:close/>
                  </a:path>
                </a:pathLst>
              </a:custGeom>
              <a:solidFill>
                <a:srgbClr val="FCFDFD"/>
              </a:solidFill>
              <a:ln w="2907" cap="flat">
                <a:noFill/>
                <a:prstDash val="solid"/>
                <a:miter/>
              </a:ln>
            </p:spPr>
            <p:txBody>
              <a:bodyPr rtlCol="0" anchor="ctr"/>
              <a:lstStyle/>
              <a:p>
                <a:endParaRPr lang="en-US" sz="800"/>
              </a:p>
            </p:txBody>
          </p:sp>
          <p:sp>
            <p:nvSpPr>
              <p:cNvPr id="359" name="Graphic 38">
                <a:extLst>
                  <a:ext uri="{FF2B5EF4-FFF2-40B4-BE49-F238E27FC236}">
                    <a16:creationId xmlns:a16="http://schemas.microsoft.com/office/drawing/2014/main" id="{4D49A4A8-F072-81C0-049E-4A71CB61A2AB}"/>
                  </a:ext>
                </a:extLst>
              </p:cNvPr>
              <p:cNvSpPr/>
              <p:nvPr/>
            </p:nvSpPr>
            <p:spPr>
              <a:xfrm>
                <a:off x="15727179" y="2110180"/>
                <a:ext cx="9192" cy="116744"/>
              </a:xfrm>
              <a:custGeom>
                <a:avLst/>
                <a:gdLst>
                  <a:gd name="connsiteX0" fmla="*/ 8211 w 9192"/>
                  <a:gd name="connsiteY0" fmla="*/ -464 h 116744"/>
                  <a:gd name="connsiteX1" fmla="*/ 8211 w 9192"/>
                  <a:gd name="connsiteY1" fmla="*/ 116134 h 116744"/>
                  <a:gd name="connsiteX2" fmla="*/ -981 w 9192"/>
                  <a:gd name="connsiteY2" fmla="*/ 105111 h 116744"/>
                  <a:gd name="connsiteX3" fmla="*/ -981 w 9192"/>
                  <a:gd name="connsiteY3" fmla="*/ 10646 h 116744"/>
                  <a:gd name="connsiteX4" fmla="*/ 8211 w 9192"/>
                  <a:gd name="connsiteY4" fmla="*/ -464 h 116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2" h="116744">
                    <a:moveTo>
                      <a:pt x="8211" y="-464"/>
                    </a:moveTo>
                    <a:cubicBezTo>
                      <a:pt x="8211" y="38305"/>
                      <a:pt x="8211" y="77190"/>
                      <a:pt x="8211" y="116134"/>
                    </a:cubicBezTo>
                    <a:cubicBezTo>
                      <a:pt x="-137" y="116890"/>
                      <a:pt x="-1010" y="111597"/>
                      <a:pt x="-981" y="105111"/>
                    </a:cubicBezTo>
                    <a:cubicBezTo>
                      <a:pt x="-981" y="73642"/>
                      <a:pt x="-981" y="42144"/>
                      <a:pt x="-981" y="10646"/>
                    </a:cubicBezTo>
                    <a:cubicBezTo>
                      <a:pt x="-981" y="4248"/>
                      <a:pt x="-341" y="-1249"/>
                      <a:pt x="8211" y="-464"/>
                    </a:cubicBezTo>
                    <a:close/>
                  </a:path>
                </a:pathLst>
              </a:custGeom>
              <a:solidFill>
                <a:srgbClr val="FCFDFD"/>
              </a:solidFill>
              <a:ln w="2907" cap="flat">
                <a:noFill/>
                <a:prstDash val="solid"/>
                <a:miter/>
              </a:ln>
            </p:spPr>
            <p:txBody>
              <a:bodyPr rtlCol="0" anchor="ctr"/>
              <a:lstStyle/>
              <a:p>
                <a:endParaRPr lang="en-US" sz="800"/>
              </a:p>
            </p:txBody>
          </p:sp>
          <p:sp>
            <p:nvSpPr>
              <p:cNvPr id="360" name="Graphic 38">
                <a:extLst>
                  <a:ext uri="{FF2B5EF4-FFF2-40B4-BE49-F238E27FC236}">
                    <a16:creationId xmlns:a16="http://schemas.microsoft.com/office/drawing/2014/main" id="{74BFD09E-2FA3-9CFC-B312-04E59DDC9E35}"/>
                  </a:ext>
                </a:extLst>
              </p:cNvPr>
              <p:cNvSpPr/>
              <p:nvPr/>
            </p:nvSpPr>
            <p:spPr>
              <a:xfrm>
                <a:off x="14803142" y="1348751"/>
                <a:ext cx="9335" cy="114471"/>
              </a:xfrm>
              <a:custGeom>
                <a:avLst/>
                <a:gdLst>
                  <a:gd name="connsiteX0" fmla="*/ 8183 w 9335"/>
                  <a:gd name="connsiteY0" fmla="*/ 57278 h 114471"/>
                  <a:gd name="connsiteX1" fmla="*/ 8183 w 9335"/>
                  <a:gd name="connsiteY1" fmla="*/ 106110 h 114471"/>
                  <a:gd name="connsiteX2" fmla="*/ 3092 w 9335"/>
                  <a:gd name="connsiteY2" fmla="*/ 113905 h 114471"/>
                  <a:gd name="connsiteX3" fmla="*/ -980 w 9335"/>
                  <a:gd name="connsiteY3" fmla="*/ 106518 h 114471"/>
                  <a:gd name="connsiteX4" fmla="*/ -980 w 9335"/>
                  <a:gd name="connsiteY4" fmla="*/ 7283 h 114471"/>
                  <a:gd name="connsiteX5" fmla="*/ 4198 w 9335"/>
                  <a:gd name="connsiteY5" fmla="*/ -482 h 114471"/>
                  <a:gd name="connsiteX6" fmla="*/ 8212 w 9335"/>
                  <a:gd name="connsiteY6" fmla="*/ 8447 h 114471"/>
                  <a:gd name="connsiteX7" fmla="*/ 8183 w 9335"/>
                  <a:gd name="connsiteY7" fmla="*/ 57278 h 114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35" h="114471">
                    <a:moveTo>
                      <a:pt x="8183" y="57278"/>
                    </a:moveTo>
                    <a:cubicBezTo>
                      <a:pt x="8183" y="73566"/>
                      <a:pt x="8183" y="89823"/>
                      <a:pt x="8183" y="106110"/>
                    </a:cubicBezTo>
                    <a:cubicBezTo>
                      <a:pt x="8183" y="109542"/>
                      <a:pt x="8619" y="114341"/>
                      <a:pt x="3092" y="113905"/>
                    </a:cubicBezTo>
                    <a:cubicBezTo>
                      <a:pt x="-922" y="113556"/>
                      <a:pt x="-980" y="109601"/>
                      <a:pt x="-980" y="106518"/>
                    </a:cubicBezTo>
                    <a:cubicBezTo>
                      <a:pt x="-980" y="73458"/>
                      <a:pt x="-980" y="40381"/>
                      <a:pt x="-980" y="7283"/>
                    </a:cubicBezTo>
                    <a:cubicBezTo>
                      <a:pt x="-980" y="3822"/>
                      <a:pt x="-1184" y="-1122"/>
                      <a:pt x="4198" y="-482"/>
                    </a:cubicBezTo>
                    <a:cubicBezTo>
                      <a:pt x="9579" y="158"/>
                      <a:pt x="8183" y="5015"/>
                      <a:pt x="8212" y="8447"/>
                    </a:cubicBezTo>
                    <a:cubicBezTo>
                      <a:pt x="8270" y="24734"/>
                      <a:pt x="8212" y="41021"/>
                      <a:pt x="8183" y="57278"/>
                    </a:cubicBezTo>
                    <a:close/>
                  </a:path>
                </a:pathLst>
              </a:custGeom>
              <a:solidFill>
                <a:srgbClr val="FCFDFD"/>
              </a:solidFill>
              <a:ln w="2907" cap="flat">
                <a:noFill/>
                <a:prstDash val="solid"/>
                <a:miter/>
              </a:ln>
            </p:spPr>
            <p:txBody>
              <a:bodyPr rtlCol="0" anchor="ctr"/>
              <a:lstStyle/>
              <a:p>
                <a:endParaRPr lang="en-US" sz="800"/>
              </a:p>
            </p:txBody>
          </p:sp>
          <p:sp>
            <p:nvSpPr>
              <p:cNvPr id="361" name="Graphic 38">
                <a:extLst>
                  <a:ext uri="{FF2B5EF4-FFF2-40B4-BE49-F238E27FC236}">
                    <a16:creationId xmlns:a16="http://schemas.microsoft.com/office/drawing/2014/main" id="{F328CF30-7429-1E13-C13B-E5C42A432D11}"/>
                  </a:ext>
                </a:extLst>
              </p:cNvPr>
              <p:cNvSpPr/>
              <p:nvPr/>
            </p:nvSpPr>
            <p:spPr>
              <a:xfrm>
                <a:off x="16635981" y="1475312"/>
                <a:ext cx="9213" cy="114384"/>
              </a:xfrm>
              <a:custGeom>
                <a:avLst/>
                <a:gdLst>
                  <a:gd name="connsiteX0" fmla="*/ -961 w 9213"/>
                  <a:gd name="connsiteY0" fmla="*/ 55750 h 114384"/>
                  <a:gd name="connsiteX1" fmla="*/ -961 w 9213"/>
                  <a:gd name="connsiteY1" fmla="*/ 6947 h 114384"/>
                  <a:gd name="connsiteX2" fmla="*/ 2996 w 9213"/>
                  <a:gd name="connsiteY2" fmla="*/ -499 h 114384"/>
                  <a:gd name="connsiteX3" fmla="*/ 8232 w 9213"/>
                  <a:gd name="connsiteY3" fmla="*/ 7179 h 114384"/>
                  <a:gd name="connsiteX4" fmla="*/ 8232 w 9213"/>
                  <a:gd name="connsiteY4" fmla="*/ 106356 h 114384"/>
                  <a:gd name="connsiteX5" fmla="*/ 4246 w 9213"/>
                  <a:gd name="connsiteY5" fmla="*/ 113801 h 114384"/>
                  <a:gd name="connsiteX6" fmla="*/ -961 w 9213"/>
                  <a:gd name="connsiteY6" fmla="*/ 106123 h 114384"/>
                  <a:gd name="connsiteX7" fmla="*/ -961 w 9213"/>
                  <a:gd name="connsiteY7" fmla="*/ 55750 h 114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3" h="114384">
                    <a:moveTo>
                      <a:pt x="-961" y="55750"/>
                    </a:moveTo>
                    <a:cubicBezTo>
                      <a:pt x="-961" y="39492"/>
                      <a:pt x="-961" y="23205"/>
                      <a:pt x="-961" y="6947"/>
                    </a:cubicBezTo>
                    <a:cubicBezTo>
                      <a:pt x="-961" y="3864"/>
                      <a:pt x="-961" y="-92"/>
                      <a:pt x="2996" y="-499"/>
                    </a:cubicBezTo>
                    <a:cubicBezTo>
                      <a:pt x="8464" y="-1022"/>
                      <a:pt x="8203" y="3690"/>
                      <a:pt x="8232" y="7179"/>
                    </a:cubicBezTo>
                    <a:cubicBezTo>
                      <a:pt x="8232" y="40257"/>
                      <a:pt x="8232" y="73317"/>
                      <a:pt x="8232" y="106356"/>
                    </a:cubicBezTo>
                    <a:cubicBezTo>
                      <a:pt x="8232" y="109439"/>
                      <a:pt x="8232" y="113423"/>
                      <a:pt x="4246" y="113801"/>
                    </a:cubicBezTo>
                    <a:cubicBezTo>
                      <a:pt x="-1280" y="114354"/>
                      <a:pt x="-932" y="109584"/>
                      <a:pt x="-961" y="106123"/>
                    </a:cubicBezTo>
                    <a:cubicBezTo>
                      <a:pt x="-1019" y="89429"/>
                      <a:pt x="-932" y="72531"/>
                      <a:pt x="-961" y="55750"/>
                    </a:cubicBezTo>
                    <a:close/>
                  </a:path>
                </a:pathLst>
              </a:custGeom>
              <a:solidFill>
                <a:srgbClr val="FCFDFD"/>
              </a:solidFill>
              <a:ln w="2907" cap="flat">
                <a:noFill/>
                <a:prstDash val="solid"/>
                <a:miter/>
              </a:ln>
            </p:spPr>
            <p:txBody>
              <a:bodyPr rtlCol="0" anchor="ctr"/>
              <a:lstStyle/>
              <a:p>
                <a:endParaRPr lang="en-US" sz="800"/>
              </a:p>
            </p:txBody>
          </p:sp>
          <p:sp>
            <p:nvSpPr>
              <p:cNvPr id="362" name="Graphic 38">
                <a:extLst>
                  <a:ext uri="{FF2B5EF4-FFF2-40B4-BE49-F238E27FC236}">
                    <a16:creationId xmlns:a16="http://schemas.microsoft.com/office/drawing/2014/main" id="{CD711078-A62D-D6A8-DDC1-2558F978CA94}"/>
                  </a:ext>
                </a:extLst>
              </p:cNvPr>
              <p:cNvSpPr/>
              <p:nvPr/>
            </p:nvSpPr>
            <p:spPr>
              <a:xfrm>
                <a:off x="16636234" y="1221030"/>
                <a:ext cx="9134" cy="116657"/>
              </a:xfrm>
              <a:custGeom>
                <a:avLst/>
                <a:gdLst>
                  <a:gd name="connsiteX0" fmla="*/ -981 w 9134"/>
                  <a:gd name="connsiteY0" fmla="*/ 115954 h 116657"/>
                  <a:gd name="connsiteX1" fmla="*/ -981 w 9134"/>
                  <a:gd name="connsiteY1" fmla="*/ -382 h 116657"/>
                  <a:gd name="connsiteX2" fmla="*/ 8152 w 9134"/>
                  <a:gd name="connsiteY2" fmla="*/ 10495 h 116657"/>
                  <a:gd name="connsiteX3" fmla="*/ 8152 w 9134"/>
                  <a:gd name="connsiteY3" fmla="*/ 105076 h 116657"/>
                  <a:gd name="connsiteX4" fmla="*/ -981 w 9134"/>
                  <a:gd name="connsiteY4" fmla="*/ 115954 h 1166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4" h="116657">
                    <a:moveTo>
                      <a:pt x="-981" y="115954"/>
                    </a:moveTo>
                    <a:lnTo>
                      <a:pt x="-981" y="-382"/>
                    </a:lnTo>
                    <a:cubicBezTo>
                      <a:pt x="7745" y="-1575"/>
                      <a:pt x="8152" y="4242"/>
                      <a:pt x="8152" y="10495"/>
                    </a:cubicBezTo>
                    <a:cubicBezTo>
                      <a:pt x="8152" y="42022"/>
                      <a:pt x="8152" y="73549"/>
                      <a:pt x="8152" y="105076"/>
                    </a:cubicBezTo>
                    <a:cubicBezTo>
                      <a:pt x="8181" y="111417"/>
                      <a:pt x="7774" y="117175"/>
                      <a:pt x="-981" y="115954"/>
                    </a:cubicBezTo>
                    <a:close/>
                  </a:path>
                </a:pathLst>
              </a:custGeom>
              <a:solidFill>
                <a:srgbClr val="FCFDFD"/>
              </a:solidFill>
              <a:ln w="2907" cap="flat">
                <a:noFill/>
                <a:prstDash val="solid"/>
                <a:miter/>
              </a:ln>
            </p:spPr>
            <p:txBody>
              <a:bodyPr rtlCol="0" anchor="ctr"/>
              <a:lstStyle/>
              <a:p>
                <a:endParaRPr lang="en-US" sz="800"/>
              </a:p>
            </p:txBody>
          </p:sp>
          <p:sp>
            <p:nvSpPr>
              <p:cNvPr id="363" name="Graphic 38">
                <a:extLst>
                  <a:ext uri="{FF2B5EF4-FFF2-40B4-BE49-F238E27FC236}">
                    <a16:creationId xmlns:a16="http://schemas.microsoft.com/office/drawing/2014/main" id="{DA5DA672-5615-DD43-5B4C-530B8B718520}"/>
                  </a:ext>
                </a:extLst>
              </p:cNvPr>
              <p:cNvSpPr/>
              <p:nvPr/>
            </p:nvSpPr>
            <p:spPr>
              <a:xfrm>
                <a:off x="15249046" y="2872495"/>
                <a:ext cx="9774" cy="117095"/>
              </a:xfrm>
              <a:custGeom>
                <a:avLst/>
                <a:gdLst>
                  <a:gd name="connsiteX0" fmla="*/ -574 w 9774"/>
                  <a:gd name="connsiteY0" fmla="*/ -459 h 117095"/>
                  <a:gd name="connsiteX1" fmla="*/ 8793 w 9774"/>
                  <a:gd name="connsiteY1" fmla="*/ 10477 h 117095"/>
                  <a:gd name="connsiteX2" fmla="*/ 8793 w 9774"/>
                  <a:gd name="connsiteY2" fmla="*/ 105290 h 117095"/>
                  <a:gd name="connsiteX3" fmla="*/ -370 w 9774"/>
                  <a:gd name="connsiteY3" fmla="*/ 116517 h 117095"/>
                  <a:gd name="connsiteX4" fmla="*/ -981 w 9774"/>
                  <a:gd name="connsiteY4" fmla="*/ -255 h 117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74" h="117095">
                    <a:moveTo>
                      <a:pt x="-574" y="-459"/>
                    </a:moveTo>
                    <a:cubicBezTo>
                      <a:pt x="7745" y="-1244"/>
                      <a:pt x="8822" y="3875"/>
                      <a:pt x="8793" y="10477"/>
                    </a:cubicBezTo>
                    <a:cubicBezTo>
                      <a:pt x="8793" y="42062"/>
                      <a:pt x="8793" y="73676"/>
                      <a:pt x="8793" y="105290"/>
                    </a:cubicBezTo>
                    <a:cubicBezTo>
                      <a:pt x="8793" y="111776"/>
                      <a:pt x="7978" y="117069"/>
                      <a:pt x="-370" y="116517"/>
                    </a:cubicBezTo>
                    <a:lnTo>
                      <a:pt x="-981" y="-255"/>
                    </a:lnTo>
                    <a:close/>
                  </a:path>
                </a:pathLst>
              </a:custGeom>
              <a:solidFill>
                <a:srgbClr val="FCFDFD"/>
              </a:solidFill>
              <a:ln w="2907" cap="flat">
                <a:noFill/>
                <a:prstDash val="solid"/>
                <a:miter/>
              </a:ln>
            </p:spPr>
            <p:txBody>
              <a:bodyPr rtlCol="0" anchor="ctr"/>
              <a:lstStyle/>
              <a:p>
                <a:endParaRPr lang="en-US" sz="800"/>
              </a:p>
            </p:txBody>
          </p:sp>
          <p:sp>
            <p:nvSpPr>
              <p:cNvPr id="364" name="Graphic 38">
                <a:extLst>
                  <a:ext uri="{FF2B5EF4-FFF2-40B4-BE49-F238E27FC236}">
                    <a16:creationId xmlns:a16="http://schemas.microsoft.com/office/drawing/2014/main" id="{F02BE54C-0D15-C588-58EF-051B4F9F4437}"/>
                  </a:ext>
                </a:extLst>
              </p:cNvPr>
              <p:cNvSpPr/>
              <p:nvPr/>
            </p:nvSpPr>
            <p:spPr>
              <a:xfrm>
                <a:off x="15711616" y="2111272"/>
                <a:ext cx="9318" cy="114504"/>
              </a:xfrm>
              <a:custGeom>
                <a:avLst/>
                <a:gdLst>
                  <a:gd name="connsiteX0" fmla="*/ -894 w 9318"/>
                  <a:gd name="connsiteY0" fmla="*/ 55100 h 114504"/>
                  <a:gd name="connsiteX1" fmla="*/ -894 w 9318"/>
                  <a:gd name="connsiteY1" fmla="*/ 7838 h 114504"/>
                  <a:gd name="connsiteX2" fmla="*/ 3731 w 9318"/>
                  <a:gd name="connsiteY2" fmla="*/ -538 h 114504"/>
                  <a:gd name="connsiteX3" fmla="*/ 8328 w 9318"/>
                  <a:gd name="connsiteY3" fmla="*/ 7955 h 114504"/>
                  <a:gd name="connsiteX4" fmla="*/ 8328 w 9318"/>
                  <a:gd name="connsiteY4" fmla="*/ 105589 h 114504"/>
                  <a:gd name="connsiteX5" fmla="*/ 3615 w 9318"/>
                  <a:gd name="connsiteY5" fmla="*/ 113965 h 114504"/>
                  <a:gd name="connsiteX6" fmla="*/ -981 w 9318"/>
                  <a:gd name="connsiteY6" fmla="*/ 105473 h 114504"/>
                  <a:gd name="connsiteX7" fmla="*/ -981 w 9318"/>
                  <a:gd name="connsiteY7" fmla="*/ 55100 h 114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18" h="114504">
                    <a:moveTo>
                      <a:pt x="-894" y="55100"/>
                    </a:moveTo>
                    <a:cubicBezTo>
                      <a:pt x="-894" y="39336"/>
                      <a:pt x="-894" y="23602"/>
                      <a:pt x="-894" y="7838"/>
                    </a:cubicBezTo>
                    <a:cubicBezTo>
                      <a:pt x="-894" y="4290"/>
                      <a:pt x="-1301" y="-596"/>
                      <a:pt x="3731" y="-538"/>
                    </a:cubicBezTo>
                    <a:cubicBezTo>
                      <a:pt x="8764" y="-480"/>
                      <a:pt x="8328" y="4377"/>
                      <a:pt x="8328" y="7955"/>
                    </a:cubicBezTo>
                    <a:cubicBezTo>
                      <a:pt x="8328" y="40499"/>
                      <a:pt x="8328" y="73044"/>
                      <a:pt x="8328" y="105589"/>
                    </a:cubicBezTo>
                    <a:cubicBezTo>
                      <a:pt x="8328" y="109167"/>
                      <a:pt x="8589" y="114024"/>
                      <a:pt x="3615" y="113965"/>
                    </a:cubicBezTo>
                    <a:cubicBezTo>
                      <a:pt x="-1359" y="113907"/>
                      <a:pt x="-952" y="109080"/>
                      <a:pt x="-981" y="105473"/>
                    </a:cubicBezTo>
                    <a:cubicBezTo>
                      <a:pt x="-981" y="88692"/>
                      <a:pt x="-981" y="71881"/>
                      <a:pt x="-981" y="55100"/>
                    </a:cubicBezTo>
                    <a:close/>
                  </a:path>
                </a:pathLst>
              </a:custGeom>
              <a:solidFill>
                <a:srgbClr val="FCFDFD"/>
              </a:solidFill>
              <a:ln w="2907" cap="flat">
                <a:noFill/>
                <a:prstDash val="solid"/>
                <a:miter/>
              </a:ln>
            </p:spPr>
            <p:txBody>
              <a:bodyPr rtlCol="0" anchor="ctr"/>
              <a:lstStyle/>
              <a:p>
                <a:endParaRPr lang="en-US" sz="800"/>
              </a:p>
            </p:txBody>
          </p:sp>
          <p:sp>
            <p:nvSpPr>
              <p:cNvPr id="365" name="Graphic 38">
                <a:extLst>
                  <a:ext uri="{FF2B5EF4-FFF2-40B4-BE49-F238E27FC236}">
                    <a16:creationId xmlns:a16="http://schemas.microsoft.com/office/drawing/2014/main" id="{B132EE9D-3553-46A6-1AC2-5A043CCEC772}"/>
                  </a:ext>
                </a:extLst>
              </p:cNvPr>
              <p:cNvSpPr/>
              <p:nvPr/>
            </p:nvSpPr>
            <p:spPr>
              <a:xfrm>
                <a:off x="16636085" y="1604979"/>
                <a:ext cx="9291" cy="114503"/>
              </a:xfrm>
              <a:custGeom>
                <a:avLst/>
                <a:gdLst>
                  <a:gd name="connsiteX0" fmla="*/ 8273 w 9291"/>
                  <a:gd name="connsiteY0" fmla="*/ 56698 h 114503"/>
                  <a:gd name="connsiteX1" fmla="*/ 8273 w 9291"/>
                  <a:gd name="connsiteY1" fmla="*/ 105501 h 114503"/>
                  <a:gd name="connsiteX2" fmla="*/ 3619 w 9291"/>
                  <a:gd name="connsiteY2" fmla="*/ 113965 h 114503"/>
                  <a:gd name="connsiteX3" fmla="*/ -977 w 9291"/>
                  <a:gd name="connsiteY3" fmla="*/ 105501 h 114503"/>
                  <a:gd name="connsiteX4" fmla="*/ -977 w 9291"/>
                  <a:gd name="connsiteY4" fmla="*/ 7925 h 114503"/>
                  <a:gd name="connsiteX5" fmla="*/ 3648 w 9291"/>
                  <a:gd name="connsiteY5" fmla="*/ -539 h 114503"/>
                  <a:gd name="connsiteX6" fmla="*/ 8302 w 9291"/>
                  <a:gd name="connsiteY6" fmla="*/ 7925 h 114503"/>
                  <a:gd name="connsiteX7" fmla="*/ 8273 w 9291"/>
                  <a:gd name="connsiteY7" fmla="*/ 56698 h 11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91" h="114503">
                    <a:moveTo>
                      <a:pt x="8273" y="56698"/>
                    </a:moveTo>
                    <a:cubicBezTo>
                      <a:pt x="8273" y="72957"/>
                      <a:pt x="8273" y="89244"/>
                      <a:pt x="8273" y="105501"/>
                    </a:cubicBezTo>
                    <a:cubicBezTo>
                      <a:pt x="8273" y="109079"/>
                      <a:pt x="8535" y="113965"/>
                      <a:pt x="3619" y="113965"/>
                    </a:cubicBezTo>
                    <a:cubicBezTo>
                      <a:pt x="-1297" y="113965"/>
                      <a:pt x="-977" y="109079"/>
                      <a:pt x="-977" y="105501"/>
                    </a:cubicBezTo>
                    <a:cubicBezTo>
                      <a:pt x="-977" y="72957"/>
                      <a:pt x="-977" y="40441"/>
                      <a:pt x="-977" y="7925"/>
                    </a:cubicBezTo>
                    <a:cubicBezTo>
                      <a:pt x="-977" y="4347"/>
                      <a:pt x="-1268" y="-539"/>
                      <a:pt x="3648" y="-539"/>
                    </a:cubicBezTo>
                    <a:cubicBezTo>
                      <a:pt x="8564" y="-539"/>
                      <a:pt x="8273" y="4318"/>
                      <a:pt x="8302" y="7925"/>
                    </a:cubicBezTo>
                    <a:cubicBezTo>
                      <a:pt x="8331" y="24183"/>
                      <a:pt x="8273" y="40441"/>
                      <a:pt x="8273" y="56698"/>
                    </a:cubicBezTo>
                    <a:close/>
                  </a:path>
                </a:pathLst>
              </a:custGeom>
              <a:solidFill>
                <a:srgbClr val="FCFDFD"/>
              </a:solidFill>
              <a:ln w="2907" cap="flat">
                <a:noFill/>
                <a:prstDash val="solid"/>
                <a:miter/>
              </a:ln>
            </p:spPr>
            <p:txBody>
              <a:bodyPr rtlCol="0" anchor="ctr"/>
              <a:lstStyle/>
              <a:p>
                <a:endParaRPr lang="en-US" sz="800"/>
              </a:p>
            </p:txBody>
          </p:sp>
          <p:sp>
            <p:nvSpPr>
              <p:cNvPr id="366" name="Graphic 38">
                <a:extLst>
                  <a:ext uri="{FF2B5EF4-FFF2-40B4-BE49-F238E27FC236}">
                    <a16:creationId xmlns:a16="http://schemas.microsoft.com/office/drawing/2014/main" id="{FF562DFE-F11D-4723-4181-518B5AF99369}"/>
                  </a:ext>
                </a:extLst>
              </p:cNvPr>
              <p:cNvSpPr/>
              <p:nvPr/>
            </p:nvSpPr>
            <p:spPr>
              <a:xfrm>
                <a:off x="16189478" y="1604921"/>
                <a:ext cx="9434" cy="115928"/>
              </a:xfrm>
              <a:custGeom>
                <a:avLst/>
                <a:gdLst>
                  <a:gd name="connsiteX0" fmla="*/ 8454 w 9434"/>
                  <a:gd name="connsiteY0" fmla="*/ 115390 h 115928"/>
                  <a:gd name="connsiteX1" fmla="*/ -971 w 9434"/>
                  <a:gd name="connsiteY1" fmla="*/ 105850 h 115928"/>
                  <a:gd name="connsiteX2" fmla="*/ -971 w 9434"/>
                  <a:gd name="connsiteY2" fmla="*/ 8187 h 115928"/>
                  <a:gd name="connsiteX3" fmla="*/ 3450 w 9434"/>
                  <a:gd name="connsiteY3" fmla="*/ -539 h 115928"/>
                  <a:gd name="connsiteX4" fmla="*/ 8105 w 9434"/>
                  <a:gd name="connsiteY4" fmla="*/ 9321 h 115928"/>
                  <a:gd name="connsiteX5" fmla="*/ 8454 w 9434"/>
                  <a:gd name="connsiteY5" fmla="*/ 114867 h 11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34" h="115928">
                    <a:moveTo>
                      <a:pt x="8454" y="115390"/>
                    </a:moveTo>
                    <a:cubicBezTo>
                      <a:pt x="1938" y="115390"/>
                      <a:pt x="-1000" y="112482"/>
                      <a:pt x="-971" y="105850"/>
                    </a:cubicBezTo>
                    <a:cubicBezTo>
                      <a:pt x="-826" y="73306"/>
                      <a:pt x="-971" y="40731"/>
                      <a:pt x="-971" y="8187"/>
                    </a:cubicBezTo>
                    <a:cubicBezTo>
                      <a:pt x="-971" y="4638"/>
                      <a:pt x="-1407" y="-539"/>
                      <a:pt x="3450" y="-539"/>
                    </a:cubicBezTo>
                    <a:cubicBezTo>
                      <a:pt x="9472" y="-364"/>
                      <a:pt x="8076" y="5453"/>
                      <a:pt x="8105" y="9321"/>
                    </a:cubicBezTo>
                    <a:cubicBezTo>
                      <a:pt x="8309" y="44512"/>
                      <a:pt x="8424" y="79704"/>
                      <a:pt x="8454" y="114867"/>
                    </a:cubicBezTo>
                    <a:close/>
                  </a:path>
                </a:pathLst>
              </a:custGeom>
              <a:solidFill>
                <a:srgbClr val="FCFDFD"/>
              </a:solidFill>
              <a:ln w="2907" cap="flat">
                <a:noFill/>
                <a:prstDash val="solid"/>
                <a:miter/>
              </a:ln>
            </p:spPr>
            <p:txBody>
              <a:bodyPr rtlCol="0" anchor="ctr"/>
              <a:lstStyle/>
              <a:p>
                <a:endParaRPr lang="en-US" sz="800"/>
              </a:p>
            </p:txBody>
          </p:sp>
          <p:sp>
            <p:nvSpPr>
              <p:cNvPr id="367" name="Graphic 38">
                <a:extLst>
                  <a:ext uri="{FF2B5EF4-FFF2-40B4-BE49-F238E27FC236}">
                    <a16:creationId xmlns:a16="http://schemas.microsoft.com/office/drawing/2014/main" id="{FC5B5D8D-61C2-7456-3F28-C3BE8631DD9B}"/>
                  </a:ext>
                </a:extLst>
              </p:cNvPr>
              <p:cNvSpPr/>
              <p:nvPr/>
            </p:nvSpPr>
            <p:spPr>
              <a:xfrm>
                <a:off x="14803141" y="2111357"/>
                <a:ext cx="9335" cy="114363"/>
              </a:xfrm>
              <a:custGeom>
                <a:avLst/>
                <a:gdLst>
                  <a:gd name="connsiteX0" fmla="*/ 8184 w 9335"/>
                  <a:gd name="connsiteY0" fmla="*/ 57226 h 114363"/>
                  <a:gd name="connsiteX1" fmla="*/ 8184 w 9335"/>
                  <a:gd name="connsiteY1" fmla="*/ 106029 h 114363"/>
                  <a:gd name="connsiteX2" fmla="*/ 3093 w 9335"/>
                  <a:gd name="connsiteY2" fmla="*/ 113794 h 114363"/>
                  <a:gd name="connsiteX3" fmla="*/ -979 w 9335"/>
                  <a:gd name="connsiteY3" fmla="*/ 106436 h 114363"/>
                  <a:gd name="connsiteX4" fmla="*/ -979 w 9335"/>
                  <a:gd name="connsiteY4" fmla="*/ 7259 h 114363"/>
                  <a:gd name="connsiteX5" fmla="*/ 4169 w 9335"/>
                  <a:gd name="connsiteY5" fmla="*/ -477 h 114363"/>
                  <a:gd name="connsiteX6" fmla="*/ 8213 w 9335"/>
                  <a:gd name="connsiteY6" fmla="*/ 8423 h 114363"/>
                  <a:gd name="connsiteX7" fmla="*/ 8184 w 9335"/>
                  <a:gd name="connsiteY7" fmla="*/ 57226 h 114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35" h="114363">
                    <a:moveTo>
                      <a:pt x="8184" y="57226"/>
                    </a:moveTo>
                    <a:cubicBezTo>
                      <a:pt x="8184" y="73483"/>
                      <a:pt x="8184" y="89771"/>
                      <a:pt x="8184" y="106029"/>
                    </a:cubicBezTo>
                    <a:cubicBezTo>
                      <a:pt x="8184" y="109460"/>
                      <a:pt x="8620" y="114259"/>
                      <a:pt x="3093" y="113794"/>
                    </a:cubicBezTo>
                    <a:cubicBezTo>
                      <a:pt x="-921" y="113474"/>
                      <a:pt x="-979" y="109518"/>
                      <a:pt x="-979" y="106436"/>
                    </a:cubicBezTo>
                    <a:cubicBezTo>
                      <a:pt x="-979" y="73367"/>
                      <a:pt x="-979" y="40328"/>
                      <a:pt x="-979" y="7259"/>
                    </a:cubicBezTo>
                    <a:cubicBezTo>
                      <a:pt x="-979" y="3769"/>
                      <a:pt x="-1241" y="-1146"/>
                      <a:pt x="4169" y="-477"/>
                    </a:cubicBezTo>
                    <a:cubicBezTo>
                      <a:pt x="9580" y="192"/>
                      <a:pt x="8184" y="4991"/>
                      <a:pt x="8213" y="8423"/>
                    </a:cubicBezTo>
                    <a:cubicBezTo>
                      <a:pt x="8271" y="24709"/>
                      <a:pt x="8213" y="40880"/>
                      <a:pt x="8184" y="57226"/>
                    </a:cubicBezTo>
                    <a:close/>
                  </a:path>
                </a:pathLst>
              </a:custGeom>
              <a:solidFill>
                <a:srgbClr val="FCFDFD"/>
              </a:solidFill>
              <a:ln w="2907" cap="flat">
                <a:noFill/>
                <a:prstDash val="solid"/>
                <a:miter/>
              </a:ln>
            </p:spPr>
            <p:txBody>
              <a:bodyPr rtlCol="0" anchor="ctr"/>
              <a:lstStyle/>
              <a:p>
                <a:endParaRPr lang="en-US" sz="800"/>
              </a:p>
            </p:txBody>
          </p:sp>
          <p:sp>
            <p:nvSpPr>
              <p:cNvPr id="368" name="Graphic 38">
                <a:extLst>
                  <a:ext uri="{FF2B5EF4-FFF2-40B4-BE49-F238E27FC236}">
                    <a16:creationId xmlns:a16="http://schemas.microsoft.com/office/drawing/2014/main" id="{631A0A8E-6ED6-EBE2-6AA7-F00318A03206}"/>
                  </a:ext>
                </a:extLst>
              </p:cNvPr>
              <p:cNvSpPr/>
              <p:nvPr/>
            </p:nvSpPr>
            <p:spPr>
              <a:xfrm>
                <a:off x="15265066" y="1605037"/>
                <a:ext cx="9208" cy="114404"/>
              </a:xfrm>
              <a:custGeom>
                <a:avLst/>
                <a:gdLst>
                  <a:gd name="connsiteX0" fmla="*/ -887 w 9208"/>
                  <a:gd name="connsiteY0" fmla="*/ 56320 h 114404"/>
                  <a:gd name="connsiteX1" fmla="*/ -887 w 9208"/>
                  <a:gd name="connsiteY1" fmla="*/ 9146 h 114404"/>
                  <a:gd name="connsiteX2" fmla="*/ 4001 w 9208"/>
                  <a:gd name="connsiteY2" fmla="*/ -539 h 114404"/>
                  <a:gd name="connsiteX3" fmla="*/ 8189 w 9208"/>
                  <a:gd name="connsiteY3" fmla="*/ 8187 h 114404"/>
                  <a:gd name="connsiteX4" fmla="*/ 8189 w 9208"/>
                  <a:gd name="connsiteY4" fmla="*/ 105763 h 114404"/>
                  <a:gd name="connsiteX5" fmla="*/ 3448 w 9208"/>
                  <a:gd name="connsiteY5" fmla="*/ 113849 h 114404"/>
                  <a:gd name="connsiteX6" fmla="*/ -887 w 9208"/>
                  <a:gd name="connsiteY6" fmla="*/ 105123 h 114404"/>
                  <a:gd name="connsiteX7" fmla="*/ -887 w 9208"/>
                  <a:gd name="connsiteY7" fmla="*/ 56320 h 114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08" h="114404">
                    <a:moveTo>
                      <a:pt x="-887" y="56320"/>
                    </a:moveTo>
                    <a:cubicBezTo>
                      <a:pt x="-887" y="40586"/>
                      <a:pt x="-887" y="24852"/>
                      <a:pt x="-887" y="9146"/>
                    </a:cubicBezTo>
                    <a:cubicBezTo>
                      <a:pt x="-887" y="5249"/>
                      <a:pt x="-2079" y="-539"/>
                      <a:pt x="4001" y="-539"/>
                    </a:cubicBezTo>
                    <a:cubicBezTo>
                      <a:pt x="8917" y="-539"/>
                      <a:pt x="8189" y="4696"/>
                      <a:pt x="8189" y="8187"/>
                    </a:cubicBezTo>
                    <a:cubicBezTo>
                      <a:pt x="8189" y="40732"/>
                      <a:pt x="8189" y="73248"/>
                      <a:pt x="8189" y="105763"/>
                    </a:cubicBezTo>
                    <a:cubicBezTo>
                      <a:pt x="8189" y="109166"/>
                      <a:pt x="8800" y="114198"/>
                      <a:pt x="3448" y="113849"/>
                    </a:cubicBezTo>
                    <a:cubicBezTo>
                      <a:pt x="-1904" y="113500"/>
                      <a:pt x="-858" y="108643"/>
                      <a:pt x="-887" y="105123"/>
                    </a:cubicBezTo>
                    <a:cubicBezTo>
                      <a:pt x="-945" y="88837"/>
                      <a:pt x="-887" y="72579"/>
                      <a:pt x="-887" y="56320"/>
                    </a:cubicBezTo>
                    <a:close/>
                  </a:path>
                </a:pathLst>
              </a:custGeom>
              <a:solidFill>
                <a:srgbClr val="FCFDFD"/>
              </a:solidFill>
              <a:ln w="2907" cap="flat">
                <a:noFill/>
                <a:prstDash val="solid"/>
                <a:miter/>
              </a:ln>
            </p:spPr>
            <p:txBody>
              <a:bodyPr rtlCol="0" anchor="ctr"/>
              <a:lstStyle/>
              <a:p>
                <a:endParaRPr lang="en-US" sz="800"/>
              </a:p>
            </p:txBody>
          </p:sp>
          <p:sp>
            <p:nvSpPr>
              <p:cNvPr id="369" name="Graphic 38">
                <a:extLst>
                  <a:ext uri="{FF2B5EF4-FFF2-40B4-BE49-F238E27FC236}">
                    <a16:creationId xmlns:a16="http://schemas.microsoft.com/office/drawing/2014/main" id="{D95FB7D2-1A5C-2947-BF33-CAAFCDBDF07F}"/>
                  </a:ext>
                </a:extLst>
              </p:cNvPr>
              <p:cNvSpPr/>
              <p:nvPr/>
            </p:nvSpPr>
            <p:spPr>
              <a:xfrm>
                <a:off x="15710205" y="3251801"/>
                <a:ext cx="10812" cy="117993"/>
              </a:xfrm>
              <a:custGeom>
                <a:avLst/>
                <a:gdLst>
                  <a:gd name="connsiteX0" fmla="*/ 23 w 10812"/>
                  <a:gd name="connsiteY0" fmla="*/ 117455 h 117993"/>
                  <a:gd name="connsiteX1" fmla="*/ 23 w 10812"/>
                  <a:gd name="connsiteY1" fmla="*/ -539 h 117993"/>
                  <a:gd name="connsiteX2" fmla="*/ 9826 w 10812"/>
                  <a:gd name="connsiteY2" fmla="*/ 10426 h 117993"/>
                  <a:gd name="connsiteX3" fmla="*/ 9826 w 10812"/>
                  <a:gd name="connsiteY3" fmla="*/ 106403 h 117993"/>
                  <a:gd name="connsiteX4" fmla="*/ 23 w 10812"/>
                  <a:gd name="connsiteY4" fmla="*/ 117455 h 117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12" h="117993">
                    <a:moveTo>
                      <a:pt x="23" y="117455"/>
                    </a:moveTo>
                    <a:cubicBezTo>
                      <a:pt x="-1227" y="78134"/>
                      <a:pt x="-1402" y="38928"/>
                      <a:pt x="23" y="-539"/>
                    </a:cubicBezTo>
                    <a:cubicBezTo>
                      <a:pt x="7412" y="-539"/>
                      <a:pt x="9884" y="3329"/>
                      <a:pt x="9826" y="10426"/>
                    </a:cubicBezTo>
                    <a:cubicBezTo>
                      <a:pt x="9623" y="42448"/>
                      <a:pt x="9623" y="74440"/>
                      <a:pt x="9826" y="106403"/>
                    </a:cubicBezTo>
                    <a:cubicBezTo>
                      <a:pt x="9971" y="113616"/>
                      <a:pt x="7266" y="117339"/>
                      <a:pt x="23" y="117455"/>
                    </a:cubicBezTo>
                    <a:close/>
                  </a:path>
                </a:pathLst>
              </a:custGeom>
              <a:solidFill>
                <a:srgbClr val="FCFDFD"/>
              </a:solidFill>
              <a:ln w="2907" cap="flat">
                <a:noFill/>
                <a:prstDash val="solid"/>
                <a:miter/>
              </a:ln>
            </p:spPr>
            <p:txBody>
              <a:bodyPr rtlCol="0" anchor="ctr"/>
              <a:lstStyle/>
              <a:p>
                <a:endParaRPr lang="en-US" sz="800"/>
              </a:p>
            </p:txBody>
          </p:sp>
          <p:sp>
            <p:nvSpPr>
              <p:cNvPr id="370" name="Graphic 38">
                <a:extLst>
                  <a:ext uri="{FF2B5EF4-FFF2-40B4-BE49-F238E27FC236}">
                    <a16:creationId xmlns:a16="http://schemas.microsoft.com/office/drawing/2014/main" id="{546CB20B-20A2-76B6-6A84-3B2C37059D75}"/>
                  </a:ext>
                </a:extLst>
              </p:cNvPr>
              <p:cNvSpPr/>
              <p:nvPr/>
            </p:nvSpPr>
            <p:spPr>
              <a:xfrm>
                <a:off x="15711674" y="1605023"/>
                <a:ext cx="9137" cy="114382"/>
              </a:xfrm>
              <a:custGeom>
                <a:avLst/>
                <a:gdLst>
                  <a:gd name="connsiteX0" fmla="*/ -922 w 9137"/>
                  <a:gd name="connsiteY0" fmla="*/ 55986 h 114382"/>
                  <a:gd name="connsiteX1" fmla="*/ -922 w 9137"/>
                  <a:gd name="connsiteY1" fmla="*/ 7212 h 114382"/>
                  <a:gd name="connsiteX2" fmla="*/ 4168 w 9137"/>
                  <a:gd name="connsiteY2" fmla="*/ -495 h 114382"/>
                  <a:gd name="connsiteX3" fmla="*/ 8154 w 9137"/>
                  <a:gd name="connsiteY3" fmla="*/ 6979 h 114382"/>
                  <a:gd name="connsiteX4" fmla="*/ 8154 w 9137"/>
                  <a:gd name="connsiteY4" fmla="*/ 106097 h 114382"/>
                  <a:gd name="connsiteX5" fmla="*/ 2947 w 9137"/>
                  <a:gd name="connsiteY5" fmla="*/ 113805 h 114382"/>
                  <a:gd name="connsiteX6" fmla="*/ -981 w 9137"/>
                  <a:gd name="connsiteY6" fmla="*/ 106359 h 114382"/>
                  <a:gd name="connsiteX7" fmla="*/ -922 w 9137"/>
                  <a:gd name="connsiteY7" fmla="*/ 55986 h 11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37" h="114382">
                    <a:moveTo>
                      <a:pt x="-922" y="55986"/>
                    </a:moveTo>
                    <a:cubicBezTo>
                      <a:pt x="-922" y="39728"/>
                      <a:pt x="-922" y="23470"/>
                      <a:pt x="-922" y="7212"/>
                    </a:cubicBezTo>
                    <a:cubicBezTo>
                      <a:pt x="-922" y="3809"/>
                      <a:pt x="-1388" y="-1048"/>
                      <a:pt x="4168" y="-495"/>
                    </a:cubicBezTo>
                    <a:cubicBezTo>
                      <a:pt x="8154" y="-88"/>
                      <a:pt x="8154" y="3896"/>
                      <a:pt x="8154" y="6979"/>
                    </a:cubicBezTo>
                    <a:cubicBezTo>
                      <a:pt x="8154" y="39931"/>
                      <a:pt x="8154" y="72971"/>
                      <a:pt x="8154" y="106097"/>
                    </a:cubicBezTo>
                    <a:cubicBezTo>
                      <a:pt x="8154" y="109558"/>
                      <a:pt x="8444" y="114328"/>
                      <a:pt x="2947" y="113805"/>
                    </a:cubicBezTo>
                    <a:cubicBezTo>
                      <a:pt x="-1126" y="113397"/>
                      <a:pt x="-981" y="109413"/>
                      <a:pt x="-981" y="106359"/>
                    </a:cubicBezTo>
                    <a:cubicBezTo>
                      <a:pt x="-952" y="89578"/>
                      <a:pt x="-922" y="72767"/>
                      <a:pt x="-922" y="55986"/>
                    </a:cubicBezTo>
                    <a:close/>
                  </a:path>
                </a:pathLst>
              </a:custGeom>
              <a:solidFill>
                <a:srgbClr val="FCFDFD"/>
              </a:solidFill>
              <a:ln w="2907" cap="flat">
                <a:noFill/>
                <a:prstDash val="solid"/>
                <a:miter/>
              </a:ln>
            </p:spPr>
            <p:txBody>
              <a:bodyPr rtlCol="0" anchor="ctr"/>
              <a:lstStyle/>
              <a:p>
                <a:endParaRPr lang="en-US" sz="800"/>
              </a:p>
            </p:txBody>
          </p:sp>
          <p:sp>
            <p:nvSpPr>
              <p:cNvPr id="371" name="Graphic 38">
                <a:extLst>
                  <a:ext uri="{FF2B5EF4-FFF2-40B4-BE49-F238E27FC236}">
                    <a16:creationId xmlns:a16="http://schemas.microsoft.com/office/drawing/2014/main" id="{F033EEC4-A5F9-95F5-A113-0EE7D084FEC9}"/>
                  </a:ext>
                </a:extLst>
              </p:cNvPr>
              <p:cNvSpPr/>
              <p:nvPr/>
            </p:nvSpPr>
            <p:spPr>
              <a:xfrm>
                <a:off x="15265015" y="3251828"/>
                <a:ext cx="9687" cy="117907"/>
              </a:xfrm>
              <a:custGeom>
                <a:avLst/>
                <a:gdLst>
                  <a:gd name="connsiteX0" fmla="*/ 8706 w 9687"/>
                  <a:gd name="connsiteY0" fmla="*/ -537 h 117907"/>
                  <a:gd name="connsiteX1" fmla="*/ 8706 w 9687"/>
                  <a:gd name="connsiteY1" fmla="*/ 117369 h 117907"/>
                  <a:gd name="connsiteX2" fmla="*/ -980 w 9687"/>
                  <a:gd name="connsiteY2" fmla="*/ 106288 h 117907"/>
                  <a:gd name="connsiteX3" fmla="*/ -980 w 9687"/>
                  <a:gd name="connsiteY3" fmla="*/ 10514 h 117907"/>
                  <a:gd name="connsiteX4" fmla="*/ 8706 w 9687"/>
                  <a:gd name="connsiteY4" fmla="*/ -537 h 117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7" h="117907">
                    <a:moveTo>
                      <a:pt x="8706" y="-537"/>
                    </a:moveTo>
                    <a:cubicBezTo>
                      <a:pt x="8706" y="38755"/>
                      <a:pt x="8706" y="78077"/>
                      <a:pt x="8706" y="117369"/>
                    </a:cubicBezTo>
                    <a:cubicBezTo>
                      <a:pt x="1259" y="117369"/>
                      <a:pt x="-1039" y="113297"/>
                      <a:pt x="-980" y="106288"/>
                    </a:cubicBezTo>
                    <a:cubicBezTo>
                      <a:pt x="-806" y="74383"/>
                      <a:pt x="-806" y="42478"/>
                      <a:pt x="-980" y="10514"/>
                    </a:cubicBezTo>
                    <a:cubicBezTo>
                      <a:pt x="-952" y="3593"/>
                      <a:pt x="1143" y="-625"/>
                      <a:pt x="8706" y="-537"/>
                    </a:cubicBezTo>
                    <a:close/>
                  </a:path>
                </a:pathLst>
              </a:custGeom>
              <a:solidFill>
                <a:srgbClr val="FCFDFD"/>
              </a:solidFill>
              <a:ln w="2907" cap="flat">
                <a:noFill/>
                <a:prstDash val="solid"/>
                <a:miter/>
              </a:ln>
            </p:spPr>
            <p:txBody>
              <a:bodyPr rtlCol="0" anchor="ctr"/>
              <a:lstStyle/>
              <a:p>
                <a:endParaRPr lang="en-US" sz="800"/>
              </a:p>
            </p:txBody>
          </p:sp>
          <p:sp>
            <p:nvSpPr>
              <p:cNvPr id="372" name="Graphic 38">
                <a:extLst>
                  <a:ext uri="{FF2B5EF4-FFF2-40B4-BE49-F238E27FC236}">
                    <a16:creationId xmlns:a16="http://schemas.microsoft.com/office/drawing/2014/main" id="{D5874F70-D2D7-3ADE-81E6-4B7D0299968C}"/>
                  </a:ext>
                </a:extLst>
              </p:cNvPr>
              <p:cNvSpPr/>
              <p:nvPr/>
            </p:nvSpPr>
            <p:spPr>
              <a:xfrm>
                <a:off x="14787547" y="2490993"/>
                <a:ext cx="9192" cy="114399"/>
              </a:xfrm>
              <a:custGeom>
                <a:avLst/>
                <a:gdLst>
                  <a:gd name="connsiteX0" fmla="*/ 8129 w 9192"/>
                  <a:gd name="connsiteY0" fmla="*/ 57949 h 114399"/>
                  <a:gd name="connsiteX1" fmla="*/ 8129 w 9192"/>
                  <a:gd name="connsiteY1" fmla="*/ 105123 h 114399"/>
                  <a:gd name="connsiteX2" fmla="*/ 3794 w 9192"/>
                  <a:gd name="connsiteY2" fmla="*/ 113848 h 114399"/>
                  <a:gd name="connsiteX3" fmla="*/ -947 w 9192"/>
                  <a:gd name="connsiteY3" fmla="*/ 105705 h 114399"/>
                  <a:gd name="connsiteX4" fmla="*/ -947 w 9192"/>
                  <a:gd name="connsiteY4" fmla="*/ 8187 h 114399"/>
                  <a:gd name="connsiteX5" fmla="*/ 3271 w 9192"/>
                  <a:gd name="connsiteY5" fmla="*/ -539 h 114399"/>
                  <a:gd name="connsiteX6" fmla="*/ 8129 w 9192"/>
                  <a:gd name="connsiteY6" fmla="*/ 9175 h 114399"/>
                  <a:gd name="connsiteX7" fmla="*/ 8129 w 9192"/>
                  <a:gd name="connsiteY7" fmla="*/ 57949 h 1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2" h="114399">
                    <a:moveTo>
                      <a:pt x="8129" y="57949"/>
                    </a:moveTo>
                    <a:cubicBezTo>
                      <a:pt x="8129" y="73684"/>
                      <a:pt x="8129" y="89418"/>
                      <a:pt x="8129" y="105123"/>
                    </a:cubicBezTo>
                    <a:cubicBezTo>
                      <a:pt x="8129" y="108642"/>
                      <a:pt x="8711" y="113558"/>
                      <a:pt x="3794" y="113848"/>
                    </a:cubicBezTo>
                    <a:cubicBezTo>
                      <a:pt x="-1122" y="114139"/>
                      <a:pt x="-947" y="109166"/>
                      <a:pt x="-947" y="105705"/>
                    </a:cubicBezTo>
                    <a:cubicBezTo>
                      <a:pt x="-947" y="73218"/>
                      <a:pt x="-947" y="40731"/>
                      <a:pt x="-947" y="8187"/>
                    </a:cubicBezTo>
                    <a:cubicBezTo>
                      <a:pt x="-947" y="4725"/>
                      <a:pt x="-1645" y="-539"/>
                      <a:pt x="3271" y="-539"/>
                    </a:cubicBezTo>
                    <a:cubicBezTo>
                      <a:pt x="9321" y="-539"/>
                      <a:pt x="8099" y="5278"/>
                      <a:pt x="8129" y="9175"/>
                    </a:cubicBezTo>
                    <a:cubicBezTo>
                      <a:pt x="8245" y="25433"/>
                      <a:pt x="8129" y="41691"/>
                      <a:pt x="8129" y="57949"/>
                    </a:cubicBezTo>
                    <a:close/>
                  </a:path>
                </a:pathLst>
              </a:custGeom>
              <a:solidFill>
                <a:srgbClr val="FCFDFD"/>
              </a:solidFill>
              <a:ln w="2907" cap="flat">
                <a:noFill/>
                <a:prstDash val="solid"/>
                <a:miter/>
              </a:ln>
            </p:spPr>
            <p:txBody>
              <a:bodyPr rtlCol="0" anchor="ctr"/>
              <a:lstStyle/>
              <a:p>
                <a:endParaRPr lang="en-US" sz="800"/>
              </a:p>
            </p:txBody>
          </p:sp>
          <p:sp>
            <p:nvSpPr>
              <p:cNvPr id="373" name="Graphic 38">
                <a:extLst>
                  <a:ext uri="{FF2B5EF4-FFF2-40B4-BE49-F238E27FC236}">
                    <a16:creationId xmlns:a16="http://schemas.microsoft.com/office/drawing/2014/main" id="{42B4849E-4813-50E6-30D0-6EEBF92727A3}"/>
                  </a:ext>
                </a:extLst>
              </p:cNvPr>
              <p:cNvSpPr/>
              <p:nvPr/>
            </p:nvSpPr>
            <p:spPr>
              <a:xfrm>
                <a:off x="15265135" y="1222088"/>
                <a:ext cx="9284" cy="114619"/>
              </a:xfrm>
              <a:custGeom>
                <a:avLst/>
                <a:gdLst>
                  <a:gd name="connsiteX0" fmla="*/ -955 w 9284"/>
                  <a:gd name="connsiteY0" fmla="*/ 56786 h 114619"/>
                  <a:gd name="connsiteX1" fmla="*/ -955 w 9284"/>
                  <a:gd name="connsiteY1" fmla="*/ 7954 h 114619"/>
                  <a:gd name="connsiteX2" fmla="*/ 3699 w 9284"/>
                  <a:gd name="connsiteY2" fmla="*/ -539 h 114619"/>
                  <a:gd name="connsiteX3" fmla="*/ 8295 w 9284"/>
                  <a:gd name="connsiteY3" fmla="*/ 7925 h 114619"/>
                  <a:gd name="connsiteX4" fmla="*/ 8295 w 9284"/>
                  <a:gd name="connsiteY4" fmla="*/ 105589 h 114619"/>
                  <a:gd name="connsiteX5" fmla="*/ 3728 w 9284"/>
                  <a:gd name="connsiteY5" fmla="*/ 114081 h 114619"/>
                  <a:gd name="connsiteX6" fmla="*/ -955 w 9284"/>
                  <a:gd name="connsiteY6" fmla="*/ 105647 h 114619"/>
                  <a:gd name="connsiteX7" fmla="*/ -955 w 9284"/>
                  <a:gd name="connsiteY7" fmla="*/ 56786 h 11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84" h="114619">
                    <a:moveTo>
                      <a:pt x="-955" y="56786"/>
                    </a:moveTo>
                    <a:cubicBezTo>
                      <a:pt x="-955" y="40528"/>
                      <a:pt x="-955" y="24241"/>
                      <a:pt x="-955" y="7954"/>
                    </a:cubicBezTo>
                    <a:cubicBezTo>
                      <a:pt x="-955" y="4348"/>
                      <a:pt x="-1188" y="-509"/>
                      <a:pt x="3699" y="-539"/>
                    </a:cubicBezTo>
                    <a:cubicBezTo>
                      <a:pt x="8586" y="-568"/>
                      <a:pt x="8266" y="4377"/>
                      <a:pt x="8295" y="7925"/>
                    </a:cubicBezTo>
                    <a:cubicBezTo>
                      <a:pt x="8295" y="40479"/>
                      <a:pt x="8295" y="73035"/>
                      <a:pt x="8295" y="105589"/>
                    </a:cubicBezTo>
                    <a:cubicBezTo>
                      <a:pt x="8295" y="109137"/>
                      <a:pt x="8702" y="114081"/>
                      <a:pt x="3728" y="114081"/>
                    </a:cubicBezTo>
                    <a:cubicBezTo>
                      <a:pt x="-1246" y="114081"/>
                      <a:pt x="-926" y="109253"/>
                      <a:pt x="-955" y="105647"/>
                    </a:cubicBezTo>
                    <a:cubicBezTo>
                      <a:pt x="-1014" y="89360"/>
                      <a:pt x="-955" y="73073"/>
                      <a:pt x="-955" y="56786"/>
                    </a:cubicBezTo>
                    <a:close/>
                  </a:path>
                </a:pathLst>
              </a:custGeom>
              <a:solidFill>
                <a:srgbClr val="FCFDFD"/>
              </a:solidFill>
              <a:ln w="2907" cap="flat">
                <a:noFill/>
                <a:prstDash val="solid"/>
                <a:miter/>
              </a:ln>
            </p:spPr>
            <p:txBody>
              <a:bodyPr rtlCol="0" anchor="ctr"/>
              <a:lstStyle/>
              <a:p>
                <a:endParaRPr lang="en-US" sz="800"/>
              </a:p>
            </p:txBody>
          </p:sp>
          <p:sp>
            <p:nvSpPr>
              <p:cNvPr id="374" name="Graphic 38">
                <a:extLst>
                  <a:ext uri="{FF2B5EF4-FFF2-40B4-BE49-F238E27FC236}">
                    <a16:creationId xmlns:a16="http://schemas.microsoft.com/office/drawing/2014/main" id="{E943A1EB-D52C-A12E-7615-CC1EFA234764}"/>
                  </a:ext>
                </a:extLst>
              </p:cNvPr>
              <p:cNvSpPr/>
              <p:nvPr/>
            </p:nvSpPr>
            <p:spPr>
              <a:xfrm>
                <a:off x="14803082" y="3125543"/>
                <a:ext cx="10242" cy="116536"/>
              </a:xfrm>
              <a:custGeom>
                <a:avLst/>
                <a:gdLst>
                  <a:gd name="connsiteX0" fmla="*/ 8737 w 10242"/>
                  <a:gd name="connsiteY0" fmla="*/ -535 h 116536"/>
                  <a:gd name="connsiteX1" fmla="*/ 9261 w 10242"/>
                  <a:gd name="connsiteY1" fmla="*/ 113097 h 116536"/>
                  <a:gd name="connsiteX2" fmla="*/ -979 w 10242"/>
                  <a:gd name="connsiteY2" fmla="*/ 107280 h 116536"/>
                  <a:gd name="connsiteX3" fmla="*/ -979 w 10242"/>
                  <a:gd name="connsiteY3" fmla="*/ 8394 h 116536"/>
                  <a:gd name="connsiteX4" fmla="*/ 8737 w 10242"/>
                  <a:gd name="connsiteY4" fmla="*/ -535 h 11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42" h="116536">
                    <a:moveTo>
                      <a:pt x="8737" y="-535"/>
                    </a:moveTo>
                    <a:lnTo>
                      <a:pt x="9261" y="113097"/>
                    </a:lnTo>
                    <a:cubicBezTo>
                      <a:pt x="1378" y="119292"/>
                      <a:pt x="-950" y="114725"/>
                      <a:pt x="-979" y="107280"/>
                    </a:cubicBezTo>
                    <a:cubicBezTo>
                      <a:pt x="-979" y="74328"/>
                      <a:pt x="-979" y="41376"/>
                      <a:pt x="-979" y="8394"/>
                    </a:cubicBezTo>
                    <a:cubicBezTo>
                      <a:pt x="-1095" y="1705"/>
                      <a:pt x="2512" y="-651"/>
                      <a:pt x="8737" y="-535"/>
                    </a:cubicBezTo>
                    <a:close/>
                  </a:path>
                </a:pathLst>
              </a:custGeom>
              <a:solidFill>
                <a:srgbClr val="FCFDFD"/>
              </a:solidFill>
              <a:ln w="2907" cap="flat">
                <a:noFill/>
                <a:prstDash val="solid"/>
                <a:miter/>
              </a:ln>
            </p:spPr>
            <p:txBody>
              <a:bodyPr rtlCol="0" anchor="ctr"/>
              <a:lstStyle/>
              <a:p>
                <a:endParaRPr lang="en-US" sz="800"/>
              </a:p>
            </p:txBody>
          </p:sp>
          <p:sp>
            <p:nvSpPr>
              <p:cNvPr id="375" name="Graphic 38">
                <a:extLst>
                  <a:ext uri="{FF2B5EF4-FFF2-40B4-BE49-F238E27FC236}">
                    <a16:creationId xmlns:a16="http://schemas.microsoft.com/office/drawing/2014/main" id="{5E6430AD-D440-CDA0-4AEC-6BA7CE831C16}"/>
                  </a:ext>
                </a:extLst>
              </p:cNvPr>
              <p:cNvSpPr/>
              <p:nvPr/>
            </p:nvSpPr>
            <p:spPr>
              <a:xfrm>
                <a:off x="16189429" y="2236244"/>
                <a:ext cx="9716" cy="117676"/>
              </a:xfrm>
              <a:custGeom>
                <a:avLst/>
                <a:gdLst>
                  <a:gd name="connsiteX0" fmla="*/ 8474 w 9716"/>
                  <a:gd name="connsiteY0" fmla="*/ -536 h 117676"/>
                  <a:gd name="connsiteX1" fmla="*/ 8736 w 9716"/>
                  <a:gd name="connsiteY1" fmla="*/ 117138 h 117676"/>
                  <a:gd name="connsiteX2" fmla="*/ -980 w 9716"/>
                  <a:gd name="connsiteY2" fmla="*/ 106202 h 117676"/>
                  <a:gd name="connsiteX3" fmla="*/ -980 w 9716"/>
                  <a:gd name="connsiteY3" fmla="*/ 10574 h 117676"/>
                  <a:gd name="connsiteX4" fmla="*/ 8474 w 9716"/>
                  <a:gd name="connsiteY4" fmla="*/ -536 h 117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6" h="117676">
                    <a:moveTo>
                      <a:pt x="8474" y="-536"/>
                    </a:moveTo>
                    <a:lnTo>
                      <a:pt x="8736" y="117138"/>
                    </a:lnTo>
                    <a:cubicBezTo>
                      <a:pt x="1289" y="117138"/>
                      <a:pt x="-1039" y="113211"/>
                      <a:pt x="-980" y="106202"/>
                    </a:cubicBezTo>
                    <a:cubicBezTo>
                      <a:pt x="-806" y="74326"/>
                      <a:pt x="-806" y="42450"/>
                      <a:pt x="-980" y="10574"/>
                    </a:cubicBezTo>
                    <a:cubicBezTo>
                      <a:pt x="-1009" y="3768"/>
                      <a:pt x="824" y="-653"/>
                      <a:pt x="8474" y="-536"/>
                    </a:cubicBezTo>
                    <a:close/>
                  </a:path>
                </a:pathLst>
              </a:custGeom>
              <a:solidFill>
                <a:srgbClr val="FCFDFD"/>
              </a:solidFill>
              <a:ln w="2907" cap="flat">
                <a:noFill/>
                <a:prstDash val="solid"/>
                <a:miter/>
              </a:ln>
            </p:spPr>
            <p:txBody>
              <a:bodyPr rtlCol="0" anchor="ctr"/>
              <a:lstStyle/>
              <a:p>
                <a:endParaRPr lang="en-US" sz="800"/>
              </a:p>
            </p:txBody>
          </p:sp>
          <p:sp>
            <p:nvSpPr>
              <p:cNvPr id="376" name="Graphic 38">
                <a:extLst>
                  <a:ext uri="{FF2B5EF4-FFF2-40B4-BE49-F238E27FC236}">
                    <a16:creationId xmlns:a16="http://schemas.microsoft.com/office/drawing/2014/main" id="{EEB09747-D0A8-2AB5-64F7-2053AC8BF28C}"/>
                  </a:ext>
                </a:extLst>
              </p:cNvPr>
              <p:cNvSpPr/>
              <p:nvPr/>
            </p:nvSpPr>
            <p:spPr>
              <a:xfrm>
                <a:off x="15727395" y="1603406"/>
                <a:ext cx="9412" cy="117483"/>
              </a:xfrm>
              <a:custGeom>
                <a:avLst/>
                <a:gdLst>
                  <a:gd name="connsiteX0" fmla="*/ 8432 w 9412"/>
                  <a:gd name="connsiteY0" fmla="*/ -536 h 117483"/>
                  <a:gd name="connsiteX1" fmla="*/ 8432 w 9412"/>
                  <a:gd name="connsiteY1" fmla="*/ 116934 h 117483"/>
                  <a:gd name="connsiteX2" fmla="*/ -964 w 9412"/>
                  <a:gd name="connsiteY2" fmla="*/ 105882 h 117483"/>
                  <a:gd name="connsiteX3" fmla="*/ -964 w 9412"/>
                  <a:gd name="connsiteY3" fmla="*/ 10487 h 117483"/>
                  <a:gd name="connsiteX4" fmla="*/ 8432 w 9412"/>
                  <a:gd name="connsiteY4" fmla="*/ -536 h 117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12" h="117483">
                    <a:moveTo>
                      <a:pt x="8432" y="-536"/>
                    </a:moveTo>
                    <a:lnTo>
                      <a:pt x="8432" y="116934"/>
                    </a:lnTo>
                    <a:cubicBezTo>
                      <a:pt x="664" y="117196"/>
                      <a:pt x="-993" y="112571"/>
                      <a:pt x="-964" y="105882"/>
                    </a:cubicBezTo>
                    <a:cubicBezTo>
                      <a:pt x="-819" y="74093"/>
                      <a:pt x="-819" y="42275"/>
                      <a:pt x="-964" y="10487"/>
                    </a:cubicBezTo>
                    <a:cubicBezTo>
                      <a:pt x="-1197" y="3623"/>
                      <a:pt x="868" y="-653"/>
                      <a:pt x="8432" y="-536"/>
                    </a:cubicBezTo>
                    <a:close/>
                  </a:path>
                </a:pathLst>
              </a:custGeom>
              <a:solidFill>
                <a:srgbClr val="FCFDFD"/>
              </a:solidFill>
              <a:ln w="2907" cap="flat">
                <a:noFill/>
                <a:prstDash val="solid"/>
                <a:miter/>
              </a:ln>
            </p:spPr>
            <p:txBody>
              <a:bodyPr rtlCol="0" anchor="ctr"/>
              <a:lstStyle/>
              <a:p>
                <a:endParaRPr lang="en-US" sz="800"/>
              </a:p>
            </p:txBody>
          </p:sp>
          <p:sp>
            <p:nvSpPr>
              <p:cNvPr id="377" name="Graphic 38">
                <a:extLst>
                  <a:ext uri="{FF2B5EF4-FFF2-40B4-BE49-F238E27FC236}">
                    <a16:creationId xmlns:a16="http://schemas.microsoft.com/office/drawing/2014/main" id="{F52DFC5D-D92C-357A-66DC-6AF9ADF65A1E}"/>
                  </a:ext>
                </a:extLst>
              </p:cNvPr>
              <p:cNvSpPr/>
              <p:nvPr/>
            </p:nvSpPr>
            <p:spPr>
              <a:xfrm>
                <a:off x="15711620" y="1222088"/>
                <a:ext cx="9309" cy="114619"/>
              </a:xfrm>
              <a:custGeom>
                <a:avLst/>
                <a:gdLst>
                  <a:gd name="connsiteX0" fmla="*/ -955 w 9309"/>
                  <a:gd name="connsiteY0" fmla="*/ 56786 h 114619"/>
                  <a:gd name="connsiteX1" fmla="*/ -955 w 9309"/>
                  <a:gd name="connsiteY1" fmla="*/ 7954 h 114619"/>
                  <a:gd name="connsiteX2" fmla="*/ 3670 w 9309"/>
                  <a:gd name="connsiteY2" fmla="*/ -539 h 114619"/>
                  <a:gd name="connsiteX3" fmla="*/ 8324 w 9309"/>
                  <a:gd name="connsiteY3" fmla="*/ 7925 h 114619"/>
                  <a:gd name="connsiteX4" fmla="*/ 8324 w 9309"/>
                  <a:gd name="connsiteY4" fmla="*/ 105618 h 114619"/>
                  <a:gd name="connsiteX5" fmla="*/ 3699 w 9309"/>
                  <a:gd name="connsiteY5" fmla="*/ 114081 h 114619"/>
                  <a:gd name="connsiteX6" fmla="*/ -955 w 9309"/>
                  <a:gd name="connsiteY6" fmla="*/ 105647 h 114619"/>
                  <a:gd name="connsiteX7" fmla="*/ -955 w 9309"/>
                  <a:gd name="connsiteY7" fmla="*/ 56786 h 114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09" h="114619">
                    <a:moveTo>
                      <a:pt x="-955" y="56786"/>
                    </a:moveTo>
                    <a:cubicBezTo>
                      <a:pt x="-955" y="40528"/>
                      <a:pt x="-955" y="24241"/>
                      <a:pt x="-955" y="7954"/>
                    </a:cubicBezTo>
                    <a:cubicBezTo>
                      <a:pt x="-955" y="4377"/>
                      <a:pt x="-1246" y="-509"/>
                      <a:pt x="3670" y="-539"/>
                    </a:cubicBezTo>
                    <a:cubicBezTo>
                      <a:pt x="8586" y="-568"/>
                      <a:pt x="8324" y="4318"/>
                      <a:pt x="8324" y="7925"/>
                    </a:cubicBezTo>
                    <a:cubicBezTo>
                      <a:pt x="8324" y="40479"/>
                      <a:pt x="8324" y="73044"/>
                      <a:pt x="8324" y="105618"/>
                    </a:cubicBezTo>
                    <a:cubicBezTo>
                      <a:pt x="8324" y="109224"/>
                      <a:pt x="8615" y="114081"/>
                      <a:pt x="3699" y="114081"/>
                    </a:cubicBezTo>
                    <a:cubicBezTo>
                      <a:pt x="-1217" y="114081"/>
                      <a:pt x="-926" y="109224"/>
                      <a:pt x="-955" y="105647"/>
                    </a:cubicBezTo>
                    <a:cubicBezTo>
                      <a:pt x="-1014" y="89360"/>
                      <a:pt x="-955" y="73073"/>
                      <a:pt x="-955" y="56786"/>
                    </a:cubicBezTo>
                    <a:close/>
                  </a:path>
                </a:pathLst>
              </a:custGeom>
              <a:solidFill>
                <a:srgbClr val="FCFDFD"/>
              </a:solidFill>
              <a:ln w="2907" cap="flat">
                <a:noFill/>
                <a:prstDash val="solid"/>
                <a:miter/>
              </a:ln>
            </p:spPr>
            <p:txBody>
              <a:bodyPr rtlCol="0" anchor="ctr"/>
              <a:lstStyle/>
              <a:p>
                <a:endParaRPr lang="en-US" sz="800"/>
              </a:p>
            </p:txBody>
          </p:sp>
          <p:sp>
            <p:nvSpPr>
              <p:cNvPr id="378" name="Graphic 38">
                <a:extLst>
                  <a:ext uri="{FF2B5EF4-FFF2-40B4-BE49-F238E27FC236}">
                    <a16:creationId xmlns:a16="http://schemas.microsoft.com/office/drawing/2014/main" id="{8B6FAD73-598A-32D4-FB07-ABBB2F23082E}"/>
                  </a:ext>
                </a:extLst>
              </p:cNvPr>
              <p:cNvSpPr/>
              <p:nvPr/>
            </p:nvSpPr>
            <p:spPr>
              <a:xfrm>
                <a:off x="15727291" y="3125516"/>
                <a:ext cx="10758" cy="117559"/>
              </a:xfrm>
              <a:custGeom>
                <a:avLst/>
                <a:gdLst>
                  <a:gd name="connsiteX0" fmla="*/ 8535 w 10758"/>
                  <a:gd name="connsiteY0" fmla="*/ -536 h 117559"/>
                  <a:gd name="connsiteX1" fmla="*/ 8855 w 10758"/>
                  <a:gd name="connsiteY1" fmla="*/ 117021 h 117559"/>
                  <a:gd name="connsiteX2" fmla="*/ -977 w 10758"/>
                  <a:gd name="connsiteY2" fmla="*/ 106144 h 117559"/>
                  <a:gd name="connsiteX3" fmla="*/ -977 w 10758"/>
                  <a:gd name="connsiteY3" fmla="*/ 10516 h 117559"/>
                  <a:gd name="connsiteX4" fmla="*/ 8535 w 10758"/>
                  <a:gd name="connsiteY4" fmla="*/ -536 h 1175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8" h="117559">
                    <a:moveTo>
                      <a:pt x="8535" y="-536"/>
                    </a:moveTo>
                    <a:cubicBezTo>
                      <a:pt x="10426" y="38640"/>
                      <a:pt x="9844" y="77816"/>
                      <a:pt x="8855" y="117021"/>
                    </a:cubicBezTo>
                    <a:cubicBezTo>
                      <a:pt x="1525" y="117021"/>
                      <a:pt x="-1035" y="113240"/>
                      <a:pt x="-977" y="106144"/>
                    </a:cubicBezTo>
                    <a:cubicBezTo>
                      <a:pt x="-773" y="74268"/>
                      <a:pt x="-773" y="42392"/>
                      <a:pt x="-977" y="10516"/>
                    </a:cubicBezTo>
                    <a:cubicBezTo>
                      <a:pt x="-1093" y="3623"/>
                      <a:pt x="914" y="-652"/>
                      <a:pt x="8535" y="-536"/>
                    </a:cubicBezTo>
                    <a:close/>
                  </a:path>
                </a:pathLst>
              </a:custGeom>
              <a:solidFill>
                <a:srgbClr val="FCFDFD"/>
              </a:solidFill>
              <a:ln w="2907" cap="flat">
                <a:noFill/>
                <a:prstDash val="solid"/>
                <a:miter/>
              </a:ln>
            </p:spPr>
            <p:txBody>
              <a:bodyPr rtlCol="0" anchor="ctr"/>
              <a:lstStyle/>
              <a:p>
                <a:endParaRPr lang="en-US" sz="800"/>
              </a:p>
            </p:txBody>
          </p:sp>
          <p:sp>
            <p:nvSpPr>
              <p:cNvPr id="379" name="Graphic 38">
                <a:extLst>
                  <a:ext uri="{FF2B5EF4-FFF2-40B4-BE49-F238E27FC236}">
                    <a16:creationId xmlns:a16="http://schemas.microsoft.com/office/drawing/2014/main" id="{2501582E-0E25-6EBB-53BD-B91DD53FC8AB}"/>
                  </a:ext>
                </a:extLst>
              </p:cNvPr>
              <p:cNvSpPr/>
              <p:nvPr/>
            </p:nvSpPr>
            <p:spPr>
              <a:xfrm>
                <a:off x="15711669" y="2620619"/>
                <a:ext cx="9361" cy="114505"/>
              </a:xfrm>
              <a:custGeom>
                <a:avLst/>
                <a:gdLst>
                  <a:gd name="connsiteX0" fmla="*/ 8361 w 9361"/>
                  <a:gd name="connsiteY0" fmla="*/ 56758 h 114505"/>
                  <a:gd name="connsiteX1" fmla="*/ 8361 w 9361"/>
                  <a:gd name="connsiteY1" fmla="*/ 105590 h 114505"/>
                  <a:gd name="connsiteX2" fmla="*/ 3649 w 9361"/>
                  <a:gd name="connsiteY2" fmla="*/ 113966 h 114505"/>
                  <a:gd name="connsiteX3" fmla="*/ -976 w 9361"/>
                  <a:gd name="connsiteY3" fmla="*/ 105474 h 114505"/>
                  <a:gd name="connsiteX4" fmla="*/ -976 w 9361"/>
                  <a:gd name="connsiteY4" fmla="*/ 7839 h 114505"/>
                  <a:gd name="connsiteX5" fmla="*/ 3708 w 9361"/>
                  <a:gd name="connsiteY5" fmla="*/ -538 h 114505"/>
                  <a:gd name="connsiteX6" fmla="*/ 8333 w 9361"/>
                  <a:gd name="connsiteY6" fmla="*/ 7955 h 114505"/>
                  <a:gd name="connsiteX7" fmla="*/ 8361 w 9361"/>
                  <a:gd name="connsiteY7" fmla="*/ 56758 h 11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61" h="114505">
                    <a:moveTo>
                      <a:pt x="8361" y="56758"/>
                    </a:moveTo>
                    <a:cubicBezTo>
                      <a:pt x="8361" y="73045"/>
                      <a:pt x="8361" y="89303"/>
                      <a:pt x="8361" y="105590"/>
                    </a:cubicBezTo>
                    <a:cubicBezTo>
                      <a:pt x="8361" y="109167"/>
                      <a:pt x="8623" y="114024"/>
                      <a:pt x="3649" y="113966"/>
                    </a:cubicBezTo>
                    <a:cubicBezTo>
                      <a:pt x="-1325" y="113908"/>
                      <a:pt x="-976" y="109051"/>
                      <a:pt x="-976" y="105474"/>
                    </a:cubicBezTo>
                    <a:cubicBezTo>
                      <a:pt x="-976" y="72929"/>
                      <a:pt x="-976" y="40384"/>
                      <a:pt x="-976" y="7839"/>
                    </a:cubicBezTo>
                    <a:cubicBezTo>
                      <a:pt x="-976" y="4261"/>
                      <a:pt x="-1267" y="-625"/>
                      <a:pt x="3708" y="-538"/>
                    </a:cubicBezTo>
                    <a:cubicBezTo>
                      <a:pt x="8682" y="-450"/>
                      <a:pt x="8333" y="4349"/>
                      <a:pt x="8333" y="7955"/>
                    </a:cubicBezTo>
                    <a:cubicBezTo>
                      <a:pt x="8420" y="24213"/>
                      <a:pt x="8361" y="40587"/>
                      <a:pt x="8361" y="56758"/>
                    </a:cubicBezTo>
                    <a:close/>
                  </a:path>
                </a:pathLst>
              </a:custGeom>
              <a:solidFill>
                <a:srgbClr val="FCFDFD"/>
              </a:solidFill>
              <a:ln w="2907" cap="flat">
                <a:noFill/>
                <a:prstDash val="solid"/>
                <a:miter/>
              </a:ln>
            </p:spPr>
            <p:txBody>
              <a:bodyPr rtlCol="0" anchor="ctr"/>
              <a:lstStyle/>
              <a:p>
                <a:endParaRPr lang="en-US" sz="800"/>
              </a:p>
            </p:txBody>
          </p:sp>
          <p:sp>
            <p:nvSpPr>
              <p:cNvPr id="386" name="Graphic 38">
                <a:extLst>
                  <a:ext uri="{FF2B5EF4-FFF2-40B4-BE49-F238E27FC236}">
                    <a16:creationId xmlns:a16="http://schemas.microsoft.com/office/drawing/2014/main" id="{B6D2E210-F3E6-D6B7-B34E-5A9D92CB0BCF}"/>
                  </a:ext>
                </a:extLst>
              </p:cNvPr>
              <p:cNvSpPr/>
              <p:nvPr/>
            </p:nvSpPr>
            <p:spPr>
              <a:xfrm>
                <a:off x="14787453" y="2620727"/>
                <a:ext cx="9222" cy="114339"/>
              </a:xfrm>
              <a:custGeom>
                <a:avLst/>
                <a:gdLst>
                  <a:gd name="connsiteX0" fmla="*/ -824 w 9222"/>
                  <a:gd name="connsiteY0" fmla="*/ 55371 h 114339"/>
                  <a:gd name="connsiteX1" fmla="*/ -824 w 9222"/>
                  <a:gd name="connsiteY1" fmla="*/ 8197 h 114339"/>
                  <a:gd name="connsiteX2" fmla="*/ 3335 w 9222"/>
                  <a:gd name="connsiteY2" fmla="*/ -529 h 114339"/>
                  <a:gd name="connsiteX3" fmla="*/ 8222 w 9222"/>
                  <a:gd name="connsiteY3" fmla="*/ 7586 h 114339"/>
                  <a:gd name="connsiteX4" fmla="*/ 8222 w 9222"/>
                  <a:gd name="connsiteY4" fmla="*/ 105075 h 114339"/>
                  <a:gd name="connsiteX5" fmla="*/ 3917 w 9222"/>
                  <a:gd name="connsiteY5" fmla="*/ 113800 h 114339"/>
                  <a:gd name="connsiteX6" fmla="*/ -854 w 9222"/>
                  <a:gd name="connsiteY6" fmla="*/ 104203 h 114339"/>
                  <a:gd name="connsiteX7" fmla="*/ -824 w 9222"/>
                  <a:gd name="connsiteY7" fmla="*/ 55371 h 11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2" h="114339">
                    <a:moveTo>
                      <a:pt x="-824" y="55371"/>
                    </a:moveTo>
                    <a:cubicBezTo>
                      <a:pt x="-824" y="39636"/>
                      <a:pt x="-824" y="23902"/>
                      <a:pt x="-824" y="8197"/>
                    </a:cubicBezTo>
                    <a:cubicBezTo>
                      <a:pt x="-824" y="4735"/>
                      <a:pt x="-1639" y="-267"/>
                      <a:pt x="3335" y="-529"/>
                    </a:cubicBezTo>
                    <a:cubicBezTo>
                      <a:pt x="8309" y="-790"/>
                      <a:pt x="8193" y="4067"/>
                      <a:pt x="8222" y="7586"/>
                    </a:cubicBezTo>
                    <a:cubicBezTo>
                      <a:pt x="8222" y="40073"/>
                      <a:pt x="8222" y="72560"/>
                      <a:pt x="8222" y="105075"/>
                    </a:cubicBezTo>
                    <a:cubicBezTo>
                      <a:pt x="8222" y="108595"/>
                      <a:pt x="8775" y="113800"/>
                      <a:pt x="3917" y="113800"/>
                    </a:cubicBezTo>
                    <a:cubicBezTo>
                      <a:pt x="-2337" y="113800"/>
                      <a:pt x="-795" y="107984"/>
                      <a:pt x="-854" y="104203"/>
                    </a:cubicBezTo>
                    <a:cubicBezTo>
                      <a:pt x="-1086" y="87858"/>
                      <a:pt x="-824" y="71600"/>
                      <a:pt x="-824" y="55371"/>
                    </a:cubicBezTo>
                    <a:close/>
                  </a:path>
                </a:pathLst>
              </a:custGeom>
              <a:solidFill>
                <a:srgbClr val="FCFDFD"/>
              </a:solidFill>
              <a:ln w="2907" cap="flat">
                <a:noFill/>
                <a:prstDash val="solid"/>
                <a:miter/>
              </a:ln>
            </p:spPr>
            <p:txBody>
              <a:bodyPr rtlCol="0" anchor="ctr"/>
              <a:lstStyle/>
              <a:p>
                <a:endParaRPr lang="en-US" sz="800"/>
              </a:p>
            </p:txBody>
          </p:sp>
          <p:sp>
            <p:nvSpPr>
              <p:cNvPr id="395" name="Graphic 38">
                <a:extLst>
                  <a:ext uri="{FF2B5EF4-FFF2-40B4-BE49-F238E27FC236}">
                    <a16:creationId xmlns:a16="http://schemas.microsoft.com/office/drawing/2014/main" id="{2888C45A-9153-50CD-F1F7-B1E4E2588CA3}"/>
                  </a:ext>
                </a:extLst>
              </p:cNvPr>
              <p:cNvSpPr/>
              <p:nvPr/>
            </p:nvSpPr>
            <p:spPr>
              <a:xfrm>
                <a:off x="16189472" y="1854824"/>
                <a:ext cx="9522" cy="117483"/>
              </a:xfrm>
              <a:custGeom>
                <a:avLst/>
                <a:gdLst>
                  <a:gd name="connsiteX0" fmla="*/ -761 w 9522"/>
                  <a:gd name="connsiteY0" fmla="*/ 59128 h 117483"/>
                  <a:gd name="connsiteX1" fmla="*/ -761 w 9522"/>
                  <a:gd name="connsiteY1" fmla="*/ 7126 h 117483"/>
                  <a:gd name="connsiteX2" fmla="*/ 4591 w 9522"/>
                  <a:gd name="connsiteY2" fmla="*/ -436 h 117483"/>
                  <a:gd name="connsiteX3" fmla="*/ 6511 w 9522"/>
                  <a:gd name="connsiteY3" fmla="*/ 7242 h 117483"/>
                  <a:gd name="connsiteX4" fmla="*/ 8169 w 9522"/>
                  <a:gd name="connsiteY4" fmla="*/ 106302 h 117483"/>
                  <a:gd name="connsiteX5" fmla="*/ 3108 w 9522"/>
                  <a:gd name="connsiteY5" fmla="*/ 116918 h 117483"/>
                  <a:gd name="connsiteX6" fmla="*/ -790 w 9522"/>
                  <a:gd name="connsiteY6" fmla="*/ 106418 h 117483"/>
                  <a:gd name="connsiteX7" fmla="*/ -790 w 9522"/>
                  <a:gd name="connsiteY7" fmla="*/ 59128 h 117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2" h="117483">
                    <a:moveTo>
                      <a:pt x="-761" y="59128"/>
                    </a:moveTo>
                    <a:cubicBezTo>
                      <a:pt x="-761" y="41677"/>
                      <a:pt x="-761" y="24460"/>
                      <a:pt x="-761" y="7126"/>
                    </a:cubicBezTo>
                    <a:cubicBezTo>
                      <a:pt x="-761" y="3577"/>
                      <a:pt x="-761" y="-1309"/>
                      <a:pt x="4591" y="-436"/>
                    </a:cubicBezTo>
                    <a:cubicBezTo>
                      <a:pt x="9216" y="320"/>
                      <a:pt x="6220" y="4450"/>
                      <a:pt x="6511" y="7242"/>
                    </a:cubicBezTo>
                    <a:cubicBezTo>
                      <a:pt x="10205" y="40194"/>
                      <a:pt x="7558" y="73292"/>
                      <a:pt x="8169" y="106302"/>
                    </a:cubicBezTo>
                    <a:cubicBezTo>
                      <a:pt x="8169" y="110287"/>
                      <a:pt x="10583" y="117441"/>
                      <a:pt x="3108" y="116918"/>
                    </a:cubicBezTo>
                    <a:cubicBezTo>
                      <a:pt x="-2390" y="116540"/>
                      <a:pt x="-732" y="110287"/>
                      <a:pt x="-790" y="106418"/>
                    </a:cubicBezTo>
                    <a:cubicBezTo>
                      <a:pt x="-994" y="90655"/>
                      <a:pt x="-790" y="74891"/>
                      <a:pt x="-790" y="59128"/>
                    </a:cubicBezTo>
                    <a:close/>
                  </a:path>
                </a:pathLst>
              </a:custGeom>
              <a:solidFill>
                <a:srgbClr val="FCFDFD"/>
              </a:solidFill>
              <a:ln w="2907" cap="flat">
                <a:noFill/>
                <a:prstDash val="solid"/>
                <a:miter/>
              </a:ln>
            </p:spPr>
            <p:txBody>
              <a:bodyPr rtlCol="0" anchor="ctr"/>
              <a:lstStyle/>
              <a:p>
                <a:endParaRPr lang="en-US" sz="800"/>
              </a:p>
            </p:txBody>
          </p:sp>
          <p:sp>
            <p:nvSpPr>
              <p:cNvPr id="406" name="Graphic 38">
                <a:extLst>
                  <a:ext uri="{FF2B5EF4-FFF2-40B4-BE49-F238E27FC236}">
                    <a16:creationId xmlns:a16="http://schemas.microsoft.com/office/drawing/2014/main" id="{6ADAD019-AE23-104A-0647-5D7F5DF9B22D}"/>
                  </a:ext>
                </a:extLst>
              </p:cNvPr>
              <p:cNvSpPr/>
              <p:nvPr/>
            </p:nvSpPr>
            <p:spPr>
              <a:xfrm>
                <a:off x="16173897" y="2110650"/>
                <a:ext cx="9167" cy="116069"/>
              </a:xfrm>
              <a:custGeom>
                <a:avLst/>
                <a:gdLst>
                  <a:gd name="connsiteX0" fmla="*/ -981 w 9167"/>
                  <a:gd name="connsiteY0" fmla="*/ 115256 h 116069"/>
                  <a:gd name="connsiteX1" fmla="*/ -981 w 9167"/>
                  <a:gd name="connsiteY1" fmla="*/ -498 h 116069"/>
                  <a:gd name="connsiteX2" fmla="*/ 8181 w 9167"/>
                  <a:gd name="connsiteY2" fmla="*/ 9362 h 116069"/>
                  <a:gd name="connsiteX3" fmla="*/ 8181 w 9167"/>
                  <a:gd name="connsiteY3" fmla="*/ 106444 h 116069"/>
                  <a:gd name="connsiteX4" fmla="*/ -981 w 9167"/>
                  <a:gd name="connsiteY4" fmla="*/ 115256 h 116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7" h="116069">
                    <a:moveTo>
                      <a:pt x="-981" y="115256"/>
                    </a:moveTo>
                    <a:cubicBezTo>
                      <a:pt x="-981" y="76662"/>
                      <a:pt x="-981" y="38097"/>
                      <a:pt x="-981" y="-498"/>
                    </a:cubicBezTo>
                    <a:cubicBezTo>
                      <a:pt x="6145" y="-1022"/>
                      <a:pt x="8152" y="3574"/>
                      <a:pt x="8181" y="9362"/>
                    </a:cubicBezTo>
                    <a:cubicBezTo>
                      <a:pt x="8181" y="41703"/>
                      <a:pt x="8181" y="74073"/>
                      <a:pt x="8181" y="106444"/>
                    </a:cubicBezTo>
                    <a:cubicBezTo>
                      <a:pt x="8298" y="112755"/>
                      <a:pt x="6087" y="116623"/>
                      <a:pt x="-981" y="115256"/>
                    </a:cubicBezTo>
                    <a:close/>
                  </a:path>
                </a:pathLst>
              </a:custGeom>
              <a:solidFill>
                <a:srgbClr val="FCFDFD"/>
              </a:solidFill>
              <a:ln w="2907" cap="flat">
                <a:noFill/>
                <a:prstDash val="solid"/>
                <a:miter/>
              </a:ln>
            </p:spPr>
            <p:txBody>
              <a:bodyPr rtlCol="0" anchor="ctr"/>
              <a:lstStyle/>
              <a:p>
                <a:endParaRPr lang="en-US" sz="800"/>
              </a:p>
            </p:txBody>
          </p:sp>
          <p:sp>
            <p:nvSpPr>
              <p:cNvPr id="414" name="Graphic 38">
                <a:extLst>
                  <a:ext uri="{FF2B5EF4-FFF2-40B4-BE49-F238E27FC236}">
                    <a16:creationId xmlns:a16="http://schemas.microsoft.com/office/drawing/2014/main" id="{AC1EF6F1-0C57-E8AD-2583-50F70A7CACA3}"/>
                  </a:ext>
                </a:extLst>
              </p:cNvPr>
              <p:cNvSpPr/>
              <p:nvPr/>
            </p:nvSpPr>
            <p:spPr>
              <a:xfrm>
                <a:off x="15249591" y="2109993"/>
                <a:ext cx="9372" cy="115696"/>
              </a:xfrm>
              <a:custGeom>
                <a:avLst/>
                <a:gdLst>
                  <a:gd name="connsiteX0" fmla="*/ 1936 w 9372"/>
                  <a:gd name="connsiteY0" fmla="*/ -539 h 115696"/>
                  <a:gd name="connsiteX1" fmla="*/ 8277 w 9372"/>
                  <a:gd name="connsiteY1" fmla="*/ 10310 h 115696"/>
                  <a:gd name="connsiteX2" fmla="*/ 8277 w 9372"/>
                  <a:gd name="connsiteY2" fmla="*/ 105123 h 115696"/>
                  <a:gd name="connsiteX3" fmla="*/ 3739 w 9372"/>
                  <a:gd name="connsiteY3" fmla="*/ 115157 h 115696"/>
                  <a:gd name="connsiteX4" fmla="*/ -886 w 9372"/>
                  <a:gd name="connsiteY4" fmla="*/ 105182 h 115696"/>
                  <a:gd name="connsiteX5" fmla="*/ -595 w 9372"/>
                  <a:gd name="connsiteY5" fmla="*/ 2515 h 11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2" h="115696">
                    <a:moveTo>
                      <a:pt x="1936" y="-539"/>
                    </a:moveTo>
                    <a:cubicBezTo>
                      <a:pt x="8452" y="508"/>
                      <a:pt x="8277" y="5511"/>
                      <a:pt x="8277" y="10310"/>
                    </a:cubicBezTo>
                    <a:cubicBezTo>
                      <a:pt x="8277" y="41924"/>
                      <a:pt x="8277" y="73509"/>
                      <a:pt x="8277" y="105123"/>
                    </a:cubicBezTo>
                    <a:cubicBezTo>
                      <a:pt x="8277" y="109050"/>
                      <a:pt x="9528" y="115099"/>
                      <a:pt x="3739" y="115157"/>
                    </a:cubicBezTo>
                    <a:cubicBezTo>
                      <a:pt x="-2050" y="115215"/>
                      <a:pt x="-886" y="109108"/>
                      <a:pt x="-886" y="105182"/>
                    </a:cubicBezTo>
                    <a:cubicBezTo>
                      <a:pt x="-886" y="70950"/>
                      <a:pt x="-799" y="36718"/>
                      <a:pt x="-595" y="2515"/>
                    </a:cubicBezTo>
                    <a:close/>
                  </a:path>
                </a:pathLst>
              </a:custGeom>
              <a:solidFill>
                <a:srgbClr val="FCFDFD"/>
              </a:solidFill>
              <a:ln w="2907" cap="flat">
                <a:noFill/>
                <a:prstDash val="solid"/>
                <a:miter/>
              </a:ln>
            </p:spPr>
            <p:txBody>
              <a:bodyPr rtlCol="0" anchor="ctr"/>
              <a:lstStyle/>
              <a:p>
                <a:endParaRPr lang="en-US" sz="800"/>
              </a:p>
            </p:txBody>
          </p:sp>
          <p:sp>
            <p:nvSpPr>
              <p:cNvPr id="415" name="Graphic 38">
                <a:extLst>
                  <a:ext uri="{FF2B5EF4-FFF2-40B4-BE49-F238E27FC236}">
                    <a16:creationId xmlns:a16="http://schemas.microsoft.com/office/drawing/2014/main" id="{65D0C4AF-90DB-3AAF-9408-BB7804194BBF}"/>
                  </a:ext>
                </a:extLst>
              </p:cNvPr>
              <p:cNvSpPr/>
              <p:nvPr/>
            </p:nvSpPr>
            <p:spPr>
              <a:xfrm>
                <a:off x="15249686" y="3126044"/>
                <a:ext cx="9106" cy="116536"/>
              </a:xfrm>
              <a:custGeom>
                <a:avLst/>
                <a:gdLst>
                  <a:gd name="connsiteX0" fmla="*/ -981 w 9106"/>
                  <a:gd name="connsiteY0" fmla="*/ 115998 h 116536"/>
                  <a:gd name="connsiteX1" fmla="*/ -604 w 9106"/>
                  <a:gd name="connsiteY1" fmla="*/ -338 h 116536"/>
                  <a:gd name="connsiteX2" fmla="*/ 8123 w 9106"/>
                  <a:gd name="connsiteY2" fmla="*/ 9114 h 116536"/>
                  <a:gd name="connsiteX3" fmla="*/ 8123 w 9106"/>
                  <a:gd name="connsiteY3" fmla="*/ 103783 h 116536"/>
                  <a:gd name="connsiteX4" fmla="*/ -981 w 9106"/>
                  <a:gd name="connsiteY4" fmla="*/ 115998 h 1165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06" h="116536">
                    <a:moveTo>
                      <a:pt x="-981" y="115998"/>
                    </a:moveTo>
                    <a:cubicBezTo>
                      <a:pt x="-836" y="77229"/>
                      <a:pt x="-691" y="38431"/>
                      <a:pt x="-604" y="-338"/>
                    </a:cubicBezTo>
                    <a:cubicBezTo>
                      <a:pt x="7105" y="-1588"/>
                      <a:pt x="8123" y="3181"/>
                      <a:pt x="8123" y="9114"/>
                    </a:cubicBezTo>
                    <a:cubicBezTo>
                      <a:pt x="8123" y="40671"/>
                      <a:pt x="8123" y="72227"/>
                      <a:pt x="8123" y="103783"/>
                    </a:cubicBezTo>
                    <a:cubicBezTo>
                      <a:pt x="8181" y="110152"/>
                      <a:pt x="6814" y="115475"/>
                      <a:pt x="-981" y="115998"/>
                    </a:cubicBezTo>
                    <a:close/>
                  </a:path>
                </a:pathLst>
              </a:custGeom>
              <a:solidFill>
                <a:srgbClr val="FCFDFD"/>
              </a:solidFill>
              <a:ln w="2907" cap="flat">
                <a:noFill/>
                <a:prstDash val="solid"/>
                <a:miter/>
              </a:ln>
            </p:spPr>
            <p:txBody>
              <a:bodyPr rtlCol="0" anchor="ctr"/>
              <a:lstStyle/>
              <a:p>
                <a:endParaRPr lang="en-US" sz="800"/>
              </a:p>
            </p:txBody>
          </p:sp>
          <p:sp>
            <p:nvSpPr>
              <p:cNvPr id="416" name="Graphic 38">
                <a:extLst>
                  <a:ext uri="{FF2B5EF4-FFF2-40B4-BE49-F238E27FC236}">
                    <a16:creationId xmlns:a16="http://schemas.microsoft.com/office/drawing/2014/main" id="{0DE5AD3F-29F4-022C-88AC-B8B8E1251FA9}"/>
                  </a:ext>
                </a:extLst>
              </p:cNvPr>
              <p:cNvSpPr/>
              <p:nvPr/>
            </p:nvSpPr>
            <p:spPr>
              <a:xfrm>
                <a:off x="16174100" y="3126413"/>
                <a:ext cx="8993" cy="115909"/>
              </a:xfrm>
              <a:custGeom>
                <a:avLst/>
                <a:gdLst>
                  <a:gd name="connsiteX0" fmla="*/ -981 w 8993"/>
                  <a:gd name="connsiteY0" fmla="*/ 115193 h 115909"/>
                  <a:gd name="connsiteX1" fmla="*/ -981 w 8993"/>
                  <a:gd name="connsiteY1" fmla="*/ -532 h 115909"/>
                  <a:gd name="connsiteX2" fmla="*/ 7978 w 8993"/>
                  <a:gd name="connsiteY2" fmla="*/ 11276 h 115909"/>
                  <a:gd name="connsiteX3" fmla="*/ 7978 w 8993"/>
                  <a:gd name="connsiteY3" fmla="*/ 104344 h 115909"/>
                  <a:gd name="connsiteX4" fmla="*/ -981 w 8993"/>
                  <a:gd name="connsiteY4" fmla="*/ 115193 h 1159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3" h="115909">
                    <a:moveTo>
                      <a:pt x="-981" y="115193"/>
                    </a:moveTo>
                    <a:cubicBezTo>
                      <a:pt x="-981" y="76628"/>
                      <a:pt x="-981" y="38062"/>
                      <a:pt x="-981" y="-532"/>
                    </a:cubicBezTo>
                    <a:cubicBezTo>
                      <a:pt x="7484" y="-765"/>
                      <a:pt x="7978" y="5285"/>
                      <a:pt x="7978" y="11276"/>
                    </a:cubicBezTo>
                    <a:cubicBezTo>
                      <a:pt x="7978" y="42308"/>
                      <a:pt x="7978" y="73370"/>
                      <a:pt x="7978" y="104344"/>
                    </a:cubicBezTo>
                    <a:cubicBezTo>
                      <a:pt x="8153" y="110656"/>
                      <a:pt x="7978" y="116473"/>
                      <a:pt x="-981" y="115193"/>
                    </a:cubicBezTo>
                    <a:close/>
                  </a:path>
                </a:pathLst>
              </a:custGeom>
              <a:solidFill>
                <a:srgbClr val="FCFDFD"/>
              </a:solidFill>
              <a:ln w="2907" cap="flat">
                <a:noFill/>
                <a:prstDash val="solid"/>
                <a:miter/>
              </a:ln>
            </p:spPr>
            <p:txBody>
              <a:bodyPr rtlCol="0" anchor="ctr"/>
              <a:lstStyle/>
              <a:p>
                <a:endParaRPr lang="en-US" sz="800"/>
              </a:p>
            </p:txBody>
          </p:sp>
          <p:sp>
            <p:nvSpPr>
              <p:cNvPr id="417" name="Graphic 38">
                <a:extLst>
                  <a:ext uri="{FF2B5EF4-FFF2-40B4-BE49-F238E27FC236}">
                    <a16:creationId xmlns:a16="http://schemas.microsoft.com/office/drawing/2014/main" id="{099CFB93-5370-7ACF-3481-8523BDC135DB}"/>
                  </a:ext>
                </a:extLst>
              </p:cNvPr>
              <p:cNvSpPr/>
              <p:nvPr/>
            </p:nvSpPr>
            <p:spPr>
              <a:xfrm>
                <a:off x="14787428" y="3127858"/>
                <a:ext cx="9435" cy="113501"/>
              </a:xfrm>
              <a:custGeom>
                <a:avLst/>
                <a:gdLst>
                  <a:gd name="connsiteX0" fmla="*/ -799 w 9435"/>
                  <a:gd name="connsiteY0" fmla="*/ 55755 h 113501"/>
                  <a:gd name="connsiteX1" fmla="*/ -799 w 9435"/>
                  <a:gd name="connsiteY1" fmla="*/ 8581 h 113501"/>
                  <a:gd name="connsiteX2" fmla="*/ 4844 w 9435"/>
                  <a:gd name="connsiteY2" fmla="*/ -494 h 113501"/>
                  <a:gd name="connsiteX3" fmla="*/ 8248 w 9435"/>
                  <a:gd name="connsiteY3" fmla="*/ 8639 h 113501"/>
                  <a:gd name="connsiteX4" fmla="*/ 8248 w 9435"/>
                  <a:gd name="connsiteY4" fmla="*/ 103016 h 113501"/>
                  <a:gd name="connsiteX5" fmla="*/ 3594 w 9435"/>
                  <a:gd name="connsiteY5" fmla="*/ 112963 h 113501"/>
                  <a:gd name="connsiteX6" fmla="*/ -886 w 9435"/>
                  <a:gd name="connsiteY6" fmla="*/ 102958 h 113501"/>
                  <a:gd name="connsiteX7" fmla="*/ -799 w 9435"/>
                  <a:gd name="connsiteY7" fmla="*/ 55755 h 11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5" h="113501">
                    <a:moveTo>
                      <a:pt x="-799" y="55755"/>
                    </a:moveTo>
                    <a:cubicBezTo>
                      <a:pt x="-799" y="40020"/>
                      <a:pt x="-799" y="24315"/>
                      <a:pt x="-799" y="8581"/>
                    </a:cubicBezTo>
                    <a:cubicBezTo>
                      <a:pt x="-799" y="4625"/>
                      <a:pt x="-1148" y="-1105"/>
                      <a:pt x="4844" y="-494"/>
                    </a:cubicBezTo>
                    <a:cubicBezTo>
                      <a:pt x="9760" y="-28"/>
                      <a:pt x="8219" y="5323"/>
                      <a:pt x="8248" y="8639"/>
                    </a:cubicBezTo>
                    <a:cubicBezTo>
                      <a:pt x="8393" y="40108"/>
                      <a:pt x="8393" y="71577"/>
                      <a:pt x="8248" y="103016"/>
                    </a:cubicBezTo>
                    <a:cubicBezTo>
                      <a:pt x="8248" y="106972"/>
                      <a:pt x="9295" y="112992"/>
                      <a:pt x="3594" y="112963"/>
                    </a:cubicBezTo>
                    <a:cubicBezTo>
                      <a:pt x="-2108" y="112934"/>
                      <a:pt x="-828" y="106855"/>
                      <a:pt x="-886" y="102958"/>
                    </a:cubicBezTo>
                    <a:cubicBezTo>
                      <a:pt x="-1061" y="87223"/>
                      <a:pt x="-974" y="71402"/>
                      <a:pt x="-799" y="55755"/>
                    </a:cubicBezTo>
                    <a:close/>
                  </a:path>
                </a:pathLst>
              </a:custGeom>
              <a:solidFill>
                <a:srgbClr val="FCFDFD"/>
              </a:solidFill>
              <a:ln w="2907" cap="flat">
                <a:noFill/>
                <a:prstDash val="solid"/>
                <a:miter/>
              </a:ln>
            </p:spPr>
            <p:txBody>
              <a:bodyPr rtlCol="0" anchor="ctr"/>
              <a:lstStyle/>
              <a:p>
                <a:endParaRPr lang="en-US" sz="800"/>
              </a:p>
            </p:txBody>
          </p:sp>
          <p:sp>
            <p:nvSpPr>
              <p:cNvPr id="421" name="Graphic 38">
                <a:extLst>
                  <a:ext uri="{FF2B5EF4-FFF2-40B4-BE49-F238E27FC236}">
                    <a16:creationId xmlns:a16="http://schemas.microsoft.com/office/drawing/2014/main" id="{0BE2D0C1-82E9-D3D8-4B82-2178B4E4B1DB}"/>
                  </a:ext>
                </a:extLst>
              </p:cNvPr>
              <p:cNvSpPr/>
              <p:nvPr/>
            </p:nvSpPr>
            <p:spPr>
              <a:xfrm>
                <a:off x="15711124" y="3000513"/>
                <a:ext cx="9830" cy="113458"/>
              </a:xfrm>
              <a:custGeom>
                <a:avLst/>
                <a:gdLst>
                  <a:gd name="connsiteX0" fmla="*/ -460 w 9830"/>
                  <a:gd name="connsiteY0" fmla="*/ 56235 h 113458"/>
                  <a:gd name="connsiteX1" fmla="*/ -460 w 9830"/>
                  <a:gd name="connsiteY1" fmla="*/ 9003 h 113458"/>
                  <a:gd name="connsiteX2" fmla="*/ 4486 w 9830"/>
                  <a:gd name="connsiteY2" fmla="*/ -537 h 113458"/>
                  <a:gd name="connsiteX3" fmla="*/ 8762 w 9830"/>
                  <a:gd name="connsiteY3" fmla="*/ 8188 h 113458"/>
                  <a:gd name="connsiteX4" fmla="*/ 8762 w 9830"/>
                  <a:gd name="connsiteY4" fmla="*/ 102653 h 113458"/>
                  <a:gd name="connsiteX5" fmla="*/ 3991 w 9830"/>
                  <a:gd name="connsiteY5" fmla="*/ 112920 h 113458"/>
                  <a:gd name="connsiteX6" fmla="*/ -460 w 9830"/>
                  <a:gd name="connsiteY6" fmla="*/ 101897 h 113458"/>
                  <a:gd name="connsiteX7" fmla="*/ -460 w 9830"/>
                  <a:gd name="connsiteY7" fmla="*/ 56235 h 11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30" h="113458">
                    <a:moveTo>
                      <a:pt x="-460" y="56235"/>
                    </a:moveTo>
                    <a:cubicBezTo>
                      <a:pt x="-460" y="40501"/>
                      <a:pt x="-460" y="24737"/>
                      <a:pt x="-460" y="9003"/>
                    </a:cubicBezTo>
                    <a:cubicBezTo>
                      <a:pt x="-460" y="5163"/>
                      <a:pt x="-1740" y="-653"/>
                      <a:pt x="4486" y="-537"/>
                    </a:cubicBezTo>
                    <a:cubicBezTo>
                      <a:pt x="9372" y="-537"/>
                      <a:pt x="8762" y="4669"/>
                      <a:pt x="8762" y="8188"/>
                    </a:cubicBezTo>
                    <a:cubicBezTo>
                      <a:pt x="8878" y="39657"/>
                      <a:pt x="8878" y="71155"/>
                      <a:pt x="8762" y="102653"/>
                    </a:cubicBezTo>
                    <a:cubicBezTo>
                      <a:pt x="8762" y="106812"/>
                      <a:pt x="8936" y="112891"/>
                      <a:pt x="3991" y="112920"/>
                    </a:cubicBezTo>
                    <a:cubicBezTo>
                      <a:pt x="-3340" y="112920"/>
                      <a:pt x="-373" y="105881"/>
                      <a:pt x="-460" y="101897"/>
                    </a:cubicBezTo>
                    <a:cubicBezTo>
                      <a:pt x="-721" y="86570"/>
                      <a:pt x="-489" y="71329"/>
                      <a:pt x="-460" y="56235"/>
                    </a:cubicBezTo>
                    <a:close/>
                  </a:path>
                </a:pathLst>
              </a:custGeom>
              <a:solidFill>
                <a:srgbClr val="FCFDFD"/>
              </a:solidFill>
              <a:ln w="2907" cap="flat">
                <a:noFill/>
                <a:prstDash val="solid"/>
                <a:miter/>
              </a:ln>
            </p:spPr>
            <p:txBody>
              <a:bodyPr rtlCol="0" anchor="ctr"/>
              <a:lstStyle/>
              <a:p>
                <a:endParaRPr lang="en-US" sz="800"/>
              </a:p>
            </p:txBody>
          </p:sp>
          <p:sp>
            <p:nvSpPr>
              <p:cNvPr id="431" name="Graphic 38">
                <a:extLst>
                  <a:ext uri="{FF2B5EF4-FFF2-40B4-BE49-F238E27FC236}">
                    <a16:creationId xmlns:a16="http://schemas.microsoft.com/office/drawing/2014/main" id="{D416F03B-DDAF-68CE-36AF-C7E8EC5C62B7}"/>
                  </a:ext>
                </a:extLst>
              </p:cNvPr>
              <p:cNvSpPr/>
              <p:nvPr/>
            </p:nvSpPr>
            <p:spPr>
              <a:xfrm>
                <a:off x="16172284" y="1473636"/>
                <a:ext cx="11095" cy="117819"/>
              </a:xfrm>
              <a:custGeom>
                <a:avLst/>
                <a:gdLst>
                  <a:gd name="connsiteX0" fmla="*/ 252 w 11095"/>
                  <a:gd name="connsiteY0" fmla="*/ 117281 h 117819"/>
                  <a:gd name="connsiteX1" fmla="*/ 252 w 11095"/>
                  <a:gd name="connsiteY1" fmla="*/ -539 h 117819"/>
                  <a:gd name="connsiteX2" fmla="*/ 10114 w 11095"/>
                  <a:gd name="connsiteY2" fmla="*/ 10513 h 117819"/>
                  <a:gd name="connsiteX3" fmla="*/ 10114 w 11095"/>
                  <a:gd name="connsiteY3" fmla="*/ 105240 h 117819"/>
                  <a:gd name="connsiteX4" fmla="*/ 252 w 11095"/>
                  <a:gd name="connsiteY4" fmla="*/ 117281 h 117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5" h="117819">
                    <a:moveTo>
                      <a:pt x="252" y="117281"/>
                    </a:moveTo>
                    <a:cubicBezTo>
                      <a:pt x="-1493" y="78017"/>
                      <a:pt x="-1289" y="38754"/>
                      <a:pt x="252" y="-539"/>
                    </a:cubicBezTo>
                    <a:cubicBezTo>
                      <a:pt x="7612" y="-539"/>
                      <a:pt x="10143" y="3417"/>
                      <a:pt x="10114" y="10513"/>
                    </a:cubicBezTo>
                    <a:cubicBezTo>
                      <a:pt x="9910" y="42099"/>
                      <a:pt x="10114" y="73684"/>
                      <a:pt x="10114" y="105240"/>
                    </a:cubicBezTo>
                    <a:cubicBezTo>
                      <a:pt x="9968" y="111871"/>
                      <a:pt x="7292" y="116204"/>
                      <a:pt x="252" y="117281"/>
                    </a:cubicBezTo>
                    <a:close/>
                  </a:path>
                </a:pathLst>
              </a:custGeom>
              <a:solidFill>
                <a:srgbClr val="FCFDFD"/>
              </a:solidFill>
              <a:ln w="2907" cap="flat">
                <a:noFill/>
                <a:prstDash val="solid"/>
                <a:miter/>
              </a:ln>
            </p:spPr>
            <p:txBody>
              <a:bodyPr rtlCol="0" anchor="ctr"/>
              <a:lstStyle/>
              <a:p>
                <a:endParaRPr lang="en-US" sz="800"/>
              </a:p>
            </p:txBody>
          </p:sp>
          <p:sp>
            <p:nvSpPr>
              <p:cNvPr id="432" name="Graphic 38">
                <a:extLst>
                  <a:ext uri="{FF2B5EF4-FFF2-40B4-BE49-F238E27FC236}">
                    <a16:creationId xmlns:a16="http://schemas.microsoft.com/office/drawing/2014/main" id="{81BDDB6F-9E9F-B3AD-4121-6930C90BE4E9}"/>
                  </a:ext>
                </a:extLst>
              </p:cNvPr>
              <p:cNvSpPr/>
              <p:nvPr/>
            </p:nvSpPr>
            <p:spPr>
              <a:xfrm>
                <a:off x="15248830" y="1854110"/>
                <a:ext cx="9912" cy="119496"/>
              </a:xfrm>
              <a:custGeom>
                <a:avLst/>
                <a:gdLst>
                  <a:gd name="connsiteX0" fmla="*/ -125 w 9912"/>
                  <a:gd name="connsiteY0" fmla="*/ 118766 h 119496"/>
                  <a:gd name="connsiteX1" fmla="*/ -678 w 9912"/>
                  <a:gd name="connsiteY1" fmla="*/ 54782 h 119496"/>
                  <a:gd name="connsiteX2" fmla="*/ 194 w 9912"/>
                  <a:gd name="connsiteY2" fmla="*/ -303 h 119496"/>
                  <a:gd name="connsiteX3" fmla="*/ 8921 w 9912"/>
                  <a:gd name="connsiteY3" fmla="*/ 8945 h 119496"/>
                  <a:gd name="connsiteX4" fmla="*/ 8921 w 9912"/>
                  <a:gd name="connsiteY4" fmla="*/ 109576 h 119496"/>
                  <a:gd name="connsiteX5" fmla="*/ -125 w 9912"/>
                  <a:gd name="connsiteY5" fmla="*/ 118766 h 119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2" h="119496">
                    <a:moveTo>
                      <a:pt x="-125" y="118766"/>
                    </a:moveTo>
                    <a:cubicBezTo>
                      <a:pt x="5692" y="97448"/>
                      <a:pt x="-2627" y="76246"/>
                      <a:pt x="-678" y="54782"/>
                    </a:cubicBezTo>
                    <a:cubicBezTo>
                      <a:pt x="1009" y="36546"/>
                      <a:pt x="-10" y="18048"/>
                      <a:pt x="194" y="-303"/>
                    </a:cubicBezTo>
                    <a:cubicBezTo>
                      <a:pt x="7758" y="-1641"/>
                      <a:pt x="9067" y="2896"/>
                      <a:pt x="8921" y="8945"/>
                    </a:cubicBezTo>
                    <a:cubicBezTo>
                      <a:pt x="8921" y="42479"/>
                      <a:pt x="8921" y="76042"/>
                      <a:pt x="8921" y="109576"/>
                    </a:cubicBezTo>
                    <a:cubicBezTo>
                      <a:pt x="9037" y="115887"/>
                      <a:pt x="7118" y="119901"/>
                      <a:pt x="-125" y="118766"/>
                    </a:cubicBezTo>
                    <a:close/>
                  </a:path>
                </a:pathLst>
              </a:custGeom>
              <a:solidFill>
                <a:srgbClr val="FCFDFD"/>
              </a:solidFill>
              <a:ln w="2907" cap="flat">
                <a:noFill/>
                <a:prstDash val="solid"/>
                <a:miter/>
              </a:ln>
            </p:spPr>
            <p:txBody>
              <a:bodyPr rtlCol="0" anchor="ctr"/>
              <a:lstStyle/>
              <a:p>
                <a:endParaRPr lang="en-US" sz="800"/>
              </a:p>
            </p:txBody>
          </p:sp>
          <p:sp>
            <p:nvSpPr>
              <p:cNvPr id="444" name="Graphic 38">
                <a:extLst>
                  <a:ext uri="{FF2B5EF4-FFF2-40B4-BE49-F238E27FC236}">
                    <a16:creationId xmlns:a16="http://schemas.microsoft.com/office/drawing/2014/main" id="{F39B8D88-D31E-DFDB-2A1E-EB9D07071BE9}"/>
                  </a:ext>
                </a:extLst>
              </p:cNvPr>
              <p:cNvSpPr/>
              <p:nvPr/>
            </p:nvSpPr>
            <p:spPr>
              <a:xfrm>
                <a:off x="14787509" y="3000310"/>
                <a:ext cx="9173" cy="111422"/>
              </a:xfrm>
              <a:custGeom>
                <a:avLst/>
                <a:gdLst>
                  <a:gd name="connsiteX0" fmla="*/ 8166 w 9173"/>
                  <a:gd name="connsiteY0" fmla="*/ 55216 h 111422"/>
                  <a:gd name="connsiteX1" fmla="*/ 8166 w 9173"/>
                  <a:gd name="connsiteY1" fmla="*/ 102420 h 111422"/>
                  <a:gd name="connsiteX2" fmla="*/ 3512 w 9173"/>
                  <a:gd name="connsiteY2" fmla="*/ 110883 h 111422"/>
                  <a:gd name="connsiteX3" fmla="*/ -968 w 9173"/>
                  <a:gd name="connsiteY3" fmla="*/ 102332 h 111422"/>
                  <a:gd name="connsiteX4" fmla="*/ -968 w 9173"/>
                  <a:gd name="connsiteY4" fmla="*/ 7897 h 111422"/>
                  <a:gd name="connsiteX5" fmla="*/ 3570 w 9173"/>
                  <a:gd name="connsiteY5" fmla="*/ -538 h 111422"/>
                  <a:gd name="connsiteX6" fmla="*/ 8166 w 9173"/>
                  <a:gd name="connsiteY6" fmla="*/ 7984 h 111422"/>
                  <a:gd name="connsiteX7" fmla="*/ 8166 w 9173"/>
                  <a:gd name="connsiteY7" fmla="*/ 55216 h 111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3" h="111422">
                    <a:moveTo>
                      <a:pt x="8166" y="55216"/>
                    </a:moveTo>
                    <a:cubicBezTo>
                      <a:pt x="8166" y="70951"/>
                      <a:pt x="8166" y="86685"/>
                      <a:pt x="8166" y="102420"/>
                    </a:cubicBezTo>
                    <a:cubicBezTo>
                      <a:pt x="8166" y="106026"/>
                      <a:pt x="8399" y="110941"/>
                      <a:pt x="3512" y="110883"/>
                    </a:cubicBezTo>
                    <a:cubicBezTo>
                      <a:pt x="-1375" y="110825"/>
                      <a:pt x="-968" y="105881"/>
                      <a:pt x="-968" y="102332"/>
                    </a:cubicBezTo>
                    <a:cubicBezTo>
                      <a:pt x="-968" y="70834"/>
                      <a:pt x="-968" y="39366"/>
                      <a:pt x="-968" y="7897"/>
                    </a:cubicBezTo>
                    <a:cubicBezTo>
                      <a:pt x="-968" y="4377"/>
                      <a:pt x="-1462" y="-625"/>
                      <a:pt x="3570" y="-538"/>
                    </a:cubicBezTo>
                    <a:cubicBezTo>
                      <a:pt x="8602" y="-451"/>
                      <a:pt x="8137" y="4407"/>
                      <a:pt x="8166" y="7984"/>
                    </a:cubicBezTo>
                    <a:cubicBezTo>
                      <a:pt x="8224" y="23748"/>
                      <a:pt x="8166" y="39482"/>
                      <a:pt x="8166" y="55216"/>
                    </a:cubicBezTo>
                    <a:close/>
                  </a:path>
                </a:pathLst>
              </a:custGeom>
              <a:solidFill>
                <a:srgbClr val="FCFDFD"/>
              </a:solidFill>
              <a:ln w="2907" cap="flat">
                <a:noFill/>
                <a:prstDash val="solid"/>
                <a:miter/>
              </a:ln>
            </p:spPr>
            <p:txBody>
              <a:bodyPr rtlCol="0" anchor="ctr"/>
              <a:lstStyle/>
              <a:p>
                <a:endParaRPr lang="en-US" sz="800"/>
              </a:p>
            </p:txBody>
          </p:sp>
          <p:sp>
            <p:nvSpPr>
              <p:cNvPr id="445" name="Graphic 38">
                <a:extLst>
                  <a:ext uri="{FF2B5EF4-FFF2-40B4-BE49-F238E27FC236}">
                    <a16:creationId xmlns:a16="http://schemas.microsoft.com/office/drawing/2014/main" id="{091A7030-C2AC-1171-C564-77A485CEA446}"/>
                  </a:ext>
                </a:extLst>
              </p:cNvPr>
              <p:cNvSpPr/>
              <p:nvPr/>
            </p:nvSpPr>
            <p:spPr>
              <a:xfrm>
                <a:off x="16636293" y="2235665"/>
                <a:ext cx="9155" cy="116711"/>
              </a:xfrm>
              <a:custGeom>
                <a:avLst/>
                <a:gdLst>
                  <a:gd name="connsiteX0" fmla="*/ 3295 w 9155"/>
                  <a:gd name="connsiteY0" fmla="*/ -539 h 116711"/>
                  <a:gd name="connsiteX1" fmla="*/ 8123 w 9155"/>
                  <a:gd name="connsiteY1" fmla="*/ 32733 h 116711"/>
                  <a:gd name="connsiteX2" fmla="*/ 8123 w 9155"/>
                  <a:gd name="connsiteY2" fmla="*/ 106985 h 116711"/>
                  <a:gd name="connsiteX3" fmla="*/ 4051 w 9155"/>
                  <a:gd name="connsiteY3" fmla="*/ 116059 h 116711"/>
                  <a:gd name="connsiteX4" fmla="*/ -981 w 9155"/>
                  <a:gd name="connsiteY4" fmla="*/ 109864 h 116711"/>
                  <a:gd name="connsiteX5" fmla="*/ -981 w 9155"/>
                  <a:gd name="connsiteY5" fmla="*/ -190 h 116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5" h="116711">
                    <a:moveTo>
                      <a:pt x="3295" y="-539"/>
                    </a:moveTo>
                    <a:cubicBezTo>
                      <a:pt x="6204" y="10339"/>
                      <a:pt x="7833" y="21478"/>
                      <a:pt x="8123" y="32733"/>
                    </a:cubicBezTo>
                    <a:cubicBezTo>
                      <a:pt x="7949" y="57484"/>
                      <a:pt x="8123" y="82176"/>
                      <a:pt x="8123" y="106985"/>
                    </a:cubicBezTo>
                    <a:cubicBezTo>
                      <a:pt x="8123" y="110475"/>
                      <a:pt x="8938" y="115128"/>
                      <a:pt x="4051" y="116059"/>
                    </a:cubicBezTo>
                    <a:cubicBezTo>
                      <a:pt x="-283" y="116873"/>
                      <a:pt x="-981" y="113150"/>
                      <a:pt x="-981" y="109864"/>
                    </a:cubicBezTo>
                    <a:cubicBezTo>
                      <a:pt x="-981" y="73189"/>
                      <a:pt x="-981" y="36485"/>
                      <a:pt x="-981" y="-190"/>
                    </a:cubicBezTo>
                    <a:close/>
                  </a:path>
                </a:pathLst>
              </a:custGeom>
              <a:solidFill>
                <a:srgbClr val="FCFDFD"/>
              </a:solidFill>
              <a:ln w="2907" cap="flat">
                <a:noFill/>
                <a:prstDash val="solid"/>
                <a:miter/>
              </a:ln>
            </p:spPr>
            <p:txBody>
              <a:bodyPr rtlCol="0" anchor="ctr"/>
              <a:lstStyle/>
              <a:p>
                <a:endParaRPr lang="en-US" sz="800"/>
              </a:p>
            </p:txBody>
          </p:sp>
          <p:sp>
            <p:nvSpPr>
              <p:cNvPr id="446" name="Graphic 38">
                <a:extLst>
                  <a:ext uri="{FF2B5EF4-FFF2-40B4-BE49-F238E27FC236}">
                    <a16:creationId xmlns:a16="http://schemas.microsoft.com/office/drawing/2014/main" id="{A8F8EDC9-75DB-DDC2-9084-AE50E2BDBA19}"/>
                  </a:ext>
                </a:extLst>
              </p:cNvPr>
              <p:cNvSpPr/>
              <p:nvPr/>
            </p:nvSpPr>
            <p:spPr>
              <a:xfrm>
                <a:off x="16636000" y="2111680"/>
                <a:ext cx="9599" cy="113820"/>
              </a:xfrm>
              <a:custGeom>
                <a:avLst/>
                <a:gdLst>
                  <a:gd name="connsiteX0" fmla="*/ 2918 w 9599"/>
                  <a:gd name="connsiteY0" fmla="*/ -539 h 113820"/>
                  <a:gd name="connsiteX1" fmla="*/ 8328 w 9599"/>
                  <a:gd name="connsiteY1" fmla="*/ 17581 h 113820"/>
                  <a:gd name="connsiteX2" fmla="*/ 8328 w 9599"/>
                  <a:gd name="connsiteY2" fmla="*/ 102535 h 113820"/>
                  <a:gd name="connsiteX3" fmla="*/ 3209 w 9599"/>
                  <a:gd name="connsiteY3" fmla="*/ 113267 h 113820"/>
                  <a:gd name="connsiteX4" fmla="*/ -776 w 9599"/>
                  <a:gd name="connsiteY4" fmla="*/ 102913 h 113820"/>
                  <a:gd name="connsiteX5" fmla="*/ -776 w 9599"/>
                  <a:gd name="connsiteY5" fmla="*/ 6936 h 113820"/>
                  <a:gd name="connsiteX6" fmla="*/ 2918 w 9599"/>
                  <a:gd name="connsiteY6" fmla="*/ -539 h 11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99" h="113820">
                    <a:moveTo>
                      <a:pt x="2918" y="-539"/>
                    </a:moveTo>
                    <a:cubicBezTo>
                      <a:pt x="6758" y="4697"/>
                      <a:pt x="8677" y="11095"/>
                      <a:pt x="8328" y="17581"/>
                    </a:cubicBezTo>
                    <a:cubicBezTo>
                      <a:pt x="8328" y="45908"/>
                      <a:pt x="8328" y="74236"/>
                      <a:pt x="8328" y="102535"/>
                    </a:cubicBezTo>
                    <a:cubicBezTo>
                      <a:pt x="8328" y="106665"/>
                      <a:pt x="10452" y="113645"/>
                      <a:pt x="3209" y="113267"/>
                    </a:cubicBezTo>
                    <a:cubicBezTo>
                      <a:pt x="-2347" y="113005"/>
                      <a:pt x="-776" y="106752"/>
                      <a:pt x="-776" y="102913"/>
                    </a:cubicBezTo>
                    <a:cubicBezTo>
                      <a:pt x="-922" y="70921"/>
                      <a:pt x="-776" y="38928"/>
                      <a:pt x="-776" y="6936"/>
                    </a:cubicBezTo>
                    <a:cubicBezTo>
                      <a:pt x="-1504" y="3882"/>
                      <a:pt x="67" y="741"/>
                      <a:pt x="2918" y="-539"/>
                    </a:cubicBezTo>
                    <a:close/>
                  </a:path>
                </a:pathLst>
              </a:custGeom>
              <a:solidFill>
                <a:srgbClr val="FCFDFD"/>
              </a:solidFill>
              <a:ln w="2907" cap="flat">
                <a:noFill/>
                <a:prstDash val="solid"/>
                <a:miter/>
              </a:ln>
            </p:spPr>
            <p:txBody>
              <a:bodyPr rtlCol="0" anchor="ctr"/>
              <a:lstStyle/>
              <a:p>
                <a:endParaRPr lang="en-US" sz="800"/>
              </a:p>
            </p:txBody>
          </p:sp>
          <p:sp>
            <p:nvSpPr>
              <p:cNvPr id="447" name="Graphic 38">
                <a:extLst>
                  <a:ext uri="{FF2B5EF4-FFF2-40B4-BE49-F238E27FC236}">
                    <a16:creationId xmlns:a16="http://schemas.microsoft.com/office/drawing/2014/main" id="{B56BEFA7-4ECD-22FA-66FE-D9240F5A1411}"/>
                  </a:ext>
                </a:extLst>
              </p:cNvPr>
              <p:cNvSpPr/>
              <p:nvPr/>
            </p:nvSpPr>
            <p:spPr>
              <a:xfrm>
                <a:off x="16189468" y="1475195"/>
                <a:ext cx="9502" cy="115969"/>
              </a:xfrm>
              <a:custGeom>
                <a:avLst/>
                <a:gdLst>
                  <a:gd name="connsiteX0" fmla="*/ 8463 w 9502"/>
                  <a:gd name="connsiteY0" fmla="*/ 115431 h 115969"/>
                  <a:gd name="connsiteX1" fmla="*/ -961 w 9502"/>
                  <a:gd name="connsiteY1" fmla="*/ 105833 h 115969"/>
                  <a:gd name="connsiteX2" fmla="*/ -961 w 9502"/>
                  <a:gd name="connsiteY2" fmla="*/ 7907 h 115969"/>
                  <a:gd name="connsiteX3" fmla="*/ 3577 w 9502"/>
                  <a:gd name="connsiteY3" fmla="*/ -527 h 115969"/>
                  <a:gd name="connsiteX4" fmla="*/ 6137 w 9502"/>
                  <a:gd name="connsiteY4" fmla="*/ 7878 h 115969"/>
                  <a:gd name="connsiteX5" fmla="*/ 8522 w 9502"/>
                  <a:gd name="connsiteY5" fmla="*/ 114994 h 11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02" h="115969">
                    <a:moveTo>
                      <a:pt x="8463" y="115431"/>
                    </a:moveTo>
                    <a:cubicBezTo>
                      <a:pt x="1947" y="115431"/>
                      <a:pt x="-991" y="112522"/>
                      <a:pt x="-961" y="105833"/>
                    </a:cubicBezTo>
                    <a:cubicBezTo>
                      <a:pt x="-816" y="73201"/>
                      <a:pt x="-961" y="40539"/>
                      <a:pt x="-961" y="7907"/>
                    </a:cubicBezTo>
                    <a:cubicBezTo>
                      <a:pt x="-961" y="4446"/>
                      <a:pt x="-1543" y="-818"/>
                      <a:pt x="3577" y="-527"/>
                    </a:cubicBezTo>
                    <a:cubicBezTo>
                      <a:pt x="9889" y="-207"/>
                      <a:pt x="5758" y="4766"/>
                      <a:pt x="6137" y="7878"/>
                    </a:cubicBezTo>
                    <a:cubicBezTo>
                      <a:pt x="10587" y="43506"/>
                      <a:pt x="7038" y="79308"/>
                      <a:pt x="8522" y="114994"/>
                    </a:cubicBezTo>
                    <a:close/>
                  </a:path>
                </a:pathLst>
              </a:custGeom>
              <a:solidFill>
                <a:srgbClr val="FCFDFD"/>
              </a:solidFill>
              <a:ln w="2907" cap="flat">
                <a:noFill/>
                <a:prstDash val="solid"/>
                <a:miter/>
              </a:ln>
            </p:spPr>
            <p:txBody>
              <a:bodyPr rtlCol="0" anchor="ctr"/>
              <a:lstStyle/>
              <a:p>
                <a:endParaRPr lang="en-US" sz="800"/>
              </a:p>
            </p:txBody>
          </p:sp>
          <p:sp>
            <p:nvSpPr>
              <p:cNvPr id="704" name="Graphic 38">
                <a:extLst>
                  <a:ext uri="{FF2B5EF4-FFF2-40B4-BE49-F238E27FC236}">
                    <a16:creationId xmlns:a16="http://schemas.microsoft.com/office/drawing/2014/main" id="{EC20B188-1017-5DDA-E8A3-05BA54887C99}"/>
                  </a:ext>
                </a:extLst>
              </p:cNvPr>
              <p:cNvSpPr/>
              <p:nvPr/>
            </p:nvSpPr>
            <p:spPr>
              <a:xfrm>
                <a:off x="15249508" y="1476137"/>
                <a:ext cx="9566" cy="112554"/>
              </a:xfrm>
              <a:custGeom>
                <a:avLst/>
                <a:gdLst>
                  <a:gd name="connsiteX0" fmla="*/ 8359 w 9566"/>
                  <a:gd name="connsiteY0" fmla="*/ -190 h 112554"/>
                  <a:gd name="connsiteX1" fmla="*/ 8359 w 9566"/>
                  <a:gd name="connsiteY1" fmla="*/ 47886 h 112554"/>
                  <a:gd name="connsiteX2" fmla="*/ 8214 w 9566"/>
                  <a:gd name="connsiteY2" fmla="*/ 101633 h 112554"/>
                  <a:gd name="connsiteX3" fmla="*/ 4548 w 9566"/>
                  <a:gd name="connsiteY3" fmla="*/ 112016 h 112554"/>
                  <a:gd name="connsiteX4" fmla="*/ -891 w 9566"/>
                  <a:gd name="connsiteY4" fmla="*/ 100964 h 112554"/>
                  <a:gd name="connsiteX5" fmla="*/ -891 w 9566"/>
                  <a:gd name="connsiteY5" fmla="*/ 61410 h 112554"/>
                  <a:gd name="connsiteX6" fmla="*/ -891 w 9566"/>
                  <a:gd name="connsiteY6" fmla="*/ 22001 h 112554"/>
                  <a:gd name="connsiteX7" fmla="*/ 4142 w 9566"/>
                  <a:gd name="connsiteY7" fmla="*/ -539 h 11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66" h="112554">
                    <a:moveTo>
                      <a:pt x="8359" y="-190"/>
                    </a:moveTo>
                    <a:lnTo>
                      <a:pt x="8359" y="47886"/>
                    </a:lnTo>
                    <a:cubicBezTo>
                      <a:pt x="8359" y="65802"/>
                      <a:pt x="8359" y="83718"/>
                      <a:pt x="8214" y="101633"/>
                    </a:cubicBezTo>
                    <a:cubicBezTo>
                      <a:pt x="8214" y="105385"/>
                      <a:pt x="10308" y="111871"/>
                      <a:pt x="4548" y="112016"/>
                    </a:cubicBezTo>
                    <a:cubicBezTo>
                      <a:pt x="-1880" y="112016"/>
                      <a:pt x="-833" y="105414"/>
                      <a:pt x="-891" y="100964"/>
                    </a:cubicBezTo>
                    <a:cubicBezTo>
                      <a:pt x="-1095" y="87789"/>
                      <a:pt x="-891" y="74614"/>
                      <a:pt x="-891" y="61410"/>
                    </a:cubicBezTo>
                    <a:lnTo>
                      <a:pt x="-891" y="22001"/>
                    </a:lnTo>
                    <a:cubicBezTo>
                      <a:pt x="-1036" y="14195"/>
                      <a:pt x="680" y="6468"/>
                      <a:pt x="4142" y="-539"/>
                    </a:cubicBezTo>
                    <a:close/>
                  </a:path>
                </a:pathLst>
              </a:custGeom>
              <a:solidFill>
                <a:srgbClr val="FCFDFD"/>
              </a:solidFill>
              <a:ln w="2907" cap="flat">
                <a:noFill/>
                <a:prstDash val="solid"/>
                <a:miter/>
              </a:ln>
            </p:spPr>
            <p:txBody>
              <a:bodyPr rtlCol="0" anchor="ctr"/>
              <a:lstStyle/>
              <a:p>
                <a:endParaRPr lang="en-US" sz="800"/>
              </a:p>
            </p:txBody>
          </p:sp>
          <p:sp>
            <p:nvSpPr>
              <p:cNvPr id="705" name="Graphic 38">
                <a:extLst>
                  <a:ext uri="{FF2B5EF4-FFF2-40B4-BE49-F238E27FC236}">
                    <a16:creationId xmlns:a16="http://schemas.microsoft.com/office/drawing/2014/main" id="{DDEACC87-1FDA-DE66-AAE0-4E4913F48538}"/>
                  </a:ext>
                </a:extLst>
              </p:cNvPr>
              <p:cNvSpPr/>
              <p:nvPr/>
            </p:nvSpPr>
            <p:spPr>
              <a:xfrm>
                <a:off x="15248922" y="2618963"/>
                <a:ext cx="9984" cy="117411"/>
              </a:xfrm>
              <a:custGeom>
                <a:avLst/>
                <a:gdLst>
                  <a:gd name="connsiteX0" fmla="*/ 2662 w 9984"/>
                  <a:gd name="connsiteY0" fmla="*/ 116873 h 117411"/>
                  <a:gd name="connsiteX1" fmla="*/ 2662 w 9984"/>
                  <a:gd name="connsiteY1" fmla="*/ -539 h 117411"/>
                  <a:gd name="connsiteX2" fmla="*/ 8887 w 9984"/>
                  <a:gd name="connsiteY2" fmla="*/ 12055 h 117411"/>
                  <a:gd name="connsiteX3" fmla="*/ 8887 w 9984"/>
                  <a:gd name="connsiteY3" fmla="*/ 104542 h 117411"/>
                  <a:gd name="connsiteX4" fmla="*/ 2662 w 9984"/>
                  <a:gd name="connsiteY4" fmla="*/ 116873 h 117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84" h="117411">
                    <a:moveTo>
                      <a:pt x="2662" y="116873"/>
                    </a:moveTo>
                    <a:cubicBezTo>
                      <a:pt x="-2196" y="77901"/>
                      <a:pt x="-2196" y="38434"/>
                      <a:pt x="2662" y="-539"/>
                    </a:cubicBezTo>
                    <a:cubicBezTo>
                      <a:pt x="9643" y="1235"/>
                      <a:pt x="8887" y="6878"/>
                      <a:pt x="8887" y="12055"/>
                    </a:cubicBezTo>
                    <a:cubicBezTo>
                      <a:pt x="8887" y="42884"/>
                      <a:pt x="8887" y="73712"/>
                      <a:pt x="8887" y="104542"/>
                    </a:cubicBezTo>
                    <a:cubicBezTo>
                      <a:pt x="8945" y="109544"/>
                      <a:pt x="10225" y="115535"/>
                      <a:pt x="2662" y="116873"/>
                    </a:cubicBezTo>
                    <a:close/>
                  </a:path>
                </a:pathLst>
              </a:custGeom>
              <a:solidFill>
                <a:srgbClr val="FCFDFD"/>
              </a:solidFill>
              <a:ln w="2907" cap="flat">
                <a:noFill/>
                <a:prstDash val="solid"/>
                <a:miter/>
              </a:ln>
            </p:spPr>
            <p:txBody>
              <a:bodyPr rtlCol="0" anchor="ctr"/>
              <a:lstStyle/>
              <a:p>
                <a:endParaRPr lang="en-US" sz="800"/>
              </a:p>
            </p:txBody>
          </p:sp>
          <p:sp>
            <p:nvSpPr>
              <p:cNvPr id="706" name="Graphic 38">
                <a:extLst>
                  <a:ext uri="{FF2B5EF4-FFF2-40B4-BE49-F238E27FC236}">
                    <a16:creationId xmlns:a16="http://schemas.microsoft.com/office/drawing/2014/main" id="{6AB85C5B-1745-830C-6FE0-DEF856024572}"/>
                  </a:ext>
                </a:extLst>
              </p:cNvPr>
              <p:cNvSpPr/>
              <p:nvPr/>
            </p:nvSpPr>
            <p:spPr>
              <a:xfrm>
                <a:off x="16173722" y="2236538"/>
                <a:ext cx="10124" cy="94929"/>
              </a:xfrm>
              <a:custGeom>
                <a:avLst/>
                <a:gdLst>
                  <a:gd name="connsiteX0" fmla="*/ 8531 w 10124"/>
                  <a:gd name="connsiteY0" fmla="*/ 94391 h 94929"/>
                  <a:gd name="connsiteX1" fmla="*/ -981 w 10124"/>
                  <a:gd name="connsiteY1" fmla="*/ 84997 h 94929"/>
                  <a:gd name="connsiteX2" fmla="*/ -981 w 10124"/>
                  <a:gd name="connsiteY2" fmla="*/ 8390 h 94929"/>
                  <a:gd name="connsiteX3" fmla="*/ 5709 w 10124"/>
                  <a:gd name="connsiteY3" fmla="*/ -539 h 94929"/>
                  <a:gd name="connsiteX4" fmla="*/ 8356 w 10124"/>
                  <a:gd name="connsiteY4" fmla="*/ 39510 h 94929"/>
                  <a:gd name="connsiteX5" fmla="*/ 8531 w 10124"/>
                  <a:gd name="connsiteY5" fmla="*/ 94391 h 9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24" h="94929">
                    <a:moveTo>
                      <a:pt x="8531" y="94391"/>
                    </a:moveTo>
                    <a:cubicBezTo>
                      <a:pt x="2132" y="94391"/>
                      <a:pt x="-1010" y="91657"/>
                      <a:pt x="-981" y="84997"/>
                    </a:cubicBezTo>
                    <a:cubicBezTo>
                      <a:pt x="-981" y="59462"/>
                      <a:pt x="-981" y="33926"/>
                      <a:pt x="-981" y="8390"/>
                    </a:cubicBezTo>
                    <a:cubicBezTo>
                      <a:pt x="-981" y="3649"/>
                      <a:pt x="590" y="275"/>
                      <a:pt x="5709" y="-539"/>
                    </a:cubicBezTo>
                    <a:cubicBezTo>
                      <a:pt x="11789" y="12462"/>
                      <a:pt x="7833" y="26160"/>
                      <a:pt x="8356" y="39510"/>
                    </a:cubicBezTo>
                    <a:cubicBezTo>
                      <a:pt x="9171" y="57774"/>
                      <a:pt x="8560" y="76098"/>
                      <a:pt x="8531" y="94391"/>
                    </a:cubicBezTo>
                    <a:close/>
                  </a:path>
                </a:pathLst>
              </a:custGeom>
              <a:solidFill>
                <a:srgbClr val="EBECF1"/>
              </a:solidFill>
              <a:ln w="2907" cap="flat">
                <a:noFill/>
                <a:prstDash val="solid"/>
                <a:miter/>
              </a:ln>
            </p:spPr>
            <p:txBody>
              <a:bodyPr rtlCol="0" anchor="ctr"/>
              <a:lstStyle/>
              <a:p>
                <a:endParaRPr lang="en-US" sz="800"/>
              </a:p>
            </p:txBody>
          </p:sp>
          <p:sp>
            <p:nvSpPr>
              <p:cNvPr id="707" name="Graphic 38">
                <a:extLst>
                  <a:ext uri="{FF2B5EF4-FFF2-40B4-BE49-F238E27FC236}">
                    <a16:creationId xmlns:a16="http://schemas.microsoft.com/office/drawing/2014/main" id="{BDD11911-0F40-443C-7374-0856A84AE16B}"/>
                  </a:ext>
                </a:extLst>
              </p:cNvPr>
              <p:cNvSpPr/>
              <p:nvPr/>
            </p:nvSpPr>
            <p:spPr>
              <a:xfrm>
                <a:off x="15249715" y="3379084"/>
                <a:ext cx="9120" cy="119755"/>
              </a:xfrm>
              <a:custGeom>
                <a:avLst/>
                <a:gdLst>
                  <a:gd name="connsiteX0" fmla="*/ 1928 w 9120"/>
                  <a:gd name="connsiteY0" fmla="*/ 119217 h 119755"/>
                  <a:gd name="connsiteX1" fmla="*/ -981 w 9120"/>
                  <a:gd name="connsiteY1" fmla="*/ -347 h 119755"/>
                  <a:gd name="connsiteX2" fmla="*/ 8123 w 9120"/>
                  <a:gd name="connsiteY2" fmla="*/ 10443 h 119755"/>
                  <a:gd name="connsiteX3" fmla="*/ 8123 w 9120"/>
                  <a:gd name="connsiteY3" fmla="*/ 108368 h 119755"/>
                  <a:gd name="connsiteX4" fmla="*/ 1928 w 9120"/>
                  <a:gd name="connsiteY4" fmla="*/ 119217 h 11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20" h="119755">
                    <a:moveTo>
                      <a:pt x="1928" y="119217"/>
                    </a:moveTo>
                    <a:cubicBezTo>
                      <a:pt x="1200" y="79372"/>
                      <a:pt x="3324" y="39440"/>
                      <a:pt x="-981" y="-347"/>
                    </a:cubicBezTo>
                    <a:cubicBezTo>
                      <a:pt x="7948" y="-1685"/>
                      <a:pt x="8123" y="4219"/>
                      <a:pt x="8123" y="10443"/>
                    </a:cubicBezTo>
                    <a:cubicBezTo>
                      <a:pt x="8123" y="43075"/>
                      <a:pt x="8123" y="75707"/>
                      <a:pt x="8123" y="108368"/>
                    </a:cubicBezTo>
                    <a:cubicBezTo>
                      <a:pt x="8152" y="113109"/>
                      <a:pt x="8588" y="118228"/>
                      <a:pt x="1928" y="119217"/>
                    </a:cubicBezTo>
                    <a:close/>
                  </a:path>
                </a:pathLst>
              </a:custGeom>
              <a:solidFill>
                <a:srgbClr val="FCFDFD"/>
              </a:solidFill>
              <a:ln w="2907" cap="flat">
                <a:noFill/>
                <a:prstDash val="solid"/>
                <a:miter/>
              </a:ln>
            </p:spPr>
            <p:txBody>
              <a:bodyPr rtlCol="0" anchor="ctr"/>
              <a:lstStyle/>
              <a:p>
                <a:endParaRPr lang="en-US" sz="800"/>
              </a:p>
            </p:txBody>
          </p:sp>
          <p:sp>
            <p:nvSpPr>
              <p:cNvPr id="708" name="Graphic 38">
                <a:extLst>
                  <a:ext uri="{FF2B5EF4-FFF2-40B4-BE49-F238E27FC236}">
                    <a16:creationId xmlns:a16="http://schemas.microsoft.com/office/drawing/2014/main" id="{748B07BE-C6C1-DE39-84DF-B6A02678BC29}"/>
                  </a:ext>
                </a:extLst>
              </p:cNvPr>
              <p:cNvSpPr/>
              <p:nvPr/>
            </p:nvSpPr>
            <p:spPr>
              <a:xfrm>
                <a:off x="15246109" y="2872766"/>
                <a:ext cx="3577" cy="194874"/>
              </a:xfrm>
              <a:custGeom>
                <a:avLst/>
                <a:gdLst>
                  <a:gd name="connsiteX0" fmla="*/ 1985 w 3577"/>
                  <a:gd name="connsiteY0" fmla="*/ -527 h 194874"/>
                  <a:gd name="connsiteX1" fmla="*/ 2597 w 3577"/>
                  <a:gd name="connsiteY1" fmla="*/ 116245 h 194874"/>
                  <a:gd name="connsiteX2" fmla="*/ 2422 w 3577"/>
                  <a:gd name="connsiteY2" fmla="*/ 125581 h 194874"/>
                  <a:gd name="connsiteX3" fmla="*/ 1928 w 3577"/>
                  <a:gd name="connsiteY3" fmla="*/ 179794 h 194874"/>
                  <a:gd name="connsiteX4" fmla="*/ -981 w 3577"/>
                  <a:gd name="connsiteY4" fmla="*/ 194336 h 194874"/>
                  <a:gd name="connsiteX5" fmla="*/ -662 w 3577"/>
                  <a:gd name="connsiteY5" fmla="*/ 140908 h 194874"/>
                  <a:gd name="connsiteX6" fmla="*/ 473 w 3577"/>
                  <a:gd name="connsiteY6" fmla="*/ -498 h 194874"/>
                  <a:gd name="connsiteX7" fmla="*/ 1985 w 3577"/>
                  <a:gd name="connsiteY7" fmla="*/ -527 h 19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7" h="194874">
                    <a:moveTo>
                      <a:pt x="1985" y="-527"/>
                    </a:moveTo>
                    <a:lnTo>
                      <a:pt x="2597" y="116245"/>
                    </a:lnTo>
                    <a:lnTo>
                      <a:pt x="2422" y="125581"/>
                    </a:lnTo>
                    <a:cubicBezTo>
                      <a:pt x="2276" y="143642"/>
                      <a:pt x="2218" y="161733"/>
                      <a:pt x="1928" y="179794"/>
                    </a:cubicBezTo>
                    <a:cubicBezTo>
                      <a:pt x="1928" y="184767"/>
                      <a:pt x="3410" y="190264"/>
                      <a:pt x="-981" y="194336"/>
                    </a:cubicBezTo>
                    <a:cubicBezTo>
                      <a:pt x="-981" y="176536"/>
                      <a:pt x="-866" y="158737"/>
                      <a:pt x="-662" y="140908"/>
                    </a:cubicBezTo>
                    <a:lnTo>
                      <a:pt x="473" y="-498"/>
                    </a:lnTo>
                    <a:cubicBezTo>
                      <a:pt x="967" y="-527"/>
                      <a:pt x="1491" y="-556"/>
                      <a:pt x="1985" y="-527"/>
                    </a:cubicBezTo>
                    <a:close/>
                  </a:path>
                </a:pathLst>
              </a:custGeom>
              <a:solidFill>
                <a:srgbClr val="B7BDCB"/>
              </a:solidFill>
              <a:ln w="2907" cap="flat">
                <a:noFill/>
                <a:prstDash val="solid"/>
                <a:miter/>
              </a:ln>
            </p:spPr>
            <p:txBody>
              <a:bodyPr rtlCol="0" anchor="ctr"/>
              <a:lstStyle/>
              <a:p>
                <a:endParaRPr lang="en-US" sz="800"/>
              </a:p>
            </p:txBody>
          </p:sp>
          <p:sp>
            <p:nvSpPr>
              <p:cNvPr id="709" name="Graphic 38">
                <a:extLst>
                  <a:ext uri="{FF2B5EF4-FFF2-40B4-BE49-F238E27FC236}">
                    <a16:creationId xmlns:a16="http://schemas.microsoft.com/office/drawing/2014/main" id="{591F577A-0CF6-6908-2B2F-2984395FE177}"/>
                  </a:ext>
                </a:extLst>
              </p:cNvPr>
              <p:cNvSpPr/>
              <p:nvPr/>
            </p:nvSpPr>
            <p:spPr>
              <a:xfrm>
                <a:off x="16195916" y="1160954"/>
                <a:ext cx="9803" cy="53107"/>
              </a:xfrm>
              <a:custGeom>
                <a:avLst/>
                <a:gdLst>
                  <a:gd name="connsiteX0" fmla="*/ -981 w 9803"/>
                  <a:gd name="connsiteY0" fmla="*/ 49864 h 53107"/>
                  <a:gd name="connsiteX1" fmla="*/ -981 w 9803"/>
                  <a:gd name="connsiteY1" fmla="*/ 18948 h 53107"/>
                  <a:gd name="connsiteX2" fmla="*/ 8822 w 9803"/>
                  <a:gd name="connsiteY2" fmla="*/ -539 h 53107"/>
                  <a:gd name="connsiteX3" fmla="*/ 1898 w 9803"/>
                  <a:gd name="connsiteY3" fmla="*/ 52569 h 53107"/>
                </a:gdLst>
                <a:ahLst/>
                <a:cxnLst>
                  <a:cxn ang="0">
                    <a:pos x="connsiteX0" y="connsiteY0"/>
                  </a:cxn>
                  <a:cxn ang="0">
                    <a:pos x="connsiteX1" y="connsiteY1"/>
                  </a:cxn>
                  <a:cxn ang="0">
                    <a:pos x="connsiteX2" y="connsiteY2"/>
                  </a:cxn>
                  <a:cxn ang="0">
                    <a:pos x="connsiteX3" y="connsiteY3"/>
                  </a:cxn>
                </a:cxnLst>
                <a:rect l="l" t="t" r="r" b="b"/>
                <a:pathLst>
                  <a:path w="9803" h="53107">
                    <a:moveTo>
                      <a:pt x="-981" y="49864"/>
                    </a:moveTo>
                    <a:cubicBezTo>
                      <a:pt x="-981" y="39539"/>
                      <a:pt x="-981" y="29243"/>
                      <a:pt x="-981" y="18948"/>
                    </a:cubicBezTo>
                    <a:cubicBezTo>
                      <a:pt x="-836" y="10950"/>
                      <a:pt x="590" y="3446"/>
                      <a:pt x="8822" y="-539"/>
                    </a:cubicBezTo>
                    <a:cubicBezTo>
                      <a:pt x="95" y="16359"/>
                      <a:pt x="5680" y="35060"/>
                      <a:pt x="1898" y="52569"/>
                    </a:cubicBezTo>
                    <a:close/>
                  </a:path>
                </a:pathLst>
              </a:custGeom>
              <a:solidFill>
                <a:srgbClr val="EBECF1"/>
              </a:solidFill>
              <a:ln w="2907" cap="flat">
                <a:noFill/>
                <a:prstDash val="solid"/>
                <a:miter/>
              </a:ln>
            </p:spPr>
            <p:txBody>
              <a:bodyPr rtlCol="0" anchor="ctr"/>
              <a:lstStyle/>
              <a:p>
                <a:endParaRPr lang="en-US" sz="800"/>
              </a:p>
            </p:txBody>
          </p:sp>
          <p:sp>
            <p:nvSpPr>
              <p:cNvPr id="710" name="Graphic 38">
                <a:extLst>
                  <a:ext uri="{FF2B5EF4-FFF2-40B4-BE49-F238E27FC236}">
                    <a16:creationId xmlns:a16="http://schemas.microsoft.com/office/drawing/2014/main" id="{D1944337-AEEC-D77C-39F2-492DFF272186}"/>
                  </a:ext>
                </a:extLst>
              </p:cNvPr>
              <p:cNvSpPr/>
              <p:nvPr/>
            </p:nvSpPr>
            <p:spPr>
              <a:xfrm>
                <a:off x="17097489" y="1189456"/>
                <a:ext cx="10201" cy="25041"/>
              </a:xfrm>
              <a:custGeom>
                <a:avLst/>
                <a:gdLst>
                  <a:gd name="connsiteX0" fmla="*/ 5658 w 10201"/>
                  <a:gd name="connsiteY0" fmla="*/ 24503 h 25041"/>
                  <a:gd name="connsiteX1" fmla="*/ 3098 w 10201"/>
                  <a:gd name="connsiteY1" fmla="*/ 24503 h 25041"/>
                  <a:gd name="connsiteX2" fmla="*/ -160 w 10201"/>
                  <a:gd name="connsiteY2" fmla="*/ 23921 h 25041"/>
                  <a:gd name="connsiteX3" fmla="*/ 8974 w 10201"/>
                  <a:gd name="connsiteY3" fmla="*/ -539 h 25041"/>
                  <a:gd name="connsiteX4" fmla="*/ 5658 w 10201"/>
                  <a:gd name="connsiteY4" fmla="*/ 24503 h 2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1" h="25041">
                    <a:moveTo>
                      <a:pt x="5658" y="24503"/>
                    </a:moveTo>
                    <a:cubicBezTo>
                      <a:pt x="4814" y="24459"/>
                      <a:pt x="3941" y="24459"/>
                      <a:pt x="3098" y="24503"/>
                    </a:cubicBezTo>
                    <a:lnTo>
                      <a:pt x="-160" y="23921"/>
                    </a:lnTo>
                    <a:cubicBezTo>
                      <a:pt x="2749" y="15719"/>
                      <a:pt x="-8247" y="2341"/>
                      <a:pt x="8974" y="-539"/>
                    </a:cubicBezTo>
                    <a:cubicBezTo>
                      <a:pt x="10137" y="8070"/>
                      <a:pt x="6879" y="16156"/>
                      <a:pt x="5658" y="24503"/>
                    </a:cubicBezTo>
                    <a:close/>
                  </a:path>
                </a:pathLst>
              </a:custGeom>
              <a:solidFill>
                <a:srgbClr val="FCFDFD"/>
              </a:solidFill>
              <a:ln w="2907" cap="flat">
                <a:noFill/>
                <a:prstDash val="solid"/>
                <a:miter/>
              </a:ln>
            </p:spPr>
            <p:txBody>
              <a:bodyPr rtlCol="0" anchor="ctr"/>
              <a:lstStyle/>
              <a:p>
                <a:endParaRPr lang="en-US" sz="800"/>
              </a:p>
            </p:txBody>
          </p:sp>
          <p:sp>
            <p:nvSpPr>
              <p:cNvPr id="711" name="Graphic 38">
                <a:extLst>
                  <a:ext uri="{FF2B5EF4-FFF2-40B4-BE49-F238E27FC236}">
                    <a16:creationId xmlns:a16="http://schemas.microsoft.com/office/drawing/2014/main" id="{BF8A3B18-28D1-79D7-A56F-68DF33AEFC06}"/>
                  </a:ext>
                </a:extLst>
              </p:cNvPr>
              <p:cNvSpPr/>
              <p:nvPr/>
            </p:nvSpPr>
            <p:spPr>
              <a:xfrm>
                <a:off x="16198883" y="2989452"/>
                <a:ext cx="19140" cy="10083"/>
              </a:xfrm>
              <a:custGeom>
                <a:avLst/>
                <a:gdLst>
                  <a:gd name="connsiteX0" fmla="*/ 15309 w 19140"/>
                  <a:gd name="connsiteY0" fmla="*/ 9478 h 10083"/>
                  <a:gd name="connsiteX1" fmla="*/ -836 w 19140"/>
                  <a:gd name="connsiteY1" fmla="*/ 5871 h 10083"/>
                  <a:gd name="connsiteX2" fmla="*/ -981 w 19140"/>
                  <a:gd name="connsiteY2" fmla="*/ -236 h 10083"/>
                  <a:gd name="connsiteX3" fmla="*/ 18159 w 19140"/>
                  <a:gd name="connsiteY3" fmla="*/ 2672 h 10083"/>
                  <a:gd name="connsiteX4" fmla="*/ 18159 w 19140"/>
                  <a:gd name="connsiteY4" fmla="*/ 8750 h 10083"/>
                  <a:gd name="connsiteX5" fmla="*/ 15309 w 19140"/>
                  <a:gd name="connsiteY5" fmla="*/ 9478 h 10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40" h="10083">
                    <a:moveTo>
                      <a:pt x="15309" y="9478"/>
                    </a:moveTo>
                    <a:cubicBezTo>
                      <a:pt x="10858" y="4184"/>
                      <a:pt x="4692" y="6569"/>
                      <a:pt x="-836" y="5871"/>
                    </a:cubicBezTo>
                    <a:cubicBezTo>
                      <a:pt x="-836" y="3835"/>
                      <a:pt x="-836" y="1799"/>
                      <a:pt x="-981" y="-236"/>
                    </a:cubicBezTo>
                    <a:cubicBezTo>
                      <a:pt x="5476" y="258"/>
                      <a:pt x="12371" y="-2505"/>
                      <a:pt x="18159" y="2672"/>
                    </a:cubicBezTo>
                    <a:cubicBezTo>
                      <a:pt x="18159" y="4679"/>
                      <a:pt x="18159" y="6715"/>
                      <a:pt x="18159" y="8750"/>
                    </a:cubicBezTo>
                    <a:cubicBezTo>
                      <a:pt x="17374" y="9419"/>
                      <a:pt x="16327" y="9681"/>
                      <a:pt x="15309" y="9478"/>
                    </a:cubicBezTo>
                    <a:close/>
                  </a:path>
                </a:pathLst>
              </a:custGeom>
              <a:solidFill>
                <a:srgbClr val="EBECF1"/>
              </a:solidFill>
              <a:ln w="2907" cap="flat">
                <a:noFill/>
                <a:prstDash val="solid"/>
                <a:miter/>
              </a:ln>
            </p:spPr>
            <p:txBody>
              <a:bodyPr rtlCol="0" anchor="ctr"/>
              <a:lstStyle/>
              <a:p>
                <a:endParaRPr lang="en-US" sz="800"/>
              </a:p>
            </p:txBody>
          </p:sp>
          <p:sp>
            <p:nvSpPr>
              <p:cNvPr id="712" name="Graphic 38">
                <a:extLst>
                  <a:ext uri="{FF2B5EF4-FFF2-40B4-BE49-F238E27FC236}">
                    <a16:creationId xmlns:a16="http://schemas.microsoft.com/office/drawing/2014/main" id="{36A4C4E1-6F20-C4F4-D21F-B5C93435C700}"/>
                  </a:ext>
                </a:extLst>
              </p:cNvPr>
              <p:cNvSpPr/>
              <p:nvPr/>
            </p:nvSpPr>
            <p:spPr>
              <a:xfrm>
                <a:off x="15281073" y="1463203"/>
                <a:ext cx="6254" cy="3507"/>
              </a:xfrm>
              <a:custGeom>
                <a:avLst/>
                <a:gdLst>
                  <a:gd name="connsiteX0" fmla="*/ -981 w 6254"/>
                  <a:gd name="connsiteY0" fmla="*/ 471 h 3507"/>
                  <a:gd name="connsiteX1" fmla="*/ 5273 w 6254"/>
                  <a:gd name="connsiteY1" fmla="*/ 1169 h 3507"/>
                  <a:gd name="connsiteX2" fmla="*/ -981 w 6254"/>
                  <a:gd name="connsiteY2" fmla="*/ 471 h 3507"/>
                </a:gdLst>
                <a:ahLst/>
                <a:cxnLst>
                  <a:cxn ang="0">
                    <a:pos x="connsiteX0" y="connsiteY0"/>
                  </a:cxn>
                  <a:cxn ang="0">
                    <a:pos x="connsiteX1" y="connsiteY1"/>
                  </a:cxn>
                  <a:cxn ang="0">
                    <a:pos x="connsiteX2" y="connsiteY2"/>
                  </a:cxn>
                </a:cxnLst>
                <a:rect l="l" t="t" r="r" b="b"/>
                <a:pathLst>
                  <a:path w="6254" h="3507">
                    <a:moveTo>
                      <a:pt x="-981" y="471"/>
                    </a:moveTo>
                    <a:cubicBezTo>
                      <a:pt x="1375" y="-1855"/>
                      <a:pt x="3237" y="471"/>
                      <a:pt x="5273" y="1169"/>
                    </a:cubicBezTo>
                    <a:cubicBezTo>
                      <a:pt x="2975" y="3729"/>
                      <a:pt x="764" y="3612"/>
                      <a:pt x="-981" y="471"/>
                    </a:cubicBezTo>
                    <a:close/>
                  </a:path>
                </a:pathLst>
              </a:custGeom>
              <a:solidFill>
                <a:srgbClr val="FCFDFD"/>
              </a:solidFill>
              <a:ln w="2907" cap="flat">
                <a:noFill/>
                <a:prstDash val="solid"/>
                <a:miter/>
              </a:ln>
            </p:spPr>
            <p:txBody>
              <a:bodyPr rtlCol="0" anchor="ctr"/>
              <a:lstStyle/>
              <a:p>
                <a:endParaRPr lang="en-US" sz="800"/>
              </a:p>
            </p:txBody>
          </p:sp>
          <p:sp>
            <p:nvSpPr>
              <p:cNvPr id="713" name="Graphic 38">
                <a:extLst>
                  <a:ext uri="{FF2B5EF4-FFF2-40B4-BE49-F238E27FC236}">
                    <a16:creationId xmlns:a16="http://schemas.microsoft.com/office/drawing/2014/main" id="{10380D4C-ED65-9A4E-D10B-E4178251EE3D}"/>
                  </a:ext>
                </a:extLst>
              </p:cNvPr>
              <p:cNvSpPr/>
              <p:nvPr/>
            </p:nvSpPr>
            <p:spPr>
              <a:xfrm>
                <a:off x="17104448" y="2233600"/>
                <a:ext cx="2998" cy="6078"/>
              </a:xfrm>
              <a:custGeom>
                <a:avLst/>
                <a:gdLst>
                  <a:gd name="connsiteX0" fmla="*/ 1928 w 2998"/>
                  <a:gd name="connsiteY0" fmla="*/ 5540 h 6078"/>
                  <a:gd name="connsiteX1" fmla="*/ -981 w 2998"/>
                  <a:gd name="connsiteY1" fmla="*/ -539 h 6078"/>
                  <a:gd name="connsiteX2" fmla="*/ 1928 w 2998"/>
                  <a:gd name="connsiteY2" fmla="*/ 5540 h 6078"/>
                </a:gdLst>
                <a:ahLst/>
                <a:cxnLst>
                  <a:cxn ang="0">
                    <a:pos x="connsiteX0" y="connsiteY0"/>
                  </a:cxn>
                  <a:cxn ang="0">
                    <a:pos x="connsiteX1" y="connsiteY1"/>
                  </a:cxn>
                  <a:cxn ang="0">
                    <a:pos x="connsiteX2" y="connsiteY2"/>
                  </a:cxn>
                </a:cxnLst>
                <a:rect l="l" t="t" r="r" b="b"/>
                <a:pathLst>
                  <a:path w="2998" h="6078">
                    <a:moveTo>
                      <a:pt x="1928" y="5540"/>
                    </a:moveTo>
                    <a:lnTo>
                      <a:pt x="-981" y="-539"/>
                    </a:lnTo>
                    <a:cubicBezTo>
                      <a:pt x="1171" y="654"/>
                      <a:pt x="2364" y="3097"/>
                      <a:pt x="1928" y="5540"/>
                    </a:cubicBezTo>
                    <a:close/>
                  </a:path>
                </a:pathLst>
              </a:custGeom>
              <a:solidFill>
                <a:srgbClr val="F4F5F7"/>
              </a:solidFill>
              <a:ln w="2907" cap="flat">
                <a:noFill/>
                <a:prstDash val="solid"/>
                <a:miter/>
              </a:ln>
            </p:spPr>
            <p:txBody>
              <a:bodyPr rtlCol="0" anchor="ctr"/>
              <a:lstStyle/>
              <a:p>
                <a:endParaRPr lang="en-US" sz="800"/>
              </a:p>
            </p:txBody>
          </p:sp>
          <p:sp>
            <p:nvSpPr>
              <p:cNvPr id="714" name="Graphic 38">
                <a:extLst>
                  <a:ext uri="{FF2B5EF4-FFF2-40B4-BE49-F238E27FC236}">
                    <a16:creationId xmlns:a16="http://schemas.microsoft.com/office/drawing/2014/main" id="{80CE8BF7-6B5D-6B57-4C12-F8438696F83B}"/>
                  </a:ext>
                </a:extLst>
              </p:cNvPr>
              <p:cNvSpPr/>
              <p:nvPr/>
            </p:nvSpPr>
            <p:spPr>
              <a:xfrm>
                <a:off x="14776527" y="2362471"/>
                <a:ext cx="1163" cy="668"/>
              </a:xfrm>
              <a:custGeom>
                <a:avLst/>
                <a:gdLst>
                  <a:gd name="connsiteX0" fmla="*/ 95 w 1163"/>
                  <a:gd name="connsiteY0" fmla="*/ 130 h 668"/>
                  <a:gd name="connsiteX1" fmla="*/ -981 w 1163"/>
                  <a:gd name="connsiteY1" fmla="*/ -539 h 668"/>
                  <a:gd name="connsiteX2" fmla="*/ 182 w 1163"/>
                  <a:gd name="connsiteY2" fmla="*/ 43 h 668"/>
                </a:gdLst>
                <a:ahLst/>
                <a:cxnLst>
                  <a:cxn ang="0">
                    <a:pos x="connsiteX0" y="connsiteY0"/>
                  </a:cxn>
                  <a:cxn ang="0">
                    <a:pos x="connsiteX1" y="connsiteY1"/>
                  </a:cxn>
                  <a:cxn ang="0">
                    <a:pos x="connsiteX2" y="connsiteY2"/>
                  </a:cxn>
                </a:cxnLst>
                <a:rect l="l" t="t" r="r" b="b"/>
                <a:pathLst>
                  <a:path w="1163" h="668">
                    <a:moveTo>
                      <a:pt x="95" y="130"/>
                    </a:moveTo>
                    <a:lnTo>
                      <a:pt x="-981" y="-539"/>
                    </a:lnTo>
                    <a:lnTo>
                      <a:pt x="182" y="43"/>
                    </a:lnTo>
                    <a:close/>
                  </a:path>
                </a:pathLst>
              </a:custGeom>
              <a:solidFill>
                <a:srgbClr val="F4F5F7"/>
              </a:solidFill>
              <a:ln w="2907" cap="flat">
                <a:noFill/>
                <a:prstDash val="solid"/>
                <a:miter/>
              </a:ln>
            </p:spPr>
            <p:txBody>
              <a:bodyPr rtlCol="0" anchor="ctr"/>
              <a:lstStyle/>
              <a:p>
                <a:endParaRPr lang="en-US" sz="800"/>
              </a:p>
            </p:txBody>
          </p:sp>
          <p:sp>
            <p:nvSpPr>
              <p:cNvPr id="715" name="Graphic 38">
                <a:extLst>
                  <a:ext uri="{FF2B5EF4-FFF2-40B4-BE49-F238E27FC236}">
                    <a16:creationId xmlns:a16="http://schemas.microsoft.com/office/drawing/2014/main" id="{79FDAACE-8B36-70F8-53FB-97556E193929}"/>
                  </a:ext>
                </a:extLst>
              </p:cNvPr>
              <p:cNvSpPr/>
              <p:nvPr/>
            </p:nvSpPr>
            <p:spPr>
              <a:xfrm>
                <a:off x="15249860" y="2109993"/>
                <a:ext cx="2647" cy="2908"/>
              </a:xfrm>
              <a:custGeom>
                <a:avLst/>
                <a:gdLst>
                  <a:gd name="connsiteX0" fmla="*/ 1666 w 2647"/>
                  <a:gd name="connsiteY0" fmla="*/ -539 h 2908"/>
                  <a:gd name="connsiteX1" fmla="*/ -981 w 2647"/>
                  <a:gd name="connsiteY1" fmla="*/ 2370 h 2908"/>
                </a:gdLst>
                <a:ahLst/>
                <a:cxnLst>
                  <a:cxn ang="0">
                    <a:pos x="connsiteX0" y="connsiteY0"/>
                  </a:cxn>
                  <a:cxn ang="0">
                    <a:pos x="connsiteX1" y="connsiteY1"/>
                  </a:cxn>
                </a:cxnLst>
                <a:rect l="l" t="t" r="r" b="b"/>
                <a:pathLst>
                  <a:path w="2647" h="2908">
                    <a:moveTo>
                      <a:pt x="1666" y="-539"/>
                    </a:moveTo>
                    <a:lnTo>
                      <a:pt x="-981" y="2370"/>
                    </a:lnTo>
                    <a:close/>
                  </a:path>
                </a:pathLst>
              </a:custGeom>
              <a:solidFill>
                <a:srgbClr val="F4F5F7"/>
              </a:solidFill>
              <a:ln w="2907" cap="flat">
                <a:noFill/>
                <a:prstDash val="solid"/>
                <a:miter/>
              </a:ln>
            </p:spPr>
            <p:txBody>
              <a:bodyPr rtlCol="0" anchor="ctr"/>
              <a:lstStyle/>
              <a:p>
                <a:endParaRPr lang="en-US" sz="800"/>
              </a:p>
            </p:txBody>
          </p:sp>
          <p:sp>
            <p:nvSpPr>
              <p:cNvPr id="716" name="Graphic 38">
                <a:extLst>
                  <a:ext uri="{FF2B5EF4-FFF2-40B4-BE49-F238E27FC236}">
                    <a16:creationId xmlns:a16="http://schemas.microsoft.com/office/drawing/2014/main" id="{94BD99F9-8A63-A0E4-1C0E-7356236FDCBE}"/>
                  </a:ext>
                </a:extLst>
              </p:cNvPr>
              <p:cNvSpPr/>
              <p:nvPr/>
            </p:nvSpPr>
            <p:spPr>
              <a:xfrm>
                <a:off x="15255591" y="2603577"/>
                <a:ext cx="3258" cy="3199"/>
              </a:xfrm>
              <a:custGeom>
                <a:avLst/>
                <a:gdLst>
                  <a:gd name="connsiteX0" fmla="*/ -981 w 3258"/>
                  <a:gd name="connsiteY0" fmla="*/ 2661 h 3199"/>
                  <a:gd name="connsiteX1" fmla="*/ 2277 w 3258"/>
                  <a:gd name="connsiteY1" fmla="*/ -539 h 3199"/>
                </a:gdLst>
                <a:ahLst/>
                <a:cxnLst>
                  <a:cxn ang="0">
                    <a:pos x="connsiteX0" y="connsiteY0"/>
                  </a:cxn>
                  <a:cxn ang="0">
                    <a:pos x="connsiteX1" y="connsiteY1"/>
                  </a:cxn>
                </a:cxnLst>
                <a:rect l="l" t="t" r="r" b="b"/>
                <a:pathLst>
                  <a:path w="3258" h="3199">
                    <a:moveTo>
                      <a:pt x="-981" y="2661"/>
                    </a:moveTo>
                    <a:lnTo>
                      <a:pt x="2277" y="-539"/>
                    </a:lnTo>
                    <a:close/>
                  </a:path>
                </a:pathLst>
              </a:custGeom>
              <a:solidFill>
                <a:srgbClr val="FCFDFD"/>
              </a:solidFill>
              <a:ln w="2907" cap="flat">
                <a:noFill/>
                <a:prstDash val="solid"/>
                <a:miter/>
              </a:ln>
            </p:spPr>
            <p:txBody>
              <a:bodyPr rtlCol="0" anchor="ctr"/>
              <a:lstStyle/>
              <a:p>
                <a:endParaRPr lang="en-US" sz="800"/>
              </a:p>
            </p:txBody>
          </p:sp>
          <p:sp>
            <p:nvSpPr>
              <p:cNvPr id="717" name="Graphic 38">
                <a:extLst>
                  <a:ext uri="{FF2B5EF4-FFF2-40B4-BE49-F238E27FC236}">
                    <a16:creationId xmlns:a16="http://schemas.microsoft.com/office/drawing/2014/main" id="{9B8EC993-80DC-0256-3CD7-74C5439619DD}"/>
                  </a:ext>
                </a:extLst>
              </p:cNvPr>
              <p:cNvSpPr/>
              <p:nvPr/>
            </p:nvSpPr>
            <p:spPr>
              <a:xfrm>
                <a:off x="17129261" y="1479889"/>
                <a:ext cx="8901" cy="7939"/>
              </a:xfrm>
              <a:custGeom>
                <a:avLst/>
                <a:gdLst>
                  <a:gd name="connsiteX0" fmla="*/ -981 w 8901"/>
                  <a:gd name="connsiteY0" fmla="*/ 7401 h 7939"/>
                  <a:gd name="connsiteX1" fmla="*/ 6960 w 8901"/>
                  <a:gd name="connsiteY1" fmla="*/ -539 h 7939"/>
                  <a:gd name="connsiteX2" fmla="*/ 7920 w 8901"/>
                  <a:gd name="connsiteY2" fmla="*/ -481 h 7939"/>
                  <a:gd name="connsiteX3" fmla="*/ -981 w 8901"/>
                  <a:gd name="connsiteY3" fmla="*/ 7401 h 7939"/>
                </a:gdLst>
                <a:ahLst/>
                <a:cxnLst>
                  <a:cxn ang="0">
                    <a:pos x="connsiteX0" y="connsiteY0"/>
                  </a:cxn>
                  <a:cxn ang="0">
                    <a:pos x="connsiteX1" y="connsiteY1"/>
                  </a:cxn>
                  <a:cxn ang="0">
                    <a:pos x="connsiteX2" y="connsiteY2"/>
                  </a:cxn>
                  <a:cxn ang="0">
                    <a:pos x="connsiteX3" y="connsiteY3"/>
                  </a:cxn>
                </a:cxnLst>
                <a:rect l="l" t="t" r="r" b="b"/>
                <a:pathLst>
                  <a:path w="8901" h="7939">
                    <a:moveTo>
                      <a:pt x="-981" y="7401"/>
                    </a:moveTo>
                    <a:cubicBezTo>
                      <a:pt x="-981" y="3015"/>
                      <a:pt x="2567" y="-539"/>
                      <a:pt x="6960" y="-539"/>
                    </a:cubicBezTo>
                    <a:cubicBezTo>
                      <a:pt x="7280" y="-539"/>
                      <a:pt x="7600" y="-518"/>
                      <a:pt x="7920" y="-481"/>
                    </a:cubicBezTo>
                    <a:cubicBezTo>
                      <a:pt x="6378" y="3408"/>
                      <a:pt x="3062" y="6334"/>
                      <a:pt x="-981" y="7401"/>
                    </a:cubicBezTo>
                    <a:close/>
                  </a:path>
                </a:pathLst>
              </a:custGeom>
              <a:solidFill>
                <a:srgbClr val="DBDEE5"/>
              </a:solidFill>
              <a:ln w="2907" cap="flat">
                <a:noFill/>
                <a:prstDash val="solid"/>
                <a:miter/>
              </a:ln>
            </p:spPr>
            <p:txBody>
              <a:bodyPr rtlCol="0" anchor="ctr"/>
              <a:lstStyle/>
              <a:p>
                <a:endParaRPr lang="en-US" sz="800"/>
              </a:p>
            </p:txBody>
          </p:sp>
          <p:sp>
            <p:nvSpPr>
              <p:cNvPr id="718" name="Graphic 38">
                <a:extLst>
                  <a:ext uri="{FF2B5EF4-FFF2-40B4-BE49-F238E27FC236}">
                    <a16:creationId xmlns:a16="http://schemas.microsoft.com/office/drawing/2014/main" id="{47887C56-29F9-208B-58BA-0067EE231485}"/>
                  </a:ext>
                </a:extLst>
              </p:cNvPr>
              <p:cNvSpPr/>
              <p:nvPr/>
            </p:nvSpPr>
            <p:spPr>
              <a:xfrm>
                <a:off x="17123187" y="1493006"/>
                <a:ext cx="2524" cy="9074"/>
              </a:xfrm>
              <a:custGeom>
                <a:avLst/>
                <a:gdLst>
                  <a:gd name="connsiteX0" fmla="*/ -726 w 2524"/>
                  <a:gd name="connsiteY0" fmla="*/ 8536 h 9074"/>
                  <a:gd name="connsiteX1" fmla="*/ 1544 w 2524"/>
                  <a:gd name="connsiteY1" fmla="*/ -539 h 9074"/>
                </a:gdLst>
                <a:ahLst/>
                <a:cxnLst>
                  <a:cxn ang="0">
                    <a:pos x="connsiteX0" y="connsiteY0"/>
                  </a:cxn>
                  <a:cxn ang="0">
                    <a:pos x="connsiteX1" y="connsiteY1"/>
                  </a:cxn>
                </a:cxnLst>
                <a:rect l="l" t="t" r="r" b="b"/>
                <a:pathLst>
                  <a:path w="2524" h="9074">
                    <a:moveTo>
                      <a:pt x="-726" y="8536"/>
                    </a:moveTo>
                    <a:cubicBezTo>
                      <a:pt x="-1453" y="5322"/>
                      <a:pt x="-609" y="1948"/>
                      <a:pt x="1544" y="-539"/>
                    </a:cubicBezTo>
                    <a:close/>
                  </a:path>
                </a:pathLst>
              </a:custGeom>
              <a:solidFill>
                <a:srgbClr val="DBDEE5"/>
              </a:solidFill>
              <a:ln w="2907" cap="flat">
                <a:noFill/>
                <a:prstDash val="solid"/>
                <a:miter/>
              </a:ln>
            </p:spPr>
            <p:txBody>
              <a:bodyPr rtlCol="0" anchor="ctr"/>
              <a:lstStyle/>
              <a:p>
                <a:endParaRPr lang="en-US" sz="800"/>
              </a:p>
            </p:txBody>
          </p:sp>
          <p:sp>
            <p:nvSpPr>
              <p:cNvPr id="719" name="Graphic 38">
                <a:extLst>
                  <a:ext uri="{FF2B5EF4-FFF2-40B4-BE49-F238E27FC236}">
                    <a16:creationId xmlns:a16="http://schemas.microsoft.com/office/drawing/2014/main" id="{7B4C0034-B3D8-54E8-28DC-66B4C295CC1C}"/>
                  </a:ext>
                </a:extLst>
              </p:cNvPr>
              <p:cNvSpPr/>
              <p:nvPr/>
            </p:nvSpPr>
            <p:spPr>
              <a:xfrm>
                <a:off x="17126352" y="1489632"/>
                <a:ext cx="2209" cy="2704"/>
              </a:xfrm>
              <a:custGeom>
                <a:avLst/>
                <a:gdLst>
                  <a:gd name="connsiteX0" fmla="*/ -981 w 2209"/>
                  <a:gd name="connsiteY0" fmla="*/ 2166 h 2704"/>
                  <a:gd name="connsiteX1" fmla="*/ 1113 w 2209"/>
                  <a:gd name="connsiteY1" fmla="*/ -539 h 2704"/>
                  <a:gd name="connsiteX2" fmla="*/ -981 w 2209"/>
                  <a:gd name="connsiteY2" fmla="*/ 2166 h 2704"/>
                </a:gdLst>
                <a:ahLst/>
                <a:cxnLst>
                  <a:cxn ang="0">
                    <a:pos x="connsiteX0" y="connsiteY0"/>
                  </a:cxn>
                  <a:cxn ang="0">
                    <a:pos x="connsiteX1" y="connsiteY1"/>
                  </a:cxn>
                  <a:cxn ang="0">
                    <a:pos x="connsiteX2" y="connsiteY2"/>
                  </a:cxn>
                </a:cxnLst>
                <a:rect l="l" t="t" r="r" b="b"/>
                <a:pathLst>
                  <a:path w="2209" h="2704">
                    <a:moveTo>
                      <a:pt x="-981" y="2166"/>
                    </a:moveTo>
                    <a:lnTo>
                      <a:pt x="1113" y="-539"/>
                    </a:lnTo>
                    <a:cubicBezTo>
                      <a:pt x="1521" y="1148"/>
                      <a:pt x="851" y="2079"/>
                      <a:pt x="-981" y="2166"/>
                    </a:cubicBezTo>
                    <a:close/>
                  </a:path>
                </a:pathLst>
              </a:custGeom>
              <a:solidFill>
                <a:srgbClr val="DBDEE5"/>
              </a:solidFill>
              <a:ln w="2907" cap="flat">
                <a:noFill/>
                <a:prstDash val="solid"/>
                <a:miter/>
              </a:ln>
            </p:spPr>
            <p:txBody>
              <a:bodyPr rtlCol="0" anchor="ctr"/>
              <a:lstStyle/>
              <a:p>
                <a:endParaRPr lang="en-US" sz="800"/>
              </a:p>
            </p:txBody>
          </p:sp>
          <p:sp>
            <p:nvSpPr>
              <p:cNvPr id="720" name="Graphic 38">
                <a:extLst>
                  <a:ext uri="{FF2B5EF4-FFF2-40B4-BE49-F238E27FC236}">
                    <a16:creationId xmlns:a16="http://schemas.microsoft.com/office/drawing/2014/main" id="{CB75F11A-9400-030F-C5F7-0BE77228C845}"/>
                  </a:ext>
                </a:extLst>
              </p:cNvPr>
              <p:cNvSpPr/>
              <p:nvPr/>
            </p:nvSpPr>
            <p:spPr>
              <a:xfrm>
                <a:off x="12682650" y="1013537"/>
                <a:ext cx="30497" cy="31080"/>
              </a:xfrm>
              <a:custGeom>
                <a:avLst/>
                <a:gdLst>
                  <a:gd name="connsiteX0" fmla="*/ 11096 w 30497"/>
                  <a:gd name="connsiteY0" fmla="*/ 30223 h 31080"/>
                  <a:gd name="connsiteX1" fmla="*/ -918 w 30497"/>
                  <a:gd name="connsiteY1" fmla="*/ 12278 h 31080"/>
                  <a:gd name="connsiteX2" fmla="*/ 16856 w 30497"/>
                  <a:gd name="connsiteY2" fmla="*/ -519 h 31080"/>
                  <a:gd name="connsiteX3" fmla="*/ 29364 w 30497"/>
                  <a:gd name="connsiteY3" fmla="*/ 20974 h 31080"/>
                  <a:gd name="connsiteX4" fmla="*/ 11096 w 30497"/>
                  <a:gd name="connsiteY4" fmla="*/ 30223 h 310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97" h="31080">
                    <a:moveTo>
                      <a:pt x="11096" y="30223"/>
                    </a:moveTo>
                    <a:cubicBezTo>
                      <a:pt x="304" y="32637"/>
                      <a:pt x="-190" y="20829"/>
                      <a:pt x="-918" y="12278"/>
                    </a:cubicBezTo>
                    <a:cubicBezTo>
                      <a:pt x="-1965" y="441"/>
                      <a:pt x="10165" y="-722"/>
                      <a:pt x="16856" y="-519"/>
                    </a:cubicBezTo>
                    <a:cubicBezTo>
                      <a:pt x="29247" y="-141"/>
                      <a:pt x="28200" y="12598"/>
                      <a:pt x="29364" y="20974"/>
                    </a:cubicBezTo>
                    <a:cubicBezTo>
                      <a:pt x="30847" y="31881"/>
                      <a:pt x="21219" y="28885"/>
                      <a:pt x="11096" y="30223"/>
                    </a:cubicBezTo>
                    <a:close/>
                  </a:path>
                </a:pathLst>
              </a:custGeom>
              <a:solidFill>
                <a:srgbClr val="EBECF1"/>
              </a:solidFill>
              <a:ln w="2907" cap="flat">
                <a:noFill/>
                <a:prstDash val="solid"/>
                <a:miter/>
              </a:ln>
            </p:spPr>
            <p:txBody>
              <a:bodyPr rtlCol="0" anchor="ctr"/>
              <a:lstStyle/>
              <a:p>
                <a:endParaRPr lang="en-US" sz="800"/>
              </a:p>
            </p:txBody>
          </p:sp>
          <p:sp>
            <p:nvSpPr>
              <p:cNvPr id="721" name="Graphic 38">
                <a:extLst>
                  <a:ext uri="{FF2B5EF4-FFF2-40B4-BE49-F238E27FC236}">
                    <a16:creationId xmlns:a16="http://schemas.microsoft.com/office/drawing/2014/main" id="{ABC569F4-4D80-B43E-BC7D-01ADD6CC342A}"/>
                  </a:ext>
                </a:extLst>
              </p:cNvPr>
              <p:cNvSpPr/>
              <p:nvPr/>
            </p:nvSpPr>
            <p:spPr>
              <a:xfrm>
                <a:off x="12565512" y="1054262"/>
                <a:ext cx="29701" cy="32561"/>
              </a:xfrm>
              <a:custGeom>
                <a:avLst/>
                <a:gdLst>
                  <a:gd name="connsiteX0" fmla="*/ 28720 w 29701"/>
                  <a:gd name="connsiteY0" fmla="*/ 19425 h 32561"/>
                  <a:gd name="connsiteX1" fmla="*/ 14001 w 29701"/>
                  <a:gd name="connsiteY1" fmla="*/ 31990 h 32561"/>
                  <a:gd name="connsiteX2" fmla="*/ -776 w 29701"/>
                  <a:gd name="connsiteY2" fmla="*/ 9595 h 32561"/>
                  <a:gd name="connsiteX3" fmla="*/ 15078 w 29701"/>
                  <a:gd name="connsiteY3" fmla="*/ -439 h 32561"/>
                  <a:gd name="connsiteX4" fmla="*/ 28720 w 29701"/>
                  <a:gd name="connsiteY4" fmla="*/ 19425 h 325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01" h="32561">
                    <a:moveTo>
                      <a:pt x="28720" y="19425"/>
                    </a:moveTo>
                    <a:cubicBezTo>
                      <a:pt x="28051" y="26923"/>
                      <a:pt x="21506" y="32510"/>
                      <a:pt x="14001" y="31990"/>
                    </a:cubicBezTo>
                    <a:cubicBezTo>
                      <a:pt x="446" y="31641"/>
                      <a:pt x="679" y="18349"/>
                      <a:pt x="-776" y="9595"/>
                    </a:cubicBezTo>
                    <a:cubicBezTo>
                      <a:pt x="-2696" y="-1806"/>
                      <a:pt x="9318" y="114"/>
                      <a:pt x="15078" y="-439"/>
                    </a:cubicBezTo>
                    <a:cubicBezTo>
                      <a:pt x="28429" y="-1777"/>
                      <a:pt x="26015" y="10642"/>
                      <a:pt x="28720" y="19425"/>
                    </a:cubicBezTo>
                    <a:close/>
                  </a:path>
                </a:pathLst>
              </a:custGeom>
              <a:solidFill>
                <a:srgbClr val="EBECF1"/>
              </a:solidFill>
              <a:ln w="2907" cap="flat">
                <a:noFill/>
                <a:prstDash val="solid"/>
                <a:miter/>
              </a:ln>
            </p:spPr>
            <p:txBody>
              <a:bodyPr rtlCol="0" anchor="ctr"/>
              <a:lstStyle/>
              <a:p>
                <a:endParaRPr lang="en-US" sz="800"/>
              </a:p>
            </p:txBody>
          </p:sp>
          <p:sp>
            <p:nvSpPr>
              <p:cNvPr id="722" name="Graphic 38">
                <a:extLst>
                  <a:ext uri="{FF2B5EF4-FFF2-40B4-BE49-F238E27FC236}">
                    <a16:creationId xmlns:a16="http://schemas.microsoft.com/office/drawing/2014/main" id="{EDB95D96-08FA-6BA2-4F30-7CC9C9CDAD55}"/>
                  </a:ext>
                </a:extLst>
              </p:cNvPr>
              <p:cNvSpPr/>
              <p:nvPr/>
            </p:nvSpPr>
            <p:spPr>
              <a:xfrm>
                <a:off x="12682759" y="1055708"/>
                <a:ext cx="30468" cy="30749"/>
              </a:xfrm>
              <a:custGeom>
                <a:avLst/>
                <a:gdLst>
                  <a:gd name="connsiteX0" fmla="*/ 12790 w 30468"/>
                  <a:gd name="connsiteY0" fmla="*/ -140 h 30749"/>
                  <a:gd name="connsiteX1" fmla="*/ 29284 w 30468"/>
                  <a:gd name="connsiteY1" fmla="*/ 9254 h 30749"/>
                  <a:gd name="connsiteX2" fmla="*/ 17444 w 30468"/>
                  <a:gd name="connsiteY2" fmla="*/ 30194 h 30749"/>
                  <a:gd name="connsiteX3" fmla="*/ -969 w 30468"/>
                  <a:gd name="connsiteY3" fmla="*/ 17543 h 30749"/>
                  <a:gd name="connsiteX4" fmla="*/ 12790 w 30468"/>
                  <a:gd name="connsiteY4" fmla="*/ -140 h 30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68" h="30749">
                    <a:moveTo>
                      <a:pt x="12790" y="-140"/>
                    </a:moveTo>
                    <a:cubicBezTo>
                      <a:pt x="21517" y="616"/>
                      <a:pt x="31000" y="-1769"/>
                      <a:pt x="29284" y="9254"/>
                    </a:cubicBezTo>
                    <a:cubicBezTo>
                      <a:pt x="28004" y="17339"/>
                      <a:pt x="28847" y="29787"/>
                      <a:pt x="17444" y="30194"/>
                    </a:cubicBezTo>
                    <a:cubicBezTo>
                      <a:pt x="11045" y="30398"/>
                      <a:pt x="-1434" y="28857"/>
                      <a:pt x="-969" y="17543"/>
                    </a:cubicBezTo>
                    <a:cubicBezTo>
                      <a:pt x="-620" y="8789"/>
                      <a:pt x="282" y="-2845"/>
                      <a:pt x="12790" y="-140"/>
                    </a:cubicBezTo>
                    <a:close/>
                  </a:path>
                </a:pathLst>
              </a:custGeom>
              <a:solidFill>
                <a:srgbClr val="EBECF1"/>
              </a:solidFill>
              <a:ln w="2907" cap="flat">
                <a:noFill/>
                <a:prstDash val="solid"/>
                <a:miter/>
              </a:ln>
            </p:spPr>
            <p:txBody>
              <a:bodyPr rtlCol="0" anchor="ctr"/>
              <a:lstStyle/>
              <a:p>
                <a:endParaRPr lang="en-US" sz="800"/>
              </a:p>
            </p:txBody>
          </p:sp>
          <p:sp>
            <p:nvSpPr>
              <p:cNvPr id="723" name="Graphic 38">
                <a:extLst>
                  <a:ext uri="{FF2B5EF4-FFF2-40B4-BE49-F238E27FC236}">
                    <a16:creationId xmlns:a16="http://schemas.microsoft.com/office/drawing/2014/main" id="{89877D84-5342-C820-F23E-577E6EAC30A0}"/>
                  </a:ext>
                </a:extLst>
              </p:cNvPr>
              <p:cNvSpPr/>
              <p:nvPr/>
            </p:nvSpPr>
            <p:spPr>
              <a:xfrm>
                <a:off x="12564825" y="1013528"/>
                <a:ext cx="29845" cy="32382"/>
              </a:xfrm>
              <a:custGeom>
                <a:avLst/>
                <a:gdLst>
                  <a:gd name="connsiteX0" fmla="*/ 27662 w 29845"/>
                  <a:gd name="connsiteY0" fmla="*/ 15370 h 32382"/>
                  <a:gd name="connsiteX1" fmla="*/ 13583 w 29845"/>
                  <a:gd name="connsiteY1" fmla="*/ 31482 h 32382"/>
                  <a:gd name="connsiteX2" fmla="*/ -525 w 29845"/>
                  <a:gd name="connsiteY2" fmla="*/ 19587 h 32382"/>
                  <a:gd name="connsiteX3" fmla="*/ 14514 w 29845"/>
                  <a:gd name="connsiteY3" fmla="*/ -510 h 32382"/>
                  <a:gd name="connsiteX4" fmla="*/ 27662 w 29845"/>
                  <a:gd name="connsiteY4" fmla="*/ 15370 h 323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45" h="32382">
                    <a:moveTo>
                      <a:pt x="27662" y="15370"/>
                    </a:moveTo>
                    <a:cubicBezTo>
                      <a:pt x="27982" y="24735"/>
                      <a:pt x="26382" y="33780"/>
                      <a:pt x="13583" y="31482"/>
                    </a:cubicBezTo>
                    <a:cubicBezTo>
                      <a:pt x="7358" y="30377"/>
                      <a:pt x="-3317" y="30842"/>
                      <a:pt x="-525" y="19587"/>
                    </a:cubicBezTo>
                    <a:cubicBezTo>
                      <a:pt x="1570" y="11152"/>
                      <a:pt x="2384" y="-1208"/>
                      <a:pt x="14514" y="-510"/>
                    </a:cubicBezTo>
                    <a:cubicBezTo>
                      <a:pt x="20099" y="-190"/>
                      <a:pt x="32811" y="1875"/>
                      <a:pt x="27662" y="15370"/>
                    </a:cubicBezTo>
                    <a:close/>
                  </a:path>
                </a:pathLst>
              </a:custGeom>
              <a:solidFill>
                <a:srgbClr val="EBECF1"/>
              </a:solidFill>
              <a:ln w="2907" cap="flat">
                <a:noFill/>
                <a:prstDash val="solid"/>
                <a:miter/>
              </a:ln>
            </p:spPr>
            <p:txBody>
              <a:bodyPr rtlCol="0" anchor="ctr"/>
              <a:lstStyle/>
              <a:p>
                <a:endParaRPr lang="en-US" sz="800"/>
              </a:p>
            </p:txBody>
          </p:sp>
          <p:sp>
            <p:nvSpPr>
              <p:cNvPr id="724" name="Graphic 38">
                <a:extLst>
                  <a:ext uri="{FF2B5EF4-FFF2-40B4-BE49-F238E27FC236}">
                    <a16:creationId xmlns:a16="http://schemas.microsoft.com/office/drawing/2014/main" id="{366BD3A9-4C16-40F8-4F10-57FE28144F35}"/>
                  </a:ext>
                </a:extLst>
              </p:cNvPr>
              <p:cNvSpPr/>
              <p:nvPr/>
            </p:nvSpPr>
            <p:spPr>
              <a:xfrm>
                <a:off x="12609686" y="979399"/>
                <a:ext cx="25063" cy="36649"/>
              </a:xfrm>
              <a:custGeom>
                <a:avLst/>
                <a:gdLst>
                  <a:gd name="connsiteX0" fmla="*/ 23933 w 25063"/>
                  <a:gd name="connsiteY0" fmla="*/ 16460 h 36649"/>
                  <a:gd name="connsiteX1" fmla="*/ 18522 w 25063"/>
                  <a:gd name="connsiteY1" fmla="*/ 34375 h 36649"/>
                  <a:gd name="connsiteX2" fmla="*/ 604 w 25063"/>
                  <a:gd name="connsiteY2" fmla="*/ 32717 h 36649"/>
                  <a:gd name="connsiteX3" fmla="*/ 2902 w 25063"/>
                  <a:gd name="connsiteY3" fmla="*/ 18175 h 36649"/>
                  <a:gd name="connsiteX4" fmla="*/ 7091 w 25063"/>
                  <a:gd name="connsiteY4" fmla="*/ 11544 h 36649"/>
                  <a:gd name="connsiteX5" fmla="*/ 20181 w 25063"/>
                  <a:gd name="connsiteY5" fmla="*/ -322 h 36649"/>
                  <a:gd name="connsiteX6" fmla="*/ 23933 w 25063"/>
                  <a:gd name="connsiteY6" fmla="*/ 16460 h 36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63" h="36649">
                    <a:moveTo>
                      <a:pt x="23933" y="16460"/>
                    </a:moveTo>
                    <a:cubicBezTo>
                      <a:pt x="22129" y="22538"/>
                      <a:pt x="27511" y="31292"/>
                      <a:pt x="18522" y="34375"/>
                    </a:cubicBezTo>
                    <a:cubicBezTo>
                      <a:pt x="12705" y="36324"/>
                      <a:pt x="5229" y="37603"/>
                      <a:pt x="604" y="32717"/>
                    </a:cubicBezTo>
                    <a:cubicBezTo>
                      <a:pt x="-3469" y="28384"/>
                      <a:pt x="1418" y="22858"/>
                      <a:pt x="2902" y="18175"/>
                    </a:cubicBezTo>
                    <a:cubicBezTo>
                      <a:pt x="4007" y="15794"/>
                      <a:pt x="5403" y="13566"/>
                      <a:pt x="7091" y="11544"/>
                    </a:cubicBezTo>
                    <a:cubicBezTo>
                      <a:pt x="10465" y="6251"/>
                      <a:pt x="14217" y="-1980"/>
                      <a:pt x="20181" y="-322"/>
                    </a:cubicBezTo>
                    <a:cubicBezTo>
                      <a:pt x="27278" y="1597"/>
                      <a:pt x="22159" y="10672"/>
                      <a:pt x="23933" y="16460"/>
                    </a:cubicBezTo>
                    <a:close/>
                  </a:path>
                </a:pathLst>
              </a:custGeom>
              <a:solidFill>
                <a:srgbClr val="EBECF1"/>
              </a:solidFill>
              <a:ln w="2907" cap="flat">
                <a:noFill/>
                <a:prstDash val="solid"/>
                <a:miter/>
              </a:ln>
            </p:spPr>
            <p:txBody>
              <a:bodyPr rtlCol="0" anchor="ctr"/>
              <a:lstStyle/>
              <a:p>
                <a:endParaRPr lang="en-US" sz="800"/>
              </a:p>
            </p:txBody>
          </p:sp>
          <p:sp>
            <p:nvSpPr>
              <p:cNvPr id="725" name="Graphic 38">
                <a:extLst>
                  <a:ext uri="{FF2B5EF4-FFF2-40B4-BE49-F238E27FC236}">
                    <a16:creationId xmlns:a16="http://schemas.microsoft.com/office/drawing/2014/main" id="{4CA22255-0154-0940-05D8-508420F2E41E}"/>
                  </a:ext>
                </a:extLst>
              </p:cNvPr>
              <p:cNvSpPr/>
              <p:nvPr/>
            </p:nvSpPr>
            <p:spPr>
              <a:xfrm>
                <a:off x="12610416" y="1084385"/>
                <a:ext cx="24114" cy="36562"/>
              </a:xfrm>
              <a:custGeom>
                <a:avLst/>
                <a:gdLst>
                  <a:gd name="connsiteX0" fmla="*/ 22970 w 24114"/>
                  <a:gd name="connsiteY0" fmla="*/ 18532 h 36562"/>
                  <a:gd name="connsiteX1" fmla="*/ 22970 w 24114"/>
                  <a:gd name="connsiteY1" fmla="*/ 24785 h 36562"/>
                  <a:gd name="connsiteX2" fmla="*/ 19828 w 24114"/>
                  <a:gd name="connsiteY2" fmla="*/ 35779 h 36562"/>
                  <a:gd name="connsiteX3" fmla="*/ 10083 w 24114"/>
                  <a:gd name="connsiteY3" fmla="*/ 29235 h 36562"/>
                  <a:gd name="connsiteX4" fmla="*/ 3160 w 24114"/>
                  <a:gd name="connsiteY4" fmla="*/ 18852 h 36562"/>
                  <a:gd name="connsiteX5" fmla="*/ 1531 w 24114"/>
                  <a:gd name="connsiteY5" fmla="*/ 3350 h 36562"/>
                  <a:gd name="connsiteX6" fmla="*/ 17908 w 24114"/>
                  <a:gd name="connsiteY6" fmla="*/ 442 h 36562"/>
                  <a:gd name="connsiteX7" fmla="*/ 22970 w 24114"/>
                  <a:gd name="connsiteY7" fmla="*/ 13704 h 36562"/>
                  <a:gd name="connsiteX8" fmla="*/ 22970 w 24114"/>
                  <a:gd name="connsiteY8" fmla="*/ 18532 h 36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14" h="36562">
                    <a:moveTo>
                      <a:pt x="22970" y="18532"/>
                    </a:moveTo>
                    <a:cubicBezTo>
                      <a:pt x="23115" y="20614"/>
                      <a:pt x="23115" y="22702"/>
                      <a:pt x="22970" y="24785"/>
                    </a:cubicBezTo>
                    <a:cubicBezTo>
                      <a:pt x="22475" y="28653"/>
                      <a:pt x="24919" y="34208"/>
                      <a:pt x="19828" y="35779"/>
                    </a:cubicBezTo>
                    <a:cubicBezTo>
                      <a:pt x="15290" y="37175"/>
                      <a:pt x="12701" y="32288"/>
                      <a:pt x="10083" y="29235"/>
                    </a:cubicBezTo>
                    <a:cubicBezTo>
                      <a:pt x="7262" y="26140"/>
                      <a:pt x="4935" y="22641"/>
                      <a:pt x="3160" y="18852"/>
                    </a:cubicBezTo>
                    <a:cubicBezTo>
                      <a:pt x="1124" y="13966"/>
                      <a:pt x="-4054" y="8614"/>
                      <a:pt x="1531" y="3350"/>
                    </a:cubicBezTo>
                    <a:cubicBezTo>
                      <a:pt x="6098" y="-451"/>
                      <a:pt x="12323" y="-1559"/>
                      <a:pt x="17908" y="442"/>
                    </a:cubicBezTo>
                    <a:cubicBezTo>
                      <a:pt x="24802" y="2419"/>
                      <a:pt x="22504" y="8789"/>
                      <a:pt x="22970" y="13704"/>
                    </a:cubicBezTo>
                    <a:cubicBezTo>
                      <a:pt x="23057" y="15312"/>
                      <a:pt x="23057" y="16923"/>
                      <a:pt x="22970" y="18532"/>
                    </a:cubicBezTo>
                    <a:close/>
                  </a:path>
                </a:pathLst>
              </a:custGeom>
              <a:solidFill>
                <a:srgbClr val="EBECF1"/>
              </a:solidFill>
              <a:ln w="2907" cap="flat">
                <a:noFill/>
                <a:prstDash val="solid"/>
                <a:miter/>
              </a:ln>
            </p:spPr>
            <p:txBody>
              <a:bodyPr rtlCol="0" anchor="ctr"/>
              <a:lstStyle/>
              <a:p>
                <a:endParaRPr lang="en-US" sz="800"/>
              </a:p>
            </p:txBody>
          </p:sp>
          <p:sp>
            <p:nvSpPr>
              <p:cNvPr id="726" name="Graphic 38">
                <a:extLst>
                  <a:ext uri="{FF2B5EF4-FFF2-40B4-BE49-F238E27FC236}">
                    <a16:creationId xmlns:a16="http://schemas.microsoft.com/office/drawing/2014/main" id="{51F73AED-A252-5D7A-01E6-1828455327DE}"/>
                  </a:ext>
                </a:extLst>
              </p:cNvPr>
              <p:cNvSpPr/>
              <p:nvPr/>
            </p:nvSpPr>
            <p:spPr>
              <a:xfrm>
                <a:off x="12643377" y="1084227"/>
                <a:ext cx="24750" cy="36215"/>
              </a:xfrm>
              <a:custGeom>
                <a:avLst/>
                <a:gdLst>
                  <a:gd name="connsiteX0" fmla="*/ -595 w 24750"/>
                  <a:gd name="connsiteY0" fmla="*/ 18457 h 36215"/>
                  <a:gd name="connsiteX1" fmla="*/ 5223 w 24750"/>
                  <a:gd name="connsiteY1" fmla="*/ 745 h 36215"/>
                  <a:gd name="connsiteX2" fmla="*/ 21745 w 24750"/>
                  <a:gd name="connsiteY2" fmla="*/ 2897 h 36215"/>
                  <a:gd name="connsiteX3" fmla="*/ 19040 w 24750"/>
                  <a:gd name="connsiteY3" fmla="*/ 16886 h 36215"/>
                  <a:gd name="connsiteX4" fmla="*/ 15928 w 24750"/>
                  <a:gd name="connsiteY4" fmla="*/ 22325 h 36215"/>
                  <a:gd name="connsiteX5" fmla="*/ 2838 w 24750"/>
                  <a:gd name="connsiteY5" fmla="*/ 35413 h 36215"/>
                  <a:gd name="connsiteX6" fmla="*/ -595 w 24750"/>
                  <a:gd name="connsiteY6" fmla="*/ 18457 h 3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750" h="36215">
                    <a:moveTo>
                      <a:pt x="-595" y="18457"/>
                    </a:moveTo>
                    <a:cubicBezTo>
                      <a:pt x="1238" y="12349"/>
                      <a:pt x="-4144" y="3595"/>
                      <a:pt x="5223" y="745"/>
                    </a:cubicBezTo>
                    <a:cubicBezTo>
                      <a:pt x="10546" y="-855"/>
                      <a:pt x="17324" y="-1728"/>
                      <a:pt x="21745" y="2897"/>
                    </a:cubicBezTo>
                    <a:cubicBezTo>
                      <a:pt x="26661" y="8016"/>
                      <a:pt x="21367" y="12465"/>
                      <a:pt x="19040" y="16886"/>
                    </a:cubicBezTo>
                    <a:cubicBezTo>
                      <a:pt x="17876" y="18631"/>
                      <a:pt x="16858" y="20446"/>
                      <a:pt x="15928" y="22325"/>
                    </a:cubicBezTo>
                    <a:cubicBezTo>
                      <a:pt x="13484" y="28898"/>
                      <a:pt x="9848" y="37274"/>
                      <a:pt x="2838" y="35413"/>
                    </a:cubicBezTo>
                    <a:cubicBezTo>
                      <a:pt x="-4173" y="33551"/>
                      <a:pt x="918" y="24244"/>
                      <a:pt x="-595" y="18457"/>
                    </a:cubicBezTo>
                    <a:close/>
                  </a:path>
                </a:pathLst>
              </a:custGeom>
              <a:solidFill>
                <a:srgbClr val="EBECF1"/>
              </a:solidFill>
              <a:ln w="2907" cap="flat">
                <a:noFill/>
                <a:prstDash val="solid"/>
                <a:miter/>
              </a:ln>
            </p:spPr>
            <p:txBody>
              <a:bodyPr rtlCol="0" anchor="ctr"/>
              <a:lstStyle/>
              <a:p>
                <a:endParaRPr lang="en-US" sz="800"/>
              </a:p>
            </p:txBody>
          </p:sp>
          <p:sp>
            <p:nvSpPr>
              <p:cNvPr id="727" name="Graphic 38">
                <a:extLst>
                  <a:ext uri="{FF2B5EF4-FFF2-40B4-BE49-F238E27FC236}">
                    <a16:creationId xmlns:a16="http://schemas.microsoft.com/office/drawing/2014/main" id="{B4F0F019-51AA-3285-C33A-DE2D52784C1D}"/>
                  </a:ext>
                </a:extLst>
              </p:cNvPr>
              <p:cNvSpPr/>
              <p:nvPr/>
            </p:nvSpPr>
            <p:spPr>
              <a:xfrm>
                <a:off x="12643743" y="979707"/>
                <a:ext cx="22166" cy="35998"/>
              </a:xfrm>
              <a:custGeom>
                <a:avLst/>
                <a:gdLst>
                  <a:gd name="connsiteX0" fmla="*/ -961 w 22166"/>
                  <a:gd name="connsiteY0" fmla="*/ 15191 h 35998"/>
                  <a:gd name="connsiteX1" fmla="*/ 2734 w 22166"/>
                  <a:gd name="connsiteY1" fmla="*/ -398 h 35998"/>
                  <a:gd name="connsiteX2" fmla="*/ 15533 w 22166"/>
                  <a:gd name="connsiteY2" fmla="*/ 11643 h 35998"/>
                  <a:gd name="connsiteX3" fmla="*/ 19547 w 22166"/>
                  <a:gd name="connsiteY3" fmla="*/ 32263 h 35998"/>
                  <a:gd name="connsiteX4" fmla="*/ 6311 w 22166"/>
                  <a:gd name="connsiteY4" fmla="*/ 34532 h 35998"/>
                  <a:gd name="connsiteX5" fmla="*/ -961 w 22166"/>
                  <a:gd name="connsiteY5" fmla="*/ 15191 h 35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66" h="35998">
                    <a:moveTo>
                      <a:pt x="-961" y="15191"/>
                    </a:moveTo>
                    <a:cubicBezTo>
                      <a:pt x="697" y="9636"/>
                      <a:pt x="-3870" y="1056"/>
                      <a:pt x="2734" y="-398"/>
                    </a:cubicBezTo>
                    <a:cubicBezTo>
                      <a:pt x="8755" y="-1707"/>
                      <a:pt x="12769" y="6408"/>
                      <a:pt x="15533" y="11643"/>
                    </a:cubicBezTo>
                    <a:cubicBezTo>
                      <a:pt x="18820" y="17838"/>
                      <a:pt x="23794" y="24992"/>
                      <a:pt x="19547" y="32263"/>
                    </a:cubicBezTo>
                    <a:cubicBezTo>
                      <a:pt x="16987" y="36684"/>
                      <a:pt x="10820" y="35550"/>
                      <a:pt x="6311" y="34532"/>
                    </a:cubicBezTo>
                    <a:cubicBezTo>
                      <a:pt x="-5877" y="31798"/>
                      <a:pt x="1541" y="21502"/>
                      <a:pt x="-961" y="15191"/>
                    </a:cubicBezTo>
                    <a:close/>
                  </a:path>
                </a:pathLst>
              </a:custGeom>
              <a:solidFill>
                <a:srgbClr val="EBECF1"/>
              </a:solidFill>
              <a:ln w="2907" cap="flat">
                <a:noFill/>
                <a:prstDash val="solid"/>
                <a:miter/>
              </a:ln>
            </p:spPr>
            <p:txBody>
              <a:bodyPr rtlCol="0" anchor="ctr"/>
              <a:lstStyle/>
              <a:p>
                <a:endParaRPr lang="en-US" sz="800"/>
              </a:p>
            </p:txBody>
          </p:sp>
          <p:sp>
            <p:nvSpPr>
              <p:cNvPr id="728" name="Graphic 38">
                <a:extLst>
                  <a:ext uri="{FF2B5EF4-FFF2-40B4-BE49-F238E27FC236}">
                    <a16:creationId xmlns:a16="http://schemas.microsoft.com/office/drawing/2014/main" id="{7B6E98F5-4E4F-7DB8-CFB0-2599FB0B674D}"/>
                  </a:ext>
                </a:extLst>
              </p:cNvPr>
              <p:cNvSpPr/>
              <p:nvPr/>
            </p:nvSpPr>
            <p:spPr>
              <a:xfrm>
                <a:off x="12604783" y="1023959"/>
                <a:ext cx="29554" cy="22484"/>
              </a:xfrm>
              <a:custGeom>
                <a:avLst/>
                <a:gdLst>
                  <a:gd name="connsiteX0" fmla="*/ 11615 w 29554"/>
                  <a:gd name="connsiteY0" fmla="*/ 111 h 22484"/>
                  <a:gd name="connsiteX1" fmla="*/ 28574 w 29554"/>
                  <a:gd name="connsiteY1" fmla="*/ 9534 h 22484"/>
                  <a:gd name="connsiteX2" fmla="*/ 14204 w 29554"/>
                  <a:gd name="connsiteY2" fmla="*/ 21866 h 22484"/>
                  <a:gd name="connsiteX3" fmla="*/ -981 w 29554"/>
                  <a:gd name="connsiteY3" fmla="*/ 12966 h 22484"/>
                  <a:gd name="connsiteX4" fmla="*/ 11615 w 29554"/>
                  <a:gd name="connsiteY4" fmla="*/ 111 h 22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54" h="22484">
                    <a:moveTo>
                      <a:pt x="11615" y="111"/>
                    </a:moveTo>
                    <a:cubicBezTo>
                      <a:pt x="20632" y="606"/>
                      <a:pt x="28457" y="-1401"/>
                      <a:pt x="28574" y="9534"/>
                    </a:cubicBezTo>
                    <a:cubicBezTo>
                      <a:pt x="28574" y="19685"/>
                      <a:pt x="22145" y="22477"/>
                      <a:pt x="14204" y="21866"/>
                    </a:cubicBezTo>
                    <a:cubicBezTo>
                      <a:pt x="8386" y="21401"/>
                      <a:pt x="-1068" y="22971"/>
                      <a:pt x="-981" y="12966"/>
                    </a:cubicBezTo>
                    <a:cubicBezTo>
                      <a:pt x="-923" y="4038"/>
                      <a:pt x="3092" y="-2710"/>
                      <a:pt x="11615" y="111"/>
                    </a:cubicBezTo>
                    <a:close/>
                  </a:path>
                </a:pathLst>
              </a:custGeom>
              <a:solidFill>
                <a:srgbClr val="EBECF1"/>
              </a:solidFill>
              <a:ln w="2907" cap="flat">
                <a:noFill/>
                <a:prstDash val="solid"/>
                <a:miter/>
              </a:ln>
            </p:spPr>
            <p:txBody>
              <a:bodyPr rtlCol="0" anchor="ctr"/>
              <a:lstStyle/>
              <a:p>
                <a:endParaRPr lang="en-US" sz="800"/>
              </a:p>
            </p:txBody>
          </p:sp>
          <p:sp>
            <p:nvSpPr>
              <p:cNvPr id="729" name="Graphic 38">
                <a:extLst>
                  <a:ext uri="{FF2B5EF4-FFF2-40B4-BE49-F238E27FC236}">
                    <a16:creationId xmlns:a16="http://schemas.microsoft.com/office/drawing/2014/main" id="{A2F4BD29-7DCA-8F09-6AD8-230D60AB5026}"/>
                  </a:ext>
                </a:extLst>
              </p:cNvPr>
              <p:cNvSpPr/>
              <p:nvPr/>
            </p:nvSpPr>
            <p:spPr>
              <a:xfrm>
                <a:off x="12604841" y="1056048"/>
                <a:ext cx="29165" cy="19469"/>
              </a:xfrm>
              <a:custGeom>
                <a:avLst/>
                <a:gdLst>
                  <a:gd name="connsiteX0" fmla="*/ 11761 w 29165"/>
                  <a:gd name="connsiteY0" fmla="*/ -539 h 19469"/>
                  <a:gd name="connsiteX1" fmla="*/ 28167 w 29165"/>
                  <a:gd name="connsiteY1" fmla="*/ 8390 h 19469"/>
                  <a:gd name="connsiteX2" fmla="*/ 11877 w 29165"/>
                  <a:gd name="connsiteY2" fmla="*/ 18773 h 19469"/>
                  <a:gd name="connsiteX3" fmla="*/ -893 w 29165"/>
                  <a:gd name="connsiteY3" fmla="*/ 7140 h 19469"/>
                  <a:gd name="connsiteX4" fmla="*/ 11761 w 29165"/>
                  <a:gd name="connsiteY4" fmla="*/ -539 h 19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65" h="19469">
                    <a:moveTo>
                      <a:pt x="11761" y="-539"/>
                    </a:moveTo>
                    <a:cubicBezTo>
                      <a:pt x="18306" y="1177"/>
                      <a:pt x="28662" y="-4000"/>
                      <a:pt x="28167" y="8390"/>
                    </a:cubicBezTo>
                    <a:cubicBezTo>
                      <a:pt x="27760" y="18482"/>
                      <a:pt x="19120" y="17842"/>
                      <a:pt x="11877" y="18773"/>
                    </a:cubicBezTo>
                    <a:cubicBezTo>
                      <a:pt x="2773" y="19907"/>
                      <a:pt x="-195" y="14818"/>
                      <a:pt x="-893" y="7140"/>
                    </a:cubicBezTo>
                    <a:cubicBezTo>
                      <a:pt x="-1998" y="-4756"/>
                      <a:pt x="7514" y="1875"/>
                      <a:pt x="11761" y="-539"/>
                    </a:cubicBezTo>
                    <a:close/>
                  </a:path>
                </a:pathLst>
              </a:custGeom>
              <a:solidFill>
                <a:srgbClr val="EBECF1"/>
              </a:solidFill>
              <a:ln w="2907" cap="flat">
                <a:noFill/>
                <a:prstDash val="solid"/>
                <a:miter/>
              </a:ln>
            </p:spPr>
            <p:txBody>
              <a:bodyPr rtlCol="0" anchor="ctr"/>
              <a:lstStyle/>
              <a:p>
                <a:endParaRPr lang="en-US" sz="800"/>
              </a:p>
            </p:txBody>
          </p:sp>
          <p:sp>
            <p:nvSpPr>
              <p:cNvPr id="730" name="Graphic 38">
                <a:extLst>
                  <a:ext uri="{FF2B5EF4-FFF2-40B4-BE49-F238E27FC236}">
                    <a16:creationId xmlns:a16="http://schemas.microsoft.com/office/drawing/2014/main" id="{D99F2BBB-3C32-CAD4-7F60-E2F6D86007CA}"/>
                  </a:ext>
                </a:extLst>
              </p:cNvPr>
              <p:cNvSpPr/>
              <p:nvPr/>
            </p:nvSpPr>
            <p:spPr>
              <a:xfrm>
                <a:off x="12643994" y="1024702"/>
                <a:ext cx="28482" cy="19008"/>
              </a:xfrm>
              <a:custGeom>
                <a:avLst/>
                <a:gdLst>
                  <a:gd name="connsiteX0" fmla="*/ 13013 w 28482"/>
                  <a:gd name="connsiteY0" fmla="*/ 18447 h 19008"/>
                  <a:gd name="connsiteX1" fmla="*/ -979 w 28482"/>
                  <a:gd name="connsiteY1" fmla="*/ 8791 h 19008"/>
                  <a:gd name="connsiteX2" fmla="*/ 13565 w 28482"/>
                  <a:gd name="connsiteY2" fmla="*/ -457 h 19008"/>
                  <a:gd name="connsiteX3" fmla="*/ 27499 w 28482"/>
                  <a:gd name="connsiteY3" fmla="*/ 9198 h 19008"/>
                  <a:gd name="connsiteX4" fmla="*/ 13013 w 28482"/>
                  <a:gd name="connsiteY4" fmla="*/ 18447 h 19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82" h="19008">
                    <a:moveTo>
                      <a:pt x="13013" y="18447"/>
                    </a:moveTo>
                    <a:cubicBezTo>
                      <a:pt x="6148" y="18447"/>
                      <a:pt x="-1124" y="19407"/>
                      <a:pt x="-979" y="8791"/>
                    </a:cubicBezTo>
                    <a:cubicBezTo>
                      <a:pt x="-834" y="-1824"/>
                      <a:pt x="6875" y="-283"/>
                      <a:pt x="13565" y="-457"/>
                    </a:cubicBezTo>
                    <a:cubicBezTo>
                      <a:pt x="20256" y="-632"/>
                      <a:pt x="27644" y="-1388"/>
                      <a:pt x="27499" y="9198"/>
                    </a:cubicBezTo>
                    <a:cubicBezTo>
                      <a:pt x="27353" y="19785"/>
                      <a:pt x="19558" y="18156"/>
                      <a:pt x="13013" y="18447"/>
                    </a:cubicBezTo>
                    <a:close/>
                  </a:path>
                </a:pathLst>
              </a:custGeom>
              <a:solidFill>
                <a:srgbClr val="EBECF1"/>
              </a:solidFill>
              <a:ln w="2907" cap="flat">
                <a:noFill/>
                <a:prstDash val="solid"/>
                <a:miter/>
              </a:ln>
            </p:spPr>
            <p:txBody>
              <a:bodyPr rtlCol="0" anchor="ctr"/>
              <a:lstStyle/>
              <a:p>
                <a:endParaRPr lang="en-US" sz="800"/>
              </a:p>
            </p:txBody>
          </p:sp>
          <p:sp>
            <p:nvSpPr>
              <p:cNvPr id="731" name="Graphic 38">
                <a:extLst>
                  <a:ext uri="{FF2B5EF4-FFF2-40B4-BE49-F238E27FC236}">
                    <a16:creationId xmlns:a16="http://schemas.microsoft.com/office/drawing/2014/main" id="{D4E5C8E8-1EA5-D1E4-EA31-98317E7197C8}"/>
                  </a:ext>
                </a:extLst>
              </p:cNvPr>
              <p:cNvSpPr/>
              <p:nvPr/>
            </p:nvSpPr>
            <p:spPr>
              <a:xfrm>
                <a:off x="12643986" y="1056282"/>
                <a:ext cx="28373" cy="19121"/>
              </a:xfrm>
              <a:custGeom>
                <a:avLst/>
                <a:gdLst>
                  <a:gd name="connsiteX0" fmla="*/ 13981 w 28373"/>
                  <a:gd name="connsiteY0" fmla="*/ 18394 h 19121"/>
                  <a:gd name="connsiteX1" fmla="*/ -942 w 28373"/>
                  <a:gd name="connsiteY1" fmla="*/ 9872 h 19121"/>
                  <a:gd name="connsiteX2" fmla="*/ 12352 w 28373"/>
                  <a:gd name="connsiteY2" fmla="*/ -424 h 19121"/>
                  <a:gd name="connsiteX3" fmla="*/ 27361 w 28373"/>
                  <a:gd name="connsiteY3" fmla="*/ 8127 h 19121"/>
                  <a:gd name="connsiteX4" fmla="*/ 13981 w 28373"/>
                  <a:gd name="connsiteY4" fmla="*/ 18394 h 191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73" h="19121">
                    <a:moveTo>
                      <a:pt x="13981" y="18394"/>
                    </a:moveTo>
                    <a:cubicBezTo>
                      <a:pt x="7872" y="17725"/>
                      <a:pt x="-331" y="20779"/>
                      <a:pt x="-942" y="9872"/>
                    </a:cubicBezTo>
                    <a:cubicBezTo>
                      <a:pt x="-1553" y="-395"/>
                      <a:pt x="5050" y="-889"/>
                      <a:pt x="12352" y="-424"/>
                    </a:cubicBezTo>
                    <a:cubicBezTo>
                      <a:pt x="18664" y="-46"/>
                      <a:pt x="26896" y="-2780"/>
                      <a:pt x="27361" y="8127"/>
                    </a:cubicBezTo>
                    <a:cubicBezTo>
                      <a:pt x="27885" y="18161"/>
                      <a:pt x="21718" y="19121"/>
                      <a:pt x="13981" y="18394"/>
                    </a:cubicBezTo>
                    <a:close/>
                  </a:path>
                </a:pathLst>
              </a:custGeom>
              <a:solidFill>
                <a:srgbClr val="EBECF1"/>
              </a:solidFill>
              <a:ln w="2907" cap="flat">
                <a:noFill/>
                <a:prstDash val="solid"/>
                <a:miter/>
              </a:ln>
            </p:spPr>
            <p:txBody>
              <a:bodyPr rtlCol="0" anchor="ctr"/>
              <a:lstStyle/>
              <a:p>
                <a:endParaRPr lang="en-US" sz="800"/>
              </a:p>
            </p:txBody>
          </p:sp>
          <p:sp>
            <p:nvSpPr>
              <p:cNvPr id="732" name="Graphic 38">
                <a:extLst>
                  <a:ext uri="{FF2B5EF4-FFF2-40B4-BE49-F238E27FC236}">
                    <a16:creationId xmlns:a16="http://schemas.microsoft.com/office/drawing/2014/main" id="{F63B9C7E-3A72-3EDE-2A82-AB0338B0C6C6}"/>
                  </a:ext>
                </a:extLst>
              </p:cNvPr>
              <p:cNvSpPr/>
              <p:nvPr/>
            </p:nvSpPr>
            <p:spPr>
              <a:xfrm>
                <a:off x="12550766" y="672445"/>
                <a:ext cx="176869" cy="167553"/>
              </a:xfrm>
              <a:custGeom>
                <a:avLst/>
                <a:gdLst>
                  <a:gd name="connsiteX0" fmla="*/ 37678 w 176869"/>
                  <a:gd name="connsiteY0" fmla="*/ 166999 h 167553"/>
                  <a:gd name="connsiteX1" fmla="*/ 33199 w 176869"/>
                  <a:gd name="connsiteY1" fmla="*/ 157140 h 167553"/>
                  <a:gd name="connsiteX2" fmla="*/ 44834 w 176869"/>
                  <a:gd name="connsiteY2" fmla="*/ 121250 h 167553"/>
                  <a:gd name="connsiteX3" fmla="*/ 37765 w 176869"/>
                  <a:gd name="connsiteY3" fmla="*/ 96965 h 167553"/>
                  <a:gd name="connsiteX4" fmla="*/ 4779 w 176869"/>
                  <a:gd name="connsiteY4" fmla="*/ 72593 h 167553"/>
                  <a:gd name="connsiteX5" fmla="*/ -748 w 176869"/>
                  <a:gd name="connsiteY5" fmla="*/ 63867 h 167553"/>
                  <a:gd name="connsiteX6" fmla="*/ 8880 w 176869"/>
                  <a:gd name="connsiteY6" fmla="*/ 60959 h 167553"/>
                  <a:gd name="connsiteX7" fmla="*/ 51612 w 176869"/>
                  <a:gd name="connsiteY7" fmla="*/ 60959 h 167553"/>
                  <a:gd name="connsiteX8" fmla="*/ 67523 w 176869"/>
                  <a:gd name="connsiteY8" fmla="*/ 49762 h 167553"/>
                  <a:gd name="connsiteX9" fmla="*/ 82359 w 176869"/>
                  <a:gd name="connsiteY9" fmla="*/ 6688 h 167553"/>
                  <a:gd name="connsiteX10" fmla="*/ 87653 w 176869"/>
                  <a:gd name="connsiteY10" fmla="*/ -495 h 167553"/>
                  <a:gd name="connsiteX11" fmla="*/ 92511 w 176869"/>
                  <a:gd name="connsiteY11" fmla="*/ 6136 h 167553"/>
                  <a:gd name="connsiteX12" fmla="*/ 107724 w 176869"/>
                  <a:gd name="connsiteY12" fmla="*/ 50954 h 167553"/>
                  <a:gd name="connsiteX13" fmla="*/ 121337 w 176869"/>
                  <a:gd name="connsiteY13" fmla="*/ 60901 h 167553"/>
                  <a:gd name="connsiteX14" fmla="*/ 167240 w 176869"/>
                  <a:gd name="connsiteY14" fmla="*/ 60901 h 167553"/>
                  <a:gd name="connsiteX15" fmla="*/ 175530 w 176869"/>
                  <a:gd name="connsiteY15" fmla="*/ 63664 h 167553"/>
                  <a:gd name="connsiteX16" fmla="*/ 171516 w 176869"/>
                  <a:gd name="connsiteY16" fmla="*/ 71458 h 167553"/>
                  <a:gd name="connsiteX17" fmla="*/ 136755 w 176869"/>
                  <a:gd name="connsiteY17" fmla="*/ 98303 h 167553"/>
                  <a:gd name="connsiteX18" fmla="*/ 130006 w 176869"/>
                  <a:gd name="connsiteY18" fmla="*/ 116539 h 167553"/>
                  <a:gd name="connsiteX19" fmla="*/ 140769 w 176869"/>
                  <a:gd name="connsiteY19" fmla="*/ 154348 h 167553"/>
                  <a:gd name="connsiteX20" fmla="*/ 140594 w 176869"/>
                  <a:gd name="connsiteY20" fmla="*/ 165981 h 167553"/>
                  <a:gd name="connsiteX21" fmla="*/ 129163 w 176869"/>
                  <a:gd name="connsiteY21" fmla="*/ 162753 h 167553"/>
                  <a:gd name="connsiteX22" fmla="*/ 101121 w 176869"/>
                  <a:gd name="connsiteY22" fmla="*/ 142394 h 167553"/>
                  <a:gd name="connsiteX23" fmla="*/ 75436 w 176869"/>
                  <a:gd name="connsiteY23" fmla="*/ 142394 h 167553"/>
                  <a:gd name="connsiteX24" fmla="*/ 52164 w 176869"/>
                  <a:gd name="connsiteY24" fmla="*/ 158798 h 167553"/>
                  <a:gd name="connsiteX25" fmla="*/ 37678 w 176869"/>
                  <a:gd name="connsiteY25" fmla="*/ 166999 h 167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6869" h="167553">
                    <a:moveTo>
                      <a:pt x="37678" y="166999"/>
                    </a:moveTo>
                    <a:cubicBezTo>
                      <a:pt x="30319" y="165632"/>
                      <a:pt x="32093" y="160921"/>
                      <a:pt x="33199" y="157140"/>
                    </a:cubicBezTo>
                    <a:cubicBezTo>
                      <a:pt x="36806" y="145070"/>
                      <a:pt x="39685" y="132651"/>
                      <a:pt x="44834" y="121250"/>
                    </a:cubicBezTo>
                    <a:cubicBezTo>
                      <a:pt x="49983" y="109849"/>
                      <a:pt x="46405" y="103276"/>
                      <a:pt x="37765" y="96965"/>
                    </a:cubicBezTo>
                    <a:cubicBezTo>
                      <a:pt x="26712" y="88909"/>
                      <a:pt x="15658" y="80882"/>
                      <a:pt x="4779" y="72593"/>
                    </a:cubicBezTo>
                    <a:cubicBezTo>
                      <a:pt x="1870" y="70470"/>
                      <a:pt x="-1970" y="67881"/>
                      <a:pt x="-748" y="63867"/>
                    </a:cubicBezTo>
                    <a:cubicBezTo>
                      <a:pt x="648" y="59330"/>
                      <a:pt x="5448" y="60959"/>
                      <a:pt x="8880" y="60959"/>
                    </a:cubicBezTo>
                    <a:cubicBezTo>
                      <a:pt x="23134" y="60785"/>
                      <a:pt x="37387" y="60697"/>
                      <a:pt x="51612" y="60959"/>
                    </a:cubicBezTo>
                    <a:cubicBezTo>
                      <a:pt x="59844" y="60959"/>
                      <a:pt x="65051" y="59243"/>
                      <a:pt x="67523" y="49762"/>
                    </a:cubicBezTo>
                    <a:cubicBezTo>
                      <a:pt x="71363" y="35220"/>
                      <a:pt x="77355" y="21027"/>
                      <a:pt x="82359" y="6688"/>
                    </a:cubicBezTo>
                    <a:cubicBezTo>
                      <a:pt x="83406" y="3780"/>
                      <a:pt x="84133" y="-88"/>
                      <a:pt x="87653" y="-495"/>
                    </a:cubicBezTo>
                    <a:cubicBezTo>
                      <a:pt x="92133" y="-1019"/>
                      <a:pt x="91551" y="3315"/>
                      <a:pt x="92511" y="6136"/>
                    </a:cubicBezTo>
                    <a:cubicBezTo>
                      <a:pt x="97630" y="21056"/>
                      <a:pt x="103390" y="35801"/>
                      <a:pt x="107724" y="50954"/>
                    </a:cubicBezTo>
                    <a:cubicBezTo>
                      <a:pt x="109935" y="58749"/>
                      <a:pt x="114211" y="60930"/>
                      <a:pt x="121337" y="60901"/>
                    </a:cubicBezTo>
                    <a:cubicBezTo>
                      <a:pt x="136638" y="60901"/>
                      <a:pt x="151939" y="60901"/>
                      <a:pt x="167240" y="60901"/>
                    </a:cubicBezTo>
                    <a:cubicBezTo>
                      <a:pt x="170149" y="60901"/>
                      <a:pt x="174105" y="59970"/>
                      <a:pt x="175530" y="63664"/>
                    </a:cubicBezTo>
                    <a:cubicBezTo>
                      <a:pt x="176955" y="67358"/>
                      <a:pt x="173814" y="69481"/>
                      <a:pt x="171516" y="71458"/>
                    </a:cubicBezTo>
                    <a:cubicBezTo>
                      <a:pt x="160084" y="80591"/>
                      <a:pt x="148798" y="90014"/>
                      <a:pt x="136755" y="98303"/>
                    </a:cubicBezTo>
                    <a:cubicBezTo>
                      <a:pt x="129570" y="103247"/>
                      <a:pt x="126981" y="107843"/>
                      <a:pt x="130006" y="116539"/>
                    </a:cubicBezTo>
                    <a:cubicBezTo>
                      <a:pt x="134340" y="128899"/>
                      <a:pt x="137162" y="141783"/>
                      <a:pt x="140769" y="154348"/>
                    </a:cubicBezTo>
                    <a:cubicBezTo>
                      <a:pt x="141903" y="158390"/>
                      <a:pt x="144638" y="163073"/>
                      <a:pt x="140594" y="165981"/>
                    </a:cubicBezTo>
                    <a:cubicBezTo>
                      <a:pt x="136551" y="168890"/>
                      <a:pt x="132450" y="164963"/>
                      <a:pt x="129163" y="162753"/>
                    </a:cubicBezTo>
                    <a:cubicBezTo>
                      <a:pt x="119592" y="156296"/>
                      <a:pt x="110051" y="149694"/>
                      <a:pt x="101121" y="142394"/>
                    </a:cubicBezTo>
                    <a:cubicBezTo>
                      <a:pt x="92191" y="135094"/>
                      <a:pt x="84162" y="135676"/>
                      <a:pt x="75436" y="142394"/>
                    </a:cubicBezTo>
                    <a:cubicBezTo>
                      <a:pt x="67901" y="148211"/>
                      <a:pt x="60135" y="153562"/>
                      <a:pt x="52164" y="158798"/>
                    </a:cubicBezTo>
                    <a:cubicBezTo>
                      <a:pt x="47452" y="161910"/>
                      <a:pt x="42245" y="164440"/>
                      <a:pt x="37678" y="166999"/>
                    </a:cubicBezTo>
                    <a:close/>
                  </a:path>
                </a:pathLst>
              </a:custGeom>
              <a:solidFill>
                <a:srgbClr val="EBECF1"/>
              </a:solidFill>
              <a:ln w="2907" cap="flat">
                <a:noFill/>
                <a:prstDash val="solid"/>
                <a:miter/>
              </a:ln>
            </p:spPr>
            <p:txBody>
              <a:bodyPr rtlCol="0" anchor="ctr"/>
              <a:lstStyle/>
              <a:p>
                <a:endParaRPr lang="en-US" sz="800"/>
              </a:p>
            </p:txBody>
          </p:sp>
          <p:sp>
            <p:nvSpPr>
              <p:cNvPr id="733" name="Graphic 38">
                <a:extLst>
                  <a:ext uri="{FF2B5EF4-FFF2-40B4-BE49-F238E27FC236}">
                    <a16:creationId xmlns:a16="http://schemas.microsoft.com/office/drawing/2014/main" id="{E68749C6-4B3A-A666-3AEB-DE632F2284CD}"/>
                  </a:ext>
                </a:extLst>
              </p:cNvPr>
              <p:cNvSpPr/>
              <p:nvPr/>
            </p:nvSpPr>
            <p:spPr>
              <a:xfrm>
                <a:off x="12553180" y="1353801"/>
                <a:ext cx="29537" cy="27846"/>
              </a:xfrm>
              <a:custGeom>
                <a:avLst/>
                <a:gdLst>
                  <a:gd name="connsiteX0" fmla="*/ 13651 w 29537"/>
                  <a:gd name="connsiteY0" fmla="*/ -501 h 27846"/>
                  <a:gd name="connsiteX1" fmla="*/ 28544 w 29537"/>
                  <a:gd name="connsiteY1" fmla="*/ 13692 h 27846"/>
                  <a:gd name="connsiteX2" fmla="*/ 12604 w 29537"/>
                  <a:gd name="connsiteY2" fmla="*/ 27260 h 27846"/>
                  <a:gd name="connsiteX3" fmla="*/ -952 w 29537"/>
                  <a:gd name="connsiteY3" fmla="*/ 13925 h 27846"/>
                  <a:gd name="connsiteX4" fmla="*/ 13651 w 29537"/>
                  <a:gd name="connsiteY4" fmla="*/ -501 h 278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7" h="27846">
                    <a:moveTo>
                      <a:pt x="13651" y="-501"/>
                    </a:moveTo>
                    <a:cubicBezTo>
                      <a:pt x="23716" y="-1083"/>
                      <a:pt x="28835" y="5141"/>
                      <a:pt x="28544" y="13692"/>
                    </a:cubicBezTo>
                    <a:cubicBezTo>
                      <a:pt x="27875" y="21841"/>
                      <a:pt x="20748" y="27914"/>
                      <a:pt x="12604" y="27260"/>
                    </a:cubicBezTo>
                    <a:cubicBezTo>
                      <a:pt x="5448" y="26681"/>
                      <a:pt x="-254" y="21065"/>
                      <a:pt x="-952" y="13925"/>
                    </a:cubicBezTo>
                    <a:cubicBezTo>
                      <a:pt x="-1417" y="5374"/>
                      <a:pt x="3615" y="-937"/>
                      <a:pt x="13651" y="-501"/>
                    </a:cubicBezTo>
                    <a:close/>
                  </a:path>
                </a:pathLst>
              </a:custGeom>
              <a:solidFill>
                <a:srgbClr val="EBECF1"/>
              </a:solidFill>
              <a:ln w="2907" cap="flat">
                <a:noFill/>
                <a:prstDash val="solid"/>
                <a:miter/>
              </a:ln>
            </p:spPr>
            <p:txBody>
              <a:bodyPr rtlCol="0" anchor="ctr"/>
              <a:lstStyle/>
              <a:p>
                <a:endParaRPr lang="en-US" sz="800"/>
              </a:p>
            </p:txBody>
          </p:sp>
          <p:sp>
            <p:nvSpPr>
              <p:cNvPr id="734" name="Graphic 38">
                <a:extLst>
                  <a:ext uri="{FF2B5EF4-FFF2-40B4-BE49-F238E27FC236}">
                    <a16:creationId xmlns:a16="http://schemas.microsoft.com/office/drawing/2014/main" id="{D060B08C-4E57-48AE-344C-53885F901289}"/>
                  </a:ext>
                </a:extLst>
              </p:cNvPr>
              <p:cNvSpPr/>
              <p:nvPr/>
            </p:nvSpPr>
            <p:spPr>
              <a:xfrm>
                <a:off x="12697813" y="1353705"/>
                <a:ext cx="27942" cy="27760"/>
              </a:xfrm>
              <a:custGeom>
                <a:avLst/>
                <a:gdLst>
                  <a:gd name="connsiteX0" fmla="*/ 14084 w 27942"/>
                  <a:gd name="connsiteY0" fmla="*/ -288 h 27760"/>
                  <a:gd name="connsiteX1" fmla="*/ 26796 w 27942"/>
                  <a:gd name="connsiteY1" fmla="*/ 14254 h 27760"/>
                  <a:gd name="connsiteX2" fmla="*/ 11728 w 27942"/>
                  <a:gd name="connsiteY2" fmla="*/ 27080 h 27760"/>
                  <a:gd name="connsiteX3" fmla="*/ -839 w 27942"/>
                  <a:gd name="connsiteY3" fmla="*/ 12014 h 27760"/>
                  <a:gd name="connsiteX4" fmla="*/ 14084 w 27942"/>
                  <a:gd name="connsiteY4" fmla="*/ -288 h 27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42" h="27760">
                    <a:moveTo>
                      <a:pt x="14084" y="-288"/>
                    </a:moveTo>
                    <a:cubicBezTo>
                      <a:pt x="22345" y="846"/>
                      <a:pt x="28018" y="5122"/>
                      <a:pt x="26796" y="14254"/>
                    </a:cubicBezTo>
                    <a:cubicBezTo>
                      <a:pt x="25690" y="22427"/>
                      <a:pt x="20483" y="28214"/>
                      <a:pt x="11728" y="27080"/>
                    </a:cubicBezTo>
                    <a:cubicBezTo>
                      <a:pt x="3786" y="26062"/>
                      <a:pt x="-1973" y="21263"/>
                      <a:pt x="-839" y="12014"/>
                    </a:cubicBezTo>
                    <a:cubicBezTo>
                      <a:pt x="238" y="3231"/>
                      <a:pt x="4426" y="-1742"/>
                      <a:pt x="14084" y="-288"/>
                    </a:cubicBezTo>
                    <a:close/>
                  </a:path>
                </a:pathLst>
              </a:custGeom>
              <a:solidFill>
                <a:srgbClr val="EBECF1"/>
              </a:solidFill>
              <a:ln w="2907" cap="flat">
                <a:noFill/>
                <a:prstDash val="solid"/>
                <a:miter/>
              </a:ln>
            </p:spPr>
            <p:txBody>
              <a:bodyPr rtlCol="0" anchor="ctr"/>
              <a:lstStyle/>
              <a:p>
                <a:endParaRPr lang="en-US" sz="800"/>
              </a:p>
            </p:txBody>
          </p:sp>
          <p:sp>
            <p:nvSpPr>
              <p:cNvPr id="735" name="Graphic 38">
                <a:extLst>
                  <a:ext uri="{FF2B5EF4-FFF2-40B4-BE49-F238E27FC236}">
                    <a16:creationId xmlns:a16="http://schemas.microsoft.com/office/drawing/2014/main" id="{1519EF98-83ED-0EEC-887E-E254F19AFACC}"/>
                  </a:ext>
                </a:extLst>
              </p:cNvPr>
              <p:cNvSpPr/>
              <p:nvPr/>
            </p:nvSpPr>
            <p:spPr>
              <a:xfrm>
                <a:off x="12625403" y="1353983"/>
                <a:ext cx="27886" cy="27805"/>
              </a:xfrm>
              <a:custGeom>
                <a:avLst/>
                <a:gdLst>
                  <a:gd name="connsiteX0" fmla="*/ 13830 w 27886"/>
                  <a:gd name="connsiteY0" fmla="*/ 27267 h 27805"/>
                  <a:gd name="connsiteX1" fmla="*/ -948 w 27886"/>
                  <a:gd name="connsiteY1" fmla="*/ 13045 h 27805"/>
                  <a:gd name="connsiteX2" fmla="*/ 12724 w 27886"/>
                  <a:gd name="connsiteY2" fmla="*/ -537 h 27805"/>
                  <a:gd name="connsiteX3" fmla="*/ 26861 w 27886"/>
                  <a:gd name="connsiteY3" fmla="*/ 12899 h 27805"/>
                  <a:gd name="connsiteX4" fmla="*/ 13830 w 27886"/>
                  <a:gd name="connsiteY4" fmla="*/ 27267 h 278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86" h="27805">
                    <a:moveTo>
                      <a:pt x="13830" y="27267"/>
                    </a:moveTo>
                    <a:cubicBezTo>
                      <a:pt x="4754" y="26191"/>
                      <a:pt x="-453" y="21275"/>
                      <a:pt x="-948" y="13045"/>
                    </a:cubicBezTo>
                    <a:cubicBezTo>
                      <a:pt x="-1471" y="4320"/>
                      <a:pt x="4143" y="-450"/>
                      <a:pt x="12724" y="-537"/>
                    </a:cubicBezTo>
                    <a:cubicBezTo>
                      <a:pt x="21305" y="-625"/>
                      <a:pt x="26251" y="4174"/>
                      <a:pt x="26861" y="12899"/>
                    </a:cubicBezTo>
                    <a:cubicBezTo>
                      <a:pt x="27530" y="22555"/>
                      <a:pt x="20462" y="24940"/>
                      <a:pt x="13830" y="27267"/>
                    </a:cubicBezTo>
                    <a:close/>
                  </a:path>
                </a:pathLst>
              </a:custGeom>
              <a:solidFill>
                <a:srgbClr val="EBECF1"/>
              </a:solidFill>
              <a:ln w="2907" cap="flat">
                <a:noFill/>
                <a:prstDash val="solid"/>
                <a:miter/>
              </a:ln>
            </p:spPr>
            <p:txBody>
              <a:bodyPr rtlCol="0" anchor="ctr"/>
              <a:lstStyle/>
              <a:p>
                <a:endParaRPr lang="en-US" sz="800"/>
              </a:p>
            </p:txBody>
          </p:sp>
          <p:sp>
            <p:nvSpPr>
              <p:cNvPr id="736" name="Graphic 38">
                <a:extLst>
                  <a:ext uri="{FF2B5EF4-FFF2-40B4-BE49-F238E27FC236}">
                    <a16:creationId xmlns:a16="http://schemas.microsoft.com/office/drawing/2014/main" id="{066746DD-230C-AFB6-1E5B-0FA8CB782981}"/>
                  </a:ext>
                </a:extLst>
              </p:cNvPr>
              <p:cNvSpPr/>
              <p:nvPr/>
            </p:nvSpPr>
            <p:spPr>
              <a:xfrm>
                <a:off x="12625080" y="1249558"/>
                <a:ext cx="28223" cy="27283"/>
              </a:xfrm>
              <a:custGeom>
                <a:avLst/>
                <a:gdLst>
                  <a:gd name="connsiteX0" fmla="*/ 27243 w 28223"/>
                  <a:gd name="connsiteY0" fmla="*/ 13175 h 27283"/>
                  <a:gd name="connsiteX1" fmla="*/ 11244 w 28223"/>
                  <a:gd name="connsiteY1" fmla="*/ 26641 h 27283"/>
                  <a:gd name="connsiteX2" fmla="*/ -945 w 28223"/>
                  <a:gd name="connsiteY2" fmla="*/ 13088 h 27283"/>
                  <a:gd name="connsiteX3" fmla="*/ 14443 w 28223"/>
                  <a:gd name="connsiteY3" fmla="*/ -495 h 27283"/>
                  <a:gd name="connsiteX4" fmla="*/ 27243 w 28223"/>
                  <a:gd name="connsiteY4" fmla="*/ 13175 h 27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23" h="27283">
                    <a:moveTo>
                      <a:pt x="27243" y="13175"/>
                    </a:moveTo>
                    <a:cubicBezTo>
                      <a:pt x="24334" y="20300"/>
                      <a:pt x="20639" y="27717"/>
                      <a:pt x="11244" y="26641"/>
                    </a:cubicBezTo>
                    <a:cubicBezTo>
                      <a:pt x="4262" y="25885"/>
                      <a:pt x="-1497" y="21667"/>
                      <a:pt x="-945" y="13088"/>
                    </a:cubicBezTo>
                    <a:cubicBezTo>
                      <a:pt x="-304" y="3606"/>
                      <a:pt x="5135" y="-1047"/>
                      <a:pt x="14443" y="-495"/>
                    </a:cubicBezTo>
                    <a:cubicBezTo>
                      <a:pt x="22297" y="0"/>
                      <a:pt x="26428" y="4770"/>
                      <a:pt x="27243" y="13175"/>
                    </a:cubicBezTo>
                    <a:close/>
                  </a:path>
                </a:pathLst>
              </a:custGeom>
              <a:solidFill>
                <a:srgbClr val="EBECF1"/>
              </a:solidFill>
              <a:ln w="2907" cap="flat">
                <a:noFill/>
                <a:prstDash val="solid"/>
                <a:miter/>
              </a:ln>
            </p:spPr>
            <p:txBody>
              <a:bodyPr rtlCol="0" anchor="ctr"/>
              <a:lstStyle/>
              <a:p>
                <a:endParaRPr lang="en-US" sz="800"/>
              </a:p>
            </p:txBody>
          </p:sp>
          <p:sp>
            <p:nvSpPr>
              <p:cNvPr id="737" name="Graphic 38">
                <a:extLst>
                  <a:ext uri="{FF2B5EF4-FFF2-40B4-BE49-F238E27FC236}">
                    <a16:creationId xmlns:a16="http://schemas.microsoft.com/office/drawing/2014/main" id="{5D9E0C25-A101-8EF8-D1D0-E39DA3C99713}"/>
                  </a:ext>
                </a:extLst>
              </p:cNvPr>
              <p:cNvSpPr/>
              <p:nvPr/>
            </p:nvSpPr>
            <p:spPr>
              <a:xfrm>
                <a:off x="16215436" y="3542582"/>
                <a:ext cx="398516" cy="4505"/>
              </a:xfrm>
              <a:custGeom>
                <a:avLst/>
                <a:gdLst>
                  <a:gd name="connsiteX0" fmla="*/ -981 w 398516"/>
                  <a:gd name="connsiteY0" fmla="*/ -539 h 4505"/>
                  <a:gd name="connsiteX1" fmla="*/ 16472 w 398516"/>
                  <a:gd name="connsiteY1" fmla="*/ 828 h 4505"/>
                  <a:gd name="connsiteX2" fmla="*/ 397536 w 398516"/>
                  <a:gd name="connsiteY2" fmla="*/ 625 h 4505"/>
                  <a:gd name="connsiteX3" fmla="*/ 380984 w 398516"/>
                  <a:gd name="connsiteY3" fmla="*/ 3533 h 4505"/>
                  <a:gd name="connsiteX4" fmla="*/ 16530 w 398516"/>
                  <a:gd name="connsiteY4" fmla="*/ 3533 h 4505"/>
                  <a:gd name="connsiteX5" fmla="*/ -981 w 398516"/>
                  <a:gd name="connsiteY5" fmla="*/ -539 h 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516" h="4505">
                    <a:moveTo>
                      <a:pt x="-981" y="-539"/>
                    </a:moveTo>
                    <a:cubicBezTo>
                      <a:pt x="4836" y="-44"/>
                      <a:pt x="10654" y="828"/>
                      <a:pt x="16472" y="828"/>
                    </a:cubicBezTo>
                    <a:cubicBezTo>
                      <a:pt x="143532" y="828"/>
                      <a:pt x="270562" y="770"/>
                      <a:pt x="397536" y="625"/>
                    </a:cubicBezTo>
                    <a:cubicBezTo>
                      <a:pt x="392677" y="5162"/>
                      <a:pt x="386598" y="3533"/>
                      <a:pt x="380984" y="3533"/>
                    </a:cubicBezTo>
                    <a:cubicBezTo>
                      <a:pt x="259479" y="3533"/>
                      <a:pt x="137976" y="3533"/>
                      <a:pt x="16530" y="3533"/>
                    </a:cubicBezTo>
                    <a:cubicBezTo>
                      <a:pt x="10509" y="3562"/>
                      <a:pt x="3614" y="5889"/>
                      <a:pt x="-981" y="-539"/>
                    </a:cubicBezTo>
                    <a:close/>
                  </a:path>
                </a:pathLst>
              </a:custGeom>
              <a:solidFill>
                <a:srgbClr val="DBDEE5"/>
              </a:solidFill>
              <a:ln w="2907" cap="flat">
                <a:noFill/>
                <a:prstDash val="solid"/>
                <a:miter/>
              </a:ln>
            </p:spPr>
            <p:txBody>
              <a:bodyPr rtlCol="0" anchor="ctr"/>
              <a:lstStyle/>
              <a:p>
                <a:endParaRPr lang="en-US" sz="800"/>
              </a:p>
            </p:txBody>
          </p:sp>
          <p:sp>
            <p:nvSpPr>
              <p:cNvPr id="738" name="Graphic 38">
                <a:extLst>
                  <a:ext uri="{FF2B5EF4-FFF2-40B4-BE49-F238E27FC236}">
                    <a16:creationId xmlns:a16="http://schemas.microsoft.com/office/drawing/2014/main" id="{E5ED74C6-C1CF-2561-1D89-EEE0861B10E6}"/>
                  </a:ext>
                </a:extLst>
              </p:cNvPr>
              <p:cNvSpPr/>
              <p:nvPr/>
            </p:nvSpPr>
            <p:spPr>
              <a:xfrm>
                <a:off x="16202811" y="3530076"/>
                <a:ext cx="2443" cy="3635"/>
              </a:xfrm>
              <a:custGeom>
                <a:avLst/>
                <a:gdLst>
                  <a:gd name="connsiteX0" fmla="*/ -981 w 2443"/>
                  <a:gd name="connsiteY0" fmla="*/ -539 h 3635"/>
                  <a:gd name="connsiteX1" fmla="*/ 1462 w 2443"/>
                  <a:gd name="connsiteY1" fmla="*/ 3097 h 3635"/>
                </a:gdLst>
                <a:ahLst/>
                <a:cxnLst>
                  <a:cxn ang="0">
                    <a:pos x="connsiteX0" y="connsiteY0"/>
                  </a:cxn>
                  <a:cxn ang="0">
                    <a:pos x="connsiteX1" y="connsiteY1"/>
                  </a:cxn>
                </a:cxnLst>
                <a:rect l="l" t="t" r="r" b="b"/>
                <a:pathLst>
                  <a:path w="2443" h="3635">
                    <a:moveTo>
                      <a:pt x="-981" y="-539"/>
                    </a:moveTo>
                    <a:lnTo>
                      <a:pt x="1462" y="3097"/>
                    </a:lnTo>
                    <a:close/>
                  </a:path>
                </a:pathLst>
              </a:custGeom>
              <a:solidFill>
                <a:srgbClr val="DBDEE5"/>
              </a:solidFill>
              <a:ln w="2907" cap="flat">
                <a:noFill/>
                <a:prstDash val="solid"/>
                <a:miter/>
              </a:ln>
            </p:spPr>
            <p:txBody>
              <a:bodyPr rtlCol="0" anchor="ctr"/>
              <a:lstStyle/>
              <a:p>
                <a:endParaRPr lang="en-US" sz="800"/>
              </a:p>
            </p:txBody>
          </p:sp>
          <p:sp>
            <p:nvSpPr>
              <p:cNvPr id="739" name="Graphic 38">
                <a:extLst>
                  <a:ext uri="{FF2B5EF4-FFF2-40B4-BE49-F238E27FC236}">
                    <a16:creationId xmlns:a16="http://schemas.microsoft.com/office/drawing/2014/main" id="{D112C35C-3BB9-DF92-3A68-88C0556D8875}"/>
                  </a:ext>
                </a:extLst>
              </p:cNvPr>
              <p:cNvSpPr/>
              <p:nvPr/>
            </p:nvSpPr>
            <p:spPr>
              <a:xfrm>
                <a:off x="16205516" y="3534032"/>
                <a:ext cx="2705" cy="2908"/>
              </a:xfrm>
              <a:custGeom>
                <a:avLst/>
                <a:gdLst>
                  <a:gd name="connsiteX0" fmla="*/ -981 w 2705"/>
                  <a:gd name="connsiteY0" fmla="*/ -539 h 2908"/>
                  <a:gd name="connsiteX1" fmla="*/ 1724 w 2705"/>
                  <a:gd name="connsiteY1" fmla="*/ 2370 h 2908"/>
                </a:gdLst>
                <a:ahLst/>
                <a:cxnLst>
                  <a:cxn ang="0">
                    <a:pos x="connsiteX0" y="connsiteY0"/>
                  </a:cxn>
                  <a:cxn ang="0">
                    <a:pos x="connsiteX1" y="connsiteY1"/>
                  </a:cxn>
                </a:cxnLst>
                <a:rect l="l" t="t" r="r" b="b"/>
                <a:pathLst>
                  <a:path w="2705" h="2908">
                    <a:moveTo>
                      <a:pt x="-981" y="-539"/>
                    </a:moveTo>
                    <a:lnTo>
                      <a:pt x="1724" y="2370"/>
                    </a:lnTo>
                    <a:close/>
                  </a:path>
                </a:pathLst>
              </a:custGeom>
              <a:solidFill>
                <a:srgbClr val="DBDEE5"/>
              </a:solidFill>
              <a:ln w="2907" cap="flat">
                <a:noFill/>
                <a:prstDash val="solid"/>
                <a:miter/>
              </a:ln>
            </p:spPr>
            <p:txBody>
              <a:bodyPr rtlCol="0" anchor="ctr"/>
              <a:lstStyle/>
              <a:p>
                <a:endParaRPr lang="en-US" sz="800"/>
              </a:p>
            </p:txBody>
          </p:sp>
          <p:sp>
            <p:nvSpPr>
              <p:cNvPr id="740" name="Graphic 38">
                <a:extLst>
                  <a:ext uri="{FF2B5EF4-FFF2-40B4-BE49-F238E27FC236}">
                    <a16:creationId xmlns:a16="http://schemas.microsoft.com/office/drawing/2014/main" id="{7BD3A6F4-41CC-0FB1-9106-99408BDEFB30}"/>
                  </a:ext>
                </a:extLst>
              </p:cNvPr>
              <p:cNvSpPr/>
              <p:nvPr/>
            </p:nvSpPr>
            <p:spPr>
              <a:xfrm>
                <a:off x="16208570" y="3537172"/>
                <a:ext cx="3258" cy="2733"/>
              </a:xfrm>
              <a:custGeom>
                <a:avLst/>
                <a:gdLst>
                  <a:gd name="connsiteX0" fmla="*/ -981 w 3258"/>
                  <a:gd name="connsiteY0" fmla="*/ -539 h 2733"/>
                  <a:gd name="connsiteX1" fmla="*/ 2277 w 3258"/>
                  <a:gd name="connsiteY1" fmla="*/ 2195 h 2733"/>
                </a:gdLst>
                <a:ahLst/>
                <a:cxnLst>
                  <a:cxn ang="0">
                    <a:pos x="connsiteX0" y="connsiteY0"/>
                  </a:cxn>
                  <a:cxn ang="0">
                    <a:pos x="connsiteX1" y="connsiteY1"/>
                  </a:cxn>
                </a:cxnLst>
                <a:rect l="l" t="t" r="r" b="b"/>
                <a:pathLst>
                  <a:path w="3258" h="2733">
                    <a:moveTo>
                      <a:pt x="-981" y="-539"/>
                    </a:moveTo>
                    <a:lnTo>
                      <a:pt x="2277" y="2195"/>
                    </a:lnTo>
                    <a:close/>
                  </a:path>
                </a:pathLst>
              </a:custGeom>
              <a:solidFill>
                <a:srgbClr val="DBDEE5"/>
              </a:solidFill>
              <a:ln w="2907" cap="flat">
                <a:noFill/>
                <a:prstDash val="solid"/>
                <a:miter/>
              </a:ln>
            </p:spPr>
            <p:txBody>
              <a:bodyPr rtlCol="0" anchor="ctr"/>
              <a:lstStyle/>
              <a:p>
                <a:endParaRPr lang="en-US" sz="800"/>
              </a:p>
            </p:txBody>
          </p:sp>
          <p:sp>
            <p:nvSpPr>
              <p:cNvPr id="741" name="Graphic 38">
                <a:extLst>
                  <a:ext uri="{FF2B5EF4-FFF2-40B4-BE49-F238E27FC236}">
                    <a16:creationId xmlns:a16="http://schemas.microsoft.com/office/drawing/2014/main" id="{CF175147-0B99-8AB5-9577-ABA4068EBE13}"/>
                  </a:ext>
                </a:extLst>
              </p:cNvPr>
              <p:cNvSpPr/>
              <p:nvPr/>
            </p:nvSpPr>
            <p:spPr>
              <a:xfrm>
                <a:off x="16211858" y="3540081"/>
                <a:ext cx="3548" cy="2588"/>
              </a:xfrm>
              <a:custGeom>
                <a:avLst/>
                <a:gdLst>
                  <a:gd name="connsiteX0" fmla="*/ -981 w 3548"/>
                  <a:gd name="connsiteY0" fmla="*/ -539 h 2588"/>
                  <a:gd name="connsiteX1" fmla="*/ 2567 w 3548"/>
                  <a:gd name="connsiteY1" fmla="*/ 2050 h 2588"/>
                </a:gdLst>
                <a:ahLst/>
                <a:cxnLst>
                  <a:cxn ang="0">
                    <a:pos x="connsiteX0" y="connsiteY0"/>
                  </a:cxn>
                  <a:cxn ang="0">
                    <a:pos x="connsiteX1" y="connsiteY1"/>
                  </a:cxn>
                </a:cxnLst>
                <a:rect l="l" t="t" r="r" b="b"/>
                <a:pathLst>
                  <a:path w="3548" h="2588">
                    <a:moveTo>
                      <a:pt x="-981" y="-539"/>
                    </a:moveTo>
                    <a:lnTo>
                      <a:pt x="2567" y="2050"/>
                    </a:lnTo>
                    <a:close/>
                  </a:path>
                </a:pathLst>
              </a:custGeom>
              <a:solidFill>
                <a:srgbClr val="DBDEE5"/>
              </a:solidFill>
              <a:ln w="2907" cap="flat">
                <a:noFill/>
                <a:prstDash val="solid"/>
                <a:miter/>
              </a:ln>
            </p:spPr>
            <p:txBody>
              <a:bodyPr rtlCol="0" anchor="ctr"/>
              <a:lstStyle/>
              <a:p>
                <a:endParaRPr lang="en-US" sz="800"/>
              </a:p>
            </p:txBody>
          </p:sp>
          <p:sp>
            <p:nvSpPr>
              <p:cNvPr id="742" name="Graphic 38">
                <a:extLst>
                  <a:ext uri="{FF2B5EF4-FFF2-40B4-BE49-F238E27FC236}">
                    <a16:creationId xmlns:a16="http://schemas.microsoft.com/office/drawing/2014/main" id="{67743421-0B4E-BEB2-580D-910AEC145921}"/>
                  </a:ext>
                </a:extLst>
              </p:cNvPr>
              <p:cNvSpPr/>
              <p:nvPr/>
            </p:nvSpPr>
            <p:spPr>
              <a:xfrm>
                <a:off x="14833977" y="3536445"/>
                <a:ext cx="406313" cy="13029"/>
              </a:xfrm>
              <a:custGeom>
                <a:avLst/>
                <a:gdLst>
                  <a:gd name="connsiteX0" fmla="*/ 405332 w 406313"/>
                  <a:gd name="connsiteY0" fmla="*/ 188 h 13029"/>
                  <a:gd name="connsiteX1" fmla="*/ 377755 w 406313"/>
                  <a:gd name="connsiteY1" fmla="*/ 12404 h 13029"/>
                  <a:gd name="connsiteX2" fmla="*/ 14698 w 406313"/>
                  <a:gd name="connsiteY2" fmla="*/ 12404 h 13029"/>
                  <a:gd name="connsiteX3" fmla="*/ -981 w 406313"/>
                  <a:gd name="connsiteY3" fmla="*/ 6907 h 13029"/>
                  <a:gd name="connsiteX4" fmla="*/ -341 w 406313"/>
                  <a:gd name="connsiteY4" fmla="*/ 6122 h 13029"/>
                  <a:gd name="connsiteX5" fmla="*/ 17112 w 406313"/>
                  <a:gd name="connsiteY5" fmla="*/ 6849 h 13029"/>
                  <a:gd name="connsiteX6" fmla="*/ 373218 w 406313"/>
                  <a:gd name="connsiteY6" fmla="*/ 7052 h 13029"/>
                  <a:gd name="connsiteX7" fmla="*/ 404750 w 406313"/>
                  <a:gd name="connsiteY7" fmla="*/ -539 h 13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313" h="13029">
                    <a:moveTo>
                      <a:pt x="405332" y="188"/>
                    </a:moveTo>
                    <a:cubicBezTo>
                      <a:pt x="398729" y="10106"/>
                      <a:pt x="388519" y="12374"/>
                      <a:pt x="377755" y="12404"/>
                    </a:cubicBezTo>
                    <a:cubicBezTo>
                      <a:pt x="256746" y="12520"/>
                      <a:pt x="135736" y="12520"/>
                      <a:pt x="14698" y="12404"/>
                    </a:cubicBezTo>
                    <a:cubicBezTo>
                      <a:pt x="8880" y="12404"/>
                      <a:pt x="3062" y="12025"/>
                      <a:pt x="-981" y="6907"/>
                    </a:cubicBezTo>
                    <a:lnTo>
                      <a:pt x="-341" y="6122"/>
                    </a:lnTo>
                    <a:cubicBezTo>
                      <a:pt x="5477" y="6383"/>
                      <a:pt x="11294" y="6849"/>
                      <a:pt x="17112" y="6849"/>
                    </a:cubicBezTo>
                    <a:cubicBezTo>
                      <a:pt x="135794" y="6849"/>
                      <a:pt x="254506" y="6907"/>
                      <a:pt x="373218" y="7052"/>
                    </a:cubicBezTo>
                    <a:cubicBezTo>
                      <a:pt x="384620" y="7052"/>
                      <a:pt x="395064" y="5511"/>
                      <a:pt x="404750" y="-539"/>
                    </a:cubicBezTo>
                    <a:close/>
                  </a:path>
                </a:pathLst>
              </a:custGeom>
              <a:solidFill>
                <a:srgbClr val="EBECF1"/>
              </a:solidFill>
              <a:ln w="2907" cap="flat">
                <a:noFill/>
                <a:prstDash val="solid"/>
                <a:miter/>
              </a:ln>
            </p:spPr>
            <p:txBody>
              <a:bodyPr rtlCol="0" anchor="ctr"/>
              <a:lstStyle/>
              <a:p>
                <a:endParaRPr lang="en-US" sz="800"/>
              </a:p>
            </p:txBody>
          </p:sp>
          <p:sp>
            <p:nvSpPr>
              <p:cNvPr id="743" name="Graphic 38">
                <a:extLst>
                  <a:ext uri="{FF2B5EF4-FFF2-40B4-BE49-F238E27FC236}">
                    <a16:creationId xmlns:a16="http://schemas.microsoft.com/office/drawing/2014/main" id="{49CD5EEC-CB78-2E85-F5A9-F62D9ACF7136}"/>
                  </a:ext>
                </a:extLst>
              </p:cNvPr>
              <p:cNvSpPr/>
              <p:nvPr/>
            </p:nvSpPr>
            <p:spPr>
              <a:xfrm>
                <a:off x="15242588" y="3517802"/>
                <a:ext cx="6791" cy="16519"/>
              </a:xfrm>
              <a:custGeom>
                <a:avLst/>
                <a:gdLst>
                  <a:gd name="connsiteX0" fmla="*/ 4080 w 6791"/>
                  <a:gd name="connsiteY0" fmla="*/ -335 h 16519"/>
                  <a:gd name="connsiteX1" fmla="*/ 5651 w 6791"/>
                  <a:gd name="connsiteY1" fmla="*/ -539 h 16519"/>
                  <a:gd name="connsiteX2" fmla="*/ -428 w 6791"/>
                  <a:gd name="connsiteY2" fmla="*/ 15981 h 16519"/>
                  <a:gd name="connsiteX3" fmla="*/ -981 w 6791"/>
                  <a:gd name="connsiteY3" fmla="*/ 14760 h 16519"/>
                </a:gdLst>
                <a:ahLst/>
                <a:cxnLst>
                  <a:cxn ang="0">
                    <a:pos x="connsiteX0" y="connsiteY0"/>
                  </a:cxn>
                  <a:cxn ang="0">
                    <a:pos x="connsiteX1" y="connsiteY1"/>
                  </a:cxn>
                  <a:cxn ang="0">
                    <a:pos x="connsiteX2" y="connsiteY2"/>
                  </a:cxn>
                  <a:cxn ang="0">
                    <a:pos x="connsiteX3" y="connsiteY3"/>
                  </a:cxn>
                </a:cxnLst>
                <a:rect l="l" t="t" r="r" b="b"/>
                <a:pathLst>
                  <a:path w="6791" h="16519">
                    <a:moveTo>
                      <a:pt x="4080" y="-335"/>
                    </a:moveTo>
                    <a:lnTo>
                      <a:pt x="5651" y="-539"/>
                    </a:lnTo>
                    <a:cubicBezTo>
                      <a:pt x="6146" y="5889"/>
                      <a:pt x="5826" y="12026"/>
                      <a:pt x="-428" y="15981"/>
                    </a:cubicBezTo>
                    <a:lnTo>
                      <a:pt x="-981" y="14760"/>
                    </a:lnTo>
                    <a:close/>
                  </a:path>
                </a:pathLst>
              </a:custGeom>
              <a:solidFill>
                <a:srgbClr val="DBDEE5"/>
              </a:solidFill>
              <a:ln w="2907" cap="flat">
                <a:noFill/>
                <a:prstDash val="solid"/>
                <a:miter/>
              </a:ln>
            </p:spPr>
            <p:txBody>
              <a:bodyPr rtlCol="0" anchor="ctr"/>
              <a:lstStyle/>
              <a:p>
                <a:endParaRPr lang="en-US" sz="800"/>
              </a:p>
            </p:txBody>
          </p:sp>
          <p:sp>
            <p:nvSpPr>
              <p:cNvPr id="744" name="Graphic 38">
                <a:extLst>
                  <a:ext uri="{FF2B5EF4-FFF2-40B4-BE49-F238E27FC236}">
                    <a16:creationId xmlns:a16="http://schemas.microsoft.com/office/drawing/2014/main" id="{CE799079-3941-4017-8627-051D6756431D}"/>
                  </a:ext>
                </a:extLst>
              </p:cNvPr>
              <p:cNvSpPr/>
              <p:nvPr/>
            </p:nvSpPr>
            <p:spPr>
              <a:xfrm>
                <a:off x="14821586" y="3536649"/>
                <a:ext cx="13031" cy="7474"/>
              </a:xfrm>
              <a:custGeom>
                <a:avLst/>
                <a:gdLst>
                  <a:gd name="connsiteX0" fmla="*/ 11410 w 13031"/>
                  <a:gd name="connsiteY0" fmla="*/ 6936 h 7474"/>
                  <a:gd name="connsiteX1" fmla="*/ -981 w 13031"/>
                  <a:gd name="connsiteY1" fmla="*/ 72 h 7474"/>
                  <a:gd name="connsiteX2" fmla="*/ -312 w 13031"/>
                  <a:gd name="connsiteY2" fmla="*/ -539 h 7474"/>
                  <a:gd name="connsiteX3" fmla="*/ 12050 w 13031"/>
                  <a:gd name="connsiteY3" fmla="*/ 6151 h 7474"/>
                </a:gdLst>
                <a:ahLst/>
                <a:cxnLst>
                  <a:cxn ang="0">
                    <a:pos x="connsiteX0" y="connsiteY0"/>
                  </a:cxn>
                  <a:cxn ang="0">
                    <a:pos x="connsiteX1" y="connsiteY1"/>
                  </a:cxn>
                  <a:cxn ang="0">
                    <a:pos x="connsiteX2" y="connsiteY2"/>
                  </a:cxn>
                  <a:cxn ang="0">
                    <a:pos x="connsiteX3" y="connsiteY3"/>
                  </a:cxn>
                </a:cxnLst>
                <a:rect l="l" t="t" r="r" b="b"/>
                <a:pathLst>
                  <a:path w="13031" h="7474">
                    <a:moveTo>
                      <a:pt x="11410" y="6936"/>
                    </a:moveTo>
                    <a:cubicBezTo>
                      <a:pt x="6349" y="6296"/>
                      <a:pt x="1695" y="4958"/>
                      <a:pt x="-981" y="72"/>
                    </a:cubicBezTo>
                    <a:lnTo>
                      <a:pt x="-312" y="-539"/>
                    </a:lnTo>
                    <a:lnTo>
                      <a:pt x="12050" y="6151"/>
                    </a:lnTo>
                    <a:close/>
                  </a:path>
                </a:pathLst>
              </a:custGeom>
              <a:solidFill>
                <a:srgbClr val="EBECF1"/>
              </a:solidFill>
              <a:ln w="2907" cap="flat">
                <a:noFill/>
                <a:prstDash val="solid"/>
                <a:miter/>
              </a:ln>
            </p:spPr>
            <p:txBody>
              <a:bodyPr rtlCol="0" anchor="ctr"/>
              <a:lstStyle/>
              <a:p>
                <a:endParaRPr lang="en-US" sz="800"/>
              </a:p>
            </p:txBody>
          </p:sp>
          <p:sp>
            <p:nvSpPr>
              <p:cNvPr id="745" name="Graphic 38">
                <a:extLst>
                  <a:ext uri="{FF2B5EF4-FFF2-40B4-BE49-F238E27FC236}">
                    <a16:creationId xmlns:a16="http://schemas.microsoft.com/office/drawing/2014/main" id="{B227A4E6-2D68-0430-63C2-FE377725A4F5}"/>
                  </a:ext>
                </a:extLst>
              </p:cNvPr>
              <p:cNvSpPr/>
              <p:nvPr/>
            </p:nvSpPr>
            <p:spPr>
              <a:xfrm>
                <a:off x="14818677" y="3533246"/>
                <a:ext cx="3723" cy="3926"/>
              </a:xfrm>
              <a:custGeom>
                <a:avLst/>
                <a:gdLst>
                  <a:gd name="connsiteX0" fmla="*/ 1928 w 3723"/>
                  <a:gd name="connsiteY0" fmla="*/ 3388 h 3926"/>
                  <a:gd name="connsiteX1" fmla="*/ -981 w 3723"/>
                  <a:gd name="connsiteY1" fmla="*/ 247 h 3926"/>
                  <a:gd name="connsiteX2" fmla="*/ -167 w 3723"/>
                  <a:gd name="connsiteY2" fmla="*/ -539 h 3926"/>
                  <a:gd name="connsiteX3" fmla="*/ 2742 w 3723"/>
                  <a:gd name="connsiteY3" fmla="*/ 2777 h 3926"/>
                </a:gdLst>
                <a:ahLst/>
                <a:cxnLst>
                  <a:cxn ang="0">
                    <a:pos x="connsiteX0" y="connsiteY0"/>
                  </a:cxn>
                  <a:cxn ang="0">
                    <a:pos x="connsiteX1" y="connsiteY1"/>
                  </a:cxn>
                  <a:cxn ang="0">
                    <a:pos x="connsiteX2" y="connsiteY2"/>
                  </a:cxn>
                  <a:cxn ang="0">
                    <a:pos x="connsiteX3" y="connsiteY3"/>
                  </a:cxn>
                </a:cxnLst>
                <a:rect l="l" t="t" r="r" b="b"/>
                <a:pathLst>
                  <a:path w="3723" h="3926">
                    <a:moveTo>
                      <a:pt x="1928" y="3388"/>
                    </a:moveTo>
                    <a:lnTo>
                      <a:pt x="-981" y="247"/>
                    </a:lnTo>
                    <a:lnTo>
                      <a:pt x="-167" y="-539"/>
                    </a:lnTo>
                    <a:lnTo>
                      <a:pt x="2742" y="2777"/>
                    </a:lnTo>
                    <a:close/>
                  </a:path>
                </a:pathLst>
              </a:custGeom>
              <a:solidFill>
                <a:srgbClr val="EBECF1"/>
              </a:solidFill>
              <a:ln w="2907" cap="flat">
                <a:noFill/>
                <a:prstDash val="solid"/>
                <a:miter/>
              </a:ln>
            </p:spPr>
            <p:txBody>
              <a:bodyPr rtlCol="0" anchor="ctr"/>
              <a:lstStyle/>
              <a:p>
                <a:endParaRPr lang="en-US" sz="800"/>
              </a:p>
            </p:txBody>
          </p:sp>
          <p:sp>
            <p:nvSpPr>
              <p:cNvPr id="746" name="Graphic 38">
                <a:extLst>
                  <a:ext uri="{FF2B5EF4-FFF2-40B4-BE49-F238E27FC236}">
                    <a16:creationId xmlns:a16="http://schemas.microsoft.com/office/drawing/2014/main" id="{C8360E96-13D1-1B46-F3E8-D9F7E9D7F314}"/>
                  </a:ext>
                </a:extLst>
              </p:cNvPr>
              <p:cNvSpPr/>
              <p:nvPr/>
            </p:nvSpPr>
            <p:spPr>
              <a:xfrm>
                <a:off x="15239592" y="3532985"/>
                <a:ext cx="3549" cy="4187"/>
              </a:xfrm>
              <a:custGeom>
                <a:avLst/>
                <a:gdLst>
                  <a:gd name="connsiteX0" fmla="*/ 2568 w 3549"/>
                  <a:gd name="connsiteY0" fmla="*/ 741 h 4187"/>
                  <a:gd name="connsiteX1" fmla="*/ -341 w 3549"/>
                  <a:gd name="connsiteY1" fmla="*/ 3649 h 4187"/>
                  <a:gd name="connsiteX2" fmla="*/ -981 w 3549"/>
                  <a:gd name="connsiteY2" fmla="*/ 3039 h 4187"/>
                  <a:gd name="connsiteX3" fmla="*/ 1928 w 3549"/>
                  <a:gd name="connsiteY3" fmla="*/ -539 h 4187"/>
                </a:gdLst>
                <a:ahLst/>
                <a:cxnLst>
                  <a:cxn ang="0">
                    <a:pos x="connsiteX0" y="connsiteY0"/>
                  </a:cxn>
                  <a:cxn ang="0">
                    <a:pos x="connsiteX1" y="connsiteY1"/>
                  </a:cxn>
                  <a:cxn ang="0">
                    <a:pos x="connsiteX2" y="connsiteY2"/>
                  </a:cxn>
                  <a:cxn ang="0">
                    <a:pos x="connsiteX3" y="connsiteY3"/>
                  </a:cxn>
                </a:cxnLst>
                <a:rect l="l" t="t" r="r" b="b"/>
                <a:pathLst>
                  <a:path w="3549" h="4187">
                    <a:moveTo>
                      <a:pt x="2568" y="741"/>
                    </a:moveTo>
                    <a:lnTo>
                      <a:pt x="-341" y="3649"/>
                    </a:lnTo>
                    <a:lnTo>
                      <a:pt x="-981" y="3039"/>
                    </a:lnTo>
                    <a:lnTo>
                      <a:pt x="1928" y="-539"/>
                    </a:lnTo>
                    <a:close/>
                  </a:path>
                </a:pathLst>
              </a:custGeom>
              <a:solidFill>
                <a:srgbClr val="EBECF1"/>
              </a:solidFill>
              <a:ln w="2907" cap="flat">
                <a:noFill/>
                <a:prstDash val="solid"/>
                <a:miter/>
              </a:ln>
            </p:spPr>
            <p:txBody>
              <a:bodyPr rtlCol="0" anchor="ctr"/>
              <a:lstStyle/>
              <a:p>
                <a:endParaRPr lang="en-US" sz="800"/>
              </a:p>
            </p:txBody>
          </p:sp>
          <p:sp>
            <p:nvSpPr>
              <p:cNvPr id="747" name="Graphic 38">
                <a:extLst>
                  <a:ext uri="{FF2B5EF4-FFF2-40B4-BE49-F238E27FC236}">
                    <a16:creationId xmlns:a16="http://schemas.microsoft.com/office/drawing/2014/main" id="{5B9BAA6D-79C5-2C0F-7AA8-2CE5338C6041}"/>
                  </a:ext>
                </a:extLst>
              </p:cNvPr>
              <p:cNvSpPr/>
              <p:nvPr/>
            </p:nvSpPr>
            <p:spPr>
              <a:xfrm>
                <a:off x="16660698" y="2884903"/>
                <a:ext cx="434790" cy="347854"/>
              </a:xfrm>
              <a:custGeom>
                <a:avLst/>
                <a:gdLst>
                  <a:gd name="connsiteX0" fmla="*/ 433809 w 434790"/>
                  <a:gd name="connsiteY0" fmla="*/ 31224 h 347854"/>
                  <a:gd name="connsiteX1" fmla="*/ 392416 w 434790"/>
                  <a:gd name="connsiteY1" fmla="*/ -448 h 347854"/>
                  <a:gd name="connsiteX2" fmla="*/ 147838 w 434790"/>
                  <a:gd name="connsiteY2" fmla="*/ -448 h 347854"/>
                  <a:gd name="connsiteX3" fmla="*/ 31104 w 434790"/>
                  <a:gd name="connsiteY3" fmla="*/ -448 h 347854"/>
                  <a:gd name="connsiteX4" fmla="*/ 1026 w 434790"/>
                  <a:gd name="connsiteY4" fmla="*/ 31166 h 347854"/>
                  <a:gd name="connsiteX5" fmla="*/ -632 w 434790"/>
                  <a:gd name="connsiteY5" fmla="*/ 31166 h 347854"/>
                  <a:gd name="connsiteX6" fmla="*/ -632 w 434790"/>
                  <a:gd name="connsiteY6" fmla="*/ 104080 h 347854"/>
                  <a:gd name="connsiteX7" fmla="*/ -836 w 434790"/>
                  <a:gd name="connsiteY7" fmla="*/ 110217 h 347854"/>
                  <a:gd name="connsiteX8" fmla="*/ -981 w 434790"/>
                  <a:gd name="connsiteY8" fmla="*/ 230391 h 347854"/>
                  <a:gd name="connsiteX9" fmla="*/ -981 w 434790"/>
                  <a:gd name="connsiteY9" fmla="*/ 239989 h 347854"/>
                  <a:gd name="connsiteX10" fmla="*/ -109 w 434790"/>
                  <a:gd name="connsiteY10" fmla="*/ 312699 h 347854"/>
                  <a:gd name="connsiteX11" fmla="*/ 33722 w 434790"/>
                  <a:gd name="connsiteY11" fmla="*/ 347164 h 347854"/>
                  <a:gd name="connsiteX12" fmla="*/ 400241 w 434790"/>
                  <a:gd name="connsiteY12" fmla="*/ 347164 h 347854"/>
                  <a:gd name="connsiteX13" fmla="*/ 430406 w 434790"/>
                  <a:gd name="connsiteY13" fmla="*/ 325292 h 347854"/>
                  <a:gd name="connsiteX14" fmla="*/ 430144 w 434790"/>
                  <a:gd name="connsiteY14" fmla="*/ 321977 h 347854"/>
                  <a:gd name="connsiteX15" fmla="*/ 429854 w 434790"/>
                  <a:gd name="connsiteY15" fmla="*/ 53183 h 347854"/>
                  <a:gd name="connsiteX16" fmla="*/ 430144 w 434790"/>
                  <a:gd name="connsiteY16" fmla="*/ 321948 h 347854"/>
                  <a:gd name="connsiteX17" fmla="*/ 432442 w 434790"/>
                  <a:gd name="connsiteY17" fmla="*/ 321948 h 347854"/>
                  <a:gd name="connsiteX18" fmla="*/ 432646 w 434790"/>
                  <a:gd name="connsiteY18" fmla="*/ 321744 h 347854"/>
                  <a:gd name="connsiteX19" fmla="*/ 432646 w 434790"/>
                  <a:gd name="connsiteY19" fmla="*/ 228676 h 347854"/>
                  <a:gd name="connsiteX20" fmla="*/ 433809 w 434790"/>
                  <a:gd name="connsiteY20" fmla="*/ 31224 h 347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4790" h="347854">
                    <a:moveTo>
                      <a:pt x="433809" y="31224"/>
                    </a:moveTo>
                    <a:cubicBezTo>
                      <a:pt x="426014" y="2548"/>
                      <a:pt x="422174" y="-448"/>
                      <a:pt x="392416" y="-448"/>
                    </a:cubicBezTo>
                    <a:lnTo>
                      <a:pt x="147838" y="-448"/>
                    </a:lnTo>
                    <a:cubicBezTo>
                      <a:pt x="108945" y="-448"/>
                      <a:pt x="70025" y="-652"/>
                      <a:pt x="31104" y="-448"/>
                    </a:cubicBezTo>
                    <a:cubicBezTo>
                      <a:pt x="11207" y="-274"/>
                      <a:pt x="212" y="11738"/>
                      <a:pt x="1026" y="31166"/>
                    </a:cubicBezTo>
                    <a:cubicBezTo>
                      <a:pt x="473" y="31283"/>
                      <a:pt x="-79" y="31283"/>
                      <a:pt x="-632" y="31166"/>
                    </a:cubicBezTo>
                    <a:lnTo>
                      <a:pt x="-632" y="104080"/>
                    </a:lnTo>
                    <a:cubicBezTo>
                      <a:pt x="-632" y="106145"/>
                      <a:pt x="-778" y="108180"/>
                      <a:pt x="-836" y="110217"/>
                    </a:cubicBezTo>
                    <a:cubicBezTo>
                      <a:pt x="386" y="150294"/>
                      <a:pt x="677" y="190343"/>
                      <a:pt x="-981" y="230391"/>
                    </a:cubicBezTo>
                    <a:cubicBezTo>
                      <a:pt x="-981" y="233591"/>
                      <a:pt x="-981" y="236790"/>
                      <a:pt x="-981" y="239989"/>
                    </a:cubicBezTo>
                    <a:cubicBezTo>
                      <a:pt x="-719" y="264187"/>
                      <a:pt x="-515" y="288385"/>
                      <a:pt x="-109" y="312699"/>
                    </a:cubicBezTo>
                    <a:cubicBezTo>
                      <a:pt x="241" y="335501"/>
                      <a:pt x="11178" y="347134"/>
                      <a:pt x="33722" y="347164"/>
                    </a:cubicBezTo>
                    <a:cubicBezTo>
                      <a:pt x="155895" y="347367"/>
                      <a:pt x="278068" y="347367"/>
                      <a:pt x="400241" y="347164"/>
                    </a:cubicBezTo>
                    <a:cubicBezTo>
                      <a:pt x="414960" y="347164"/>
                      <a:pt x="427149" y="341928"/>
                      <a:pt x="430406" y="325292"/>
                    </a:cubicBezTo>
                    <a:lnTo>
                      <a:pt x="430144" y="321977"/>
                    </a:lnTo>
                    <a:cubicBezTo>
                      <a:pt x="430144" y="232369"/>
                      <a:pt x="430057" y="142761"/>
                      <a:pt x="429854" y="53183"/>
                    </a:cubicBezTo>
                    <a:cubicBezTo>
                      <a:pt x="429970" y="142761"/>
                      <a:pt x="430057" y="232340"/>
                      <a:pt x="430144" y="321948"/>
                    </a:cubicBezTo>
                    <a:cubicBezTo>
                      <a:pt x="430900" y="321860"/>
                      <a:pt x="431686" y="321860"/>
                      <a:pt x="432442" y="321948"/>
                    </a:cubicBezTo>
                    <a:lnTo>
                      <a:pt x="432646" y="321744"/>
                    </a:lnTo>
                    <a:cubicBezTo>
                      <a:pt x="432646" y="290682"/>
                      <a:pt x="432646" y="259592"/>
                      <a:pt x="432646" y="228676"/>
                    </a:cubicBezTo>
                    <a:cubicBezTo>
                      <a:pt x="433111" y="162858"/>
                      <a:pt x="433490" y="97041"/>
                      <a:pt x="433809" y="31224"/>
                    </a:cubicBezTo>
                    <a:close/>
                  </a:path>
                </a:pathLst>
              </a:custGeom>
              <a:solidFill>
                <a:schemeClr val="bg1">
                  <a:lumMod val="50000"/>
                </a:schemeClr>
              </a:solidFill>
              <a:ln w="2907" cap="flat">
                <a:noFill/>
                <a:prstDash val="solid"/>
                <a:miter/>
              </a:ln>
            </p:spPr>
            <p:txBody>
              <a:bodyPr rtlCol="0" anchor="ctr"/>
              <a:lstStyle/>
              <a:p>
                <a:endParaRPr lang="en-US" sz="800"/>
              </a:p>
            </p:txBody>
          </p:sp>
          <p:sp>
            <p:nvSpPr>
              <p:cNvPr id="748" name="Graphic 38">
                <a:extLst>
                  <a:ext uri="{FF2B5EF4-FFF2-40B4-BE49-F238E27FC236}">
                    <a16:creationId xmlns:a16="http://schemas.microsoft.com/office/drawing/2014/main" id="{D3E7DCF4-50A2-2C1E-845F-4FCA041E830E}"/>
                  </a:ext>
                </a:extLst>
              </p:cNvPr>
              <p:cNvSpPr/>
              <p:nvPr/>
            </p:nvSpPr>
            <p:spPr>
              <a:xfrm>
                <a:off x="16648289" y="2916811"/>
                <a:ext cx="12641" cy="73045"/>
              </a:xfrm>
              <a:custGeom>
                <a:avLst/>
                <a:gdLst>
                  <a:gd name="connsiteX0" fmla="*/ 11661 w 12641"/>
                  <a:gd name="connsiteY0" fmla="*/ -539 h 73045"/>
                  <a:gd name="connsiteX1" fmla="*/ 11661 w 12641"/>
                  <a:gd name="connsiteY1" fmla="*/ 72375 h 73045"/>
                  <a:gd name="connsiteX2" fmla="*/ -964 w 12641"/>
                  <a:gd name="connsiteY2" fmla="*/ 59578 h 73045"/>
                  <a:gd name="connsiteX3" fmla="*/ -557 w 12641"/>
                  <a:gd name="connsiteY3" fmla="*/ -15 h 73045"/>
                </a:gdLst>
                <a:ahLst/>
                <a:cxnLst>
                  <a:cxn ang="0">
                    <a:pos x="connsiteX0" y="connsiteY0"/>
                  </a:cxn>
                  <a:cxn ang="0">
                    <a:pos x="connsiteX1" y="connsiteY1"/>
                  </a:cxn>
                  <a:cxn ang="0">
                    <a:pos x="connsiteX2" y="connsiteY2"/>
                  </a:cxn>
                  <a:cxn ang="0">
                    <a:pos x="connsiteX3" y="connsiteY3"/>
                  </a:cxn>
                </a:cxnLst>
                <a:rect l="l" t="t" r="r" b="b"/>
                <a:pathLst>
                  <a:path w="12641" h="73045">
                    <a:moveTo>
                      <a:pt x="11661" y="-539"/>
                    </a:moveTo>
                    <a:lnTo>
                      <a:pt x="11661" y="72375"/>
                    </a:lnTo>
                    <a:cubicBezTo>
                      <a:pt x="2119" y="73335"/>
                      <a:pt x="-1255" y="69030"/>
                      <a:pt x="-964" y="59578"/>
                    </a:cubicBezTo>
                    <a:cubicBezTo>
                      <a:pt x="-382" y="39743"/>
                      <a:pt x="-644" y="19849"/>
                      <a:pt x="-557" y="-15"/>
                    </a:cubicBezTo>
                    <a:close/>
                  </a:path>
                </a:pathLst>
              </a:custGeom>
              <a:solidFill>
                <a:srgbClr val="F4F5F7"/>
              </a:solidFill>
              <a:ln w="2907" cap="flat">
                <a:noFill/>
                <a:prstDash val="solid"/>
                <a:miter/>
              </a:ln>
            </p:spPr>
            <p:txBody>
              <a:bodyPr rtlCol="0" anchor="ctr"/>
              <a:lstStyle/>
              <a:p>
                <a:endParaRPr lang="en-US" sz="800"/>
              </a:p>
            </p:txBody>
          </p:sp>
          <p:sp>
            <p:nvSpPr>
              <p:cNvPr id="749" name="Graphic 38">
                <a:extLst>
                  <a:ext uri="{FF2B5EF4-FFF2-40B4-BE49-F238E27FC236}">
                    <a16:creationId xmlns:a16="http://schemas.microsoft.com/office/drawing/2014/main" id="{3973E23A-B466-CCD7-7E6E-328A73B028FD}"/>
                  </a:ext>
                </a:extLst>
              </p:cNvPr>
              <p:cNvSpPr/>
              <p:nvPr/>
            </p:nvSpPr>
            <p:spPr>
              <a:xfrm>
                <a:off x="16198913" y="3125867"/>
                <a:ext cx="2884" cy="119709"/>
              </a:xfrm>
              <a:custGeom>
                <a:avLst/>
                <a:gdLst>
                  <a:gd name="connsiteX0" fmla="*/ -981 w 2884"/>
                  <a:gd name="connsiteY0" fmla="*/ 119171 h 119709"/>
                  <a:gd name="connsiteX1" fmla="*/ -981 w 2884"/>
                  <a:gd name="connsiteY1" fmla="*/ -539 h 119709"/>
                  <a:gd name="connsiteX2" fmla="*/ 968 w 2884"/>
                  <a:gd name="connsiteY2" fmla="*/ 85201 h 119709"/>
                  <a:gd name="connsiteX3" fmla="*/ -981 w 2884"/>
                  <a:gd name="connsiteY3" fmla="*/ 119171 h 119709"/>
                </a:gdLst>
                <a:ahLst/>
                <a:cxnLst>
                  <a:cxn ang="0">
                    <a:pos x="connsiteX0" y="connsiteY0"/>
                  </a:cxn>
                  <a:cxn ang="0">
                    <a:pos x="connsiteX1" y="connsiteY1"/>
                  </a:cxn>
                  <a:cxn ang="0">
                    <a:pos x="connsiteX2" y="connsiteY2"/>
                  </a:cxn>
                  <a:cxn ang="0">
                    <a:pos x="connsiteX3" y="connsiteY3"/>
                  </a:cxn>
                </a:cxnLst>
                <a:rect l="l" t="t" r="r" b="b"/>
                <a:pathLst>
                  <a:path w="2884" h="119709">
                    <a:moveTo>
                      <a:pt x="-981" y="119171"/>
                    </a:moveTo>
                    <a:lnTo>
                      <a:pt x="-981" y="-539"/>
                    </a:lnTo>
                    <a:cubicBezTo>
                      <a:pt x="4022" y="27935"/>
                      <a:pt x="299" y="56641"/>
                      <a:pt x="968" y="85201"/>
                    </a:cubicBezTo>
                    <a:cubicBezTo>
                      <a:pt x="1433" y="96485"/>
                      <a:pt x="3644" y="108119"/>
                      <a:pt x="-981" y="119171"/>
                    </a:cubicBezTo>
                    <a:close/>
                  </a:path>
                </a:pathLst>
              </a:custGeom>
              <a:solidFill>
                <a:srgbClr val="DBDEE5"/>
              </a:solidFill>
              <a:ln w="2907" cap="flat">
                <a:noFill/>
                <a:prstDash val="solid"/>
                <a:miter/>
              </a:ln>
            </p:spPr>
            <p:txBody>
              <a:bodyPr rtlCol="0" anchor="ctr"/>
              <a:lstStyle/>
              <a:p>
                <a:endParaRPr lang="en-US" sz="800"/>
              </a:p>
            </p:txBody>
          </p:sp>
          <p:sp>
            <p:nvSpPr>
              <p:cNvPr id="750" name="Graphic 38">
                <a:extLst>
                  <a:ext uri="{FF2B5EF4-FFF2-40B4-BE49-F238E27FC236}">
                    <a16:creationId xmlns:a16="http://schemas.microsoft.com/office/drawing/2014/main" id="{0AFD1D69-364A-EA28-1C59-B139494E38CB}"/>
                  </a:ext>
                </a:extLst>
              </p:cNvPr>
              <p:cNvSpPr/>
              <p:nvPr/>
            </p:nvSpPr>
            <p:spPr>
              <a:xfrm>
                <a:off x="16198794" y="3011858"/>
                <a:ext cx="4016" cy="104120"/>
              </a:xfrm>
              <a:custGeom>
                <a:avLst/>
                <a:gdLst>
                  <a:gd name="connsiteX0" fmla="*/ -688 w 4016"/>
                  <a:gd name="connsiteY0" fmla="*/ 103582 h 104120"/>
                  <a:gd name="connsiteX1" fmla="*/ -834 w 4016"/>
                  <a:gd name="connsiteY1" fmla="*/ 14003 h 104120"/>
                  <a:gd name="connsiteX2" fmla="*/ 3035 w 4016"/>
                  <a:gd name="connsiteY2" fmla="*/ -539 h 104120"/>
                  <a:gd name="connsiteX3" fmla="*/ 1348 w 4016"/>
                  <a:gd name="connsiteY3" fmla="*/ 85201 h 104120"/>
                  <a:gd name="connsiteX4" fmla="*/ -688 w 4016"/>
                  <a:gd name="connsiteY4" fmla="*/ 103582 h 104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6" h="104120">
                    <a:moveTo>
                      <a:pt x="-688" y="103582"/>
                    </a:moveTo>
                    <a:cubicBezTo>
                      <a:pt x="-688" y="73713"/>
                      <a:pt x="-892" y="43844"/>
                      <a:pt x="-834" y="14003"/>
                    </a:cubicBezTo>
                    <a:cubicBezTo>
                      <a:pt x="-834" y="8943"/>
                      <a:pt x="-2143" y="3300"/>
                      <a:pt x="3035" y="-539"/>
                    </a:cubicBezTo>
                    <a:cubicBezTo>
                      <a:pt x="-397" y="27993"/>
                      <a:pt x="2250" y="56641"/>
                      <a:pt x="1348" y="85201"/>
                    </a:cubicBezTo>
                    <a:cubicBezTo>
                      <a:pt x="1145" y="91425"/>
                      <a:pt x="2948" y="97823"/>
                      <a:pt x="-688" y="103582"/>
                    </a:cubicBezTo>
                    <a:close/>
                  </a:path>
                </a:pathLst>
              </a:custGeom>
              <a:solidFill>
                <a:srgbClr val="DBDEE5"/>
              </a:solidFill>
              <a:ln w="2907" cap="flat">
                <a:noFill/>
                <a:prstDash val="solid"/>
                <a:miter/>
              </a:ln>
            </p:spPr>
            <p:txBody>
              <a:bodyPr rtlCol="0" anchor="ctr"/>
              <a:lstStyle/>
              <a:p>
                <a:endParaRPr lang="en-US" sz="800"/>
              </a:p>
            </p:txBody>
          </p:sp>
          <p:sp>
            <p:nvSpPr>
              <p:cNvPr id="751" name="Graphic 38">
                <a:extLst>
                  <a:ext uri="{FF2B5EF4-FFF2-40B4-BE49-F238E27FC236}">
                    <a16:creationId xmlns:a16="http://schemas.microsoft.com/office/drawing/2014/main" id="{7A61DF39-83C4-4BF6-5374-9A9088F90177}"/>
                  </a:ext>
                </a:extLst>
              </p:cNvPr>
              <p:cNvSpPr/>
              <p:nvPr/>
            </p:nvSpPr>
            <p:spPr>
              <a:xfrm>
                <a:off x="16202694" y="3008571"/>
                <a:ext cx="2589" cy="3635"/>
              </a:xfrm>
              <a:custGeom>
                <a:avLst/>
                <a:gdLst>
                  <a:gd name="connsiteX0" fmla="*/ -981 w 2589"/>
                  <a:gd name="connsiteY0" fmla="*/ 3097 h 3635"/>
                  <a:gd name="connsiteX1" fmla="*/ 1608 w 2589"/>
                  <a:gd name="connsiteY1" fmla="*/ -539 h 3635"/>
                </a:gdLst>
                <a:ahLst/>
                <a:cxnLst>
                  <a:cxn ang="0">
                    <a:pos x="connsiteX0" y="connsiteY0"/>
                  </a:cxn>
                  <a:cxn ang="0">
                    <a:pos x="connsiteX1" y="connsiteY1"/>
                  </a:cxn>
                </a:cxnLst>
                <a:rect l="l" t="t" r="r" b="b"/>
                <a:pathLst>
                  <a:path w="2589" h="3635">
                    <a:moveTo>
                      <a:pt x="-981" y="3097"/>
                    </a:moveTo>
                    <a:lnTo>
                      <a:pt x="1608" y="-539"/>
                    </a:lnTo>
                    <a:close/>
                  </a:path>
                </a:pathLst>
              </a:custGeom>
              <a:solidFill>
                <a:srgbClr val="DBDEE5"/>
              </a:solidFill>
              <a:ln w="2907" cap="flat">
                <a:noFill/>
                <a:prstDash val="solid"/>
                <a:miter/>
              </a:ln>
            </p:spPr>
            <p:txBody>
              <a:bodyPr rtlCol="0" anchor="ctr"/>
              <a:lstStyle/>
              <a:p>
                <a:endParaRPr lang="en-US" sz="800"/>
              </a:p>
            </p:txBody>
          </p:sp>
          <p:sp>
            <p:nvSpPr>
              <p:cNvPr id="752" name="Graphic 38">
                <a:extLst>
                  <a:ext uri="{FF2B5EF4-FFF2-40B4-BE49-F238E27FC236}">
                    <a16:creationId xmlns:a16="http://schemas.microsoft.com/office/drawing/2014/main" id="{AB3AD8D3-7CFE-3ECA-5B7D-5E7502613151}"/>
                  </a:ext>
                </a:extLst>
              </p:cNvPr>
              <p:cNvSpPr/>
              <p:nvPr/>
            </p:nvSpPr>
            <p:spPr>
              <a:xfrm>
                <a:off x="16671170" y="2245495"/>
                <a:ext cx="12013" cy="6766"/>
              </a:xfrm>
              <a:custGeom>
                <a:avLst/>
                <a:gdLst>
                  <a:gd name="connsiteX0" fmla="*/ 11032 w 12013"/>
                  <a:gd name="connsiteY0" fmla="*/ 6093 h 6766"/>
                  <a:gd name="connsiteX1" fmla="*/ -981 w 12013"/>
                  <a:gd name="connsiteY1" fmla="*/ -539 h 6766"/>
                  <a:gd name="connsiteX2" fmla="*/ 11032 w 12013"/>
                  <a:gd name="connsiteY2" fmla="*/ 6093 h 6766"/>
                </a:gdLst>
                <a:ahLst/>
                <a:cxnLst>
                  <a:cxn ang="0">
                    <a:pos x="connsiteX0" y="connsiteY0"/>
                  </a:cxn>
                  <a:cxn ang="0">
                    <a:pos x="connsiteX1" y="connsiteY1"/>
                  </a:cxn>
                  <a:cxn ang="0">
                    <a:pos x="connsiteX2" y="connsiteY2"/>
                  </a:cxn>
                </a:cxnLst>
                <a:rect l="l" t="t" r="r" b="b"/>
                <a:pathLst>
                  <a:path w="12013" h="6766">
                    <a:moveTo>
                      <a:pt x="11032" y="6093"/>
                    </a:moveTo>
                    <a:cubicBezTo>
                      <a:pt x="5505" y="6674"/>
                      <a:pt x="880" y="5540"/>
                      <a:pt x="-981" y="-539"/>
                    </a:cubicBezTo>
                    <a:cubicBezTo>
                      <a:pt x="3760" y="-15"/>
                      <a:pt x="8065" y="2370"/>
                      <a:pt x="11032" y="6093"/>
                    </a:cubicBezTo>
                    <a:close/>
                  </a:path>
                </a:pathLst>
              </a:custGeom>
              <a:solidFill>
                <a:srgbClr val="DBDEE5"/>
              </a:solidFill>
              <a:ln w="2907" cap="flat">
                <a:noFill/>
                <a:prstDash val="solid"/>
                <a:miter/>
              </a:ln>
            </p:spPr>
            <p:txBody>
              <a:bodyPr rtlCol="0" anchor="ctr"/>
              <a:lstStyle/>
              <a:p>
                <a:endParaRPr lang="en-US" sz="800"/>
              </a:p>
            </p:txBody>
          </p:sp>
          <p:sp>
            <p:nvSpPr>
              <p:cNvPr id="753" name="Graphic 38">
                <a:extLst>
                  <a:ext uri="{FF2B5EF4-FFF2-40B4-BE49-F238E27FC236}">
                    <a16:creationId xmlns:a16="http://schemas.microsoft.com/office/drawing/2014/main" id="{BF6E56B3-44AF-29A0-B95B-F51BFAD84A59}"/>
                  </a:ext>
                </a:extLst>
              </p:cNvPr>
              <p:cNvSpPr/>
              <p:nvPr/>
            </p:nvSpPr>
            <p:spPr>
              <a:xfrm>
                <a:off x="17092337" y="2227696"/>
                <a:ext cx="3675" cy="8725"/>
              </a:xfrm>
              <a:custGeom>
                <a:avLst/>
                <a:gdLst>
                  <a:gd name="connsiteX0" fmla="*/ 1967 w 3675"/>
                  <a:gd name="connsiteY0" fmla="*/ -539 h 8725"/>
                  <a:gd name="connsiteX1" fmla="*/ 2695 w 3675"/>
                  <a:gd name="connsiteY1" fmla="*/ 5278 h 8725"/>
                  <a:gd name="connsiteX2" fmla="*/ -971 w 3675"/>
                  <a:gd name="connsiteY2" fmla="*/ 8187 h 8725"/>
                  <a:gd name="connsiteX3" fmla="*/ 1967 w 3675"/>
                  <a:gd name="connsiteY3" fmla="*/ -539 h 8725"/>
                </a:gdLst>
                <a:ahLst/>
                <a:cxnLst>
                  <a:cxn ang="0">
                    <a:pos x="connsiteX0" y="connsiteY0"/>
                  </a:cxn>
                  <a:cxn ang="0">
                    <a:pos x="connsiteX1" y="connsiteY1"/>
                  </a:cxn>
                  <a:cxn ang="0">
                    <a:pos x="connsiteX2" y="connsiteY2"/>
                  </a:cxn>
                  <a:cxn ang="0">
                    <a:pos x="connsiteX3" y="connsiteY3"/>
                  </a:cxn>
                </a:cxnLst>
                <a:rect l="l" t="t" r="r" b="b"/>
                <a:pathLst>
                  <a:path w="3675" h="8725">
                    <a:moveTo>
                      <a:pt x="1967" y="-539"/>
                    </a:moveTo>
                    <a:cubicBezTo>
                      <a:pt x="2200" y="1381"/>
                      <a:pt x="2433" y="3329"/>
                      <a:pt x="2695" y="5278"/>
                    </a:cubicBezTo>
                    <a:lnTo>
                      <a:pt x="-971" y="8187"/>
                    </a:lnTo>
                    <a:cubicBezTo>
                      <a:pt x="-971" y="4987"/>
                      <a:pt x="-1320" y="1614"/>
                      <a:pt x="1967" y="-539"/>
                    </a:cubicBezTo>
                    <a:close/>
                  </a:path>
                </a:pathLst>
              </a:custGeom>
              <a:solidFill>
                <a:srgbClr val="DBDEE5"/>
              </a:solidFill>
              <a:ln w="2907" cap="flat">
                <a:noFill/>
                <a:prstDash val="solid"/>
                <a:miter/>
              </a:ln>
            </p:spPr>
            <p:txBody>
              <a:bodyPr rtlCol="0" anchor="ctr"/>
              <a:lstStyle/>
              <a:p>
                <a:endParaRPr lang="en-US" sz="800"/>
              </a:p>
            </p:txBody>
          </p:sp>
          <p:sp>
            <p:nvSpPr>
              <p:cNvPr id="754" name="Graphic 38">
                <a:extLst>
                  <a:ext uri="{FF2B5EF4-FFF2-40B4-BE49-F238E27FC236}">
                    <a16:creationId xmlns:a16="http://schemas.microsoft.com/office/drawing/2014/main" id="{0B57530F-8B87-EFE5-35A0-56BB4D782F48}"/>
                  </a:ext>
                </a:extLst>
              </p:cNvPr>
              <p:cNvSpPr/>
              <p:nvPr/>
            </p:nvSpPr>
            <p:spPr>
              <a:xfrm>
                <a:off x="16668057" y="2242383"/>
                <a:ext cx="3200" cy="3228"/>
              </a:xfrm>
              <a:custGeom>
                <a:avLst/>
                <a:gdLst>
                  <a:gd name="connsiteX0" fmla="*/ 2219 w 3200"/>
                  <a:gd name="connsiteY0" fmla="*/ 2690 h 3228"/>
                  <a:gd name="connsiteX1" fmla="*/ -981 w 3200"/>
                  <a:gd name="connsiteY1" fmla="*/ -539 h 3228"/>
                </a:gdLst>
                <a:ahLst/>
                <a:cxnLst>
                  <a:cxn ang="0">
                    <a:pos x="connsiteX0" y="connsiteY0"/>
                  </a:cxn>
                  <a:cxn ang="0">
                    <a:pos x="connsiteX1" y="connsiteY1"/>
                  </a:cxn>
                </a:cxnLst>
                <a:rect l="l" t="t" r="r" b="b"/>
                <a:pathLst>
                  <a:path w="3200" h="3228">
                    <a:moveTo>
                      <a:pt x="2219" y="2690"/>
                    </a:moveTo>
                    <a:lnTo>
                      <a:pt x="-981" y="-539"/>
                    </a:lnTo>
                    <a:close/>
                  </a:path>
                </a:pathLst>
              </a:custGeom>
              <a:solidFill>
                <a:srgbClr val="DBDEE5"/>
              </a:solidFill>
              <a:ln w="2907" cap="flat">
                <a:noFill/>
                <a:prstDash val="solid"/>
                <a:miter/>
              </a:ln>
            </p:spPr>
            <p:txBody>
              <a:bodyPr rtlCol="0" anchor="ctr"/>
              <a:lstStyle/>
              <a:p>
                <a:endParaRPr lang="en-US" sz="800"/>
              </a:p>
            </p:txBody>
          </p:sp>
          <p:sp>
            <p:nvSpPr>
              <p:cNvPr id="755" name="Graphic 38">
                <a:extLst>
                  <a:ext uri="{FF2B5EF4-FFF2-40B4-BE49-F238E27FC236}">
                    <a16:creationId xmlns:a16="http://schemas.microsoft.com/office/drawing/2014/main" id="{B4E4347F-B02B-D8FB-AECF-86C965C882F3}"/>
                  </a:ext>
                </a:extLst>
              </p:cNvPr>
              <p:cNvSpPr/>
              <p:nvPr/>
            </p:nvSpPr>
            <p:spPr>
              <a:xfrm>
                <a:off x="16665032" y="1331822"/>
                <a:ext cx="2908" cy="3693"/>
              </a:xfrm>
              <a:custGeom>
                <a:avLst/>
                <a:gdLst>
                  <a:gd name="connsiteX0" fmla="*/ -981 w 2908"/>
                  <a:gd name="connsiteY0" fmla="*/ 3155 h 3693"/>
                  <a:gd name="connsiteX1" fmla="*/ 1928 w 2908"/>
                  <a:gd name="connsiteY1" fmla="*/ -539 h 3693"/>
                  <a:gd name="connsiteX2" fmla="*/ -981 w 2908"/>
                  <a:gd name="connsiteY2" fmla="*/ 3155 h 3693"/>
                </a:gdLst>
                <a:ahLst/>
                <a:cxnLst>
                  <a:cxn ang="0">
                    <a:pos x="connsiteX0" y="connsiteY0"/>
                  </a:cxn>
                  <a:cxn ang="0">
                    <a:pos x="connsiteX1" y="connsiteY1"/>
                  </a:cxn>
                  <a:cxn ang="0">
                    <a:pos x="connsiteX2" y="connsiteY2"/>
                  </a:cxn>
                </a:cxnLst>
                <a:rect l="l" t="t" r="r" b="b"/>
                <a:pathLst>
                  <a:path w="2908" h="3693">
                    <a:moveTo>
                      <a:pt x="-981" y="3155"/>
                    </a:moveTo>
                    <a:cubicBezTo>
                      <a:pt x="-50" y="1934"/>
                      <a:pt x="881" y="683"/>
                      <a:pt x="1928" y="-539"/>
                    </a:cubicBezTo>
                    <a:cubicBezTo>
                      <a:pt x="881" y="683"/>
                      <a:pt x="-50" y="1934"/>
                      <a:pt x="-981" y="3155"/>
                    </a:cubicBezTo>
                    <a:close/>
                  </a:path>
                </a:pathLst>
              </a:custGeom>
              <a:solidFill>
                <a:srgbClr val="DBDEE5"/>
              </a:solidFill>
              <a:ln w="2907" cap="flat">
                <a:noFill/>
                <a:prstDash val="solid"/>
                <a:miter/>
              </a:ln>
            </p:spPr>
            <p:txBody>
              <a:bodyPr rtlCol="0" anchor="ctr"/>
              <a:lstStyle/>
              <a:p>
                <a:endParaRPr lang="en-US" sz="800"/>
              </a:p>
            </p:txBody>
          </p:sp>
          <p:sp>
            <p:nvSpPr>
              <p:cNvPr id="756" name="Graphic 38">
                <a:extLst>
                  <a:ext uri="{FF2B5EF4-FFF2-40B4-BE49-F238E27FC236}">
                    <a16:creationId xmlns:a16="http://schemas.microsoft.com/office/drawing/2014/main" id="{75D5E3FA-1E95-20AF-F22B-23469C604E04}"/>
                  </a:ext>
                </a:extLst>
              </p:cNvPr>
              <p:cNvSpPr/>
              <p:nvPr/>
            </p:nvSpPr>
            <p:spPr>
              <a:xfrm>
                <a:off x="15242762" y="1614111"/>
                <a:ext cx="3840" cy="8405"/>
              </a:xfrm>
              <a:custGeom>
                <a:avLst/>
                <a:gdLst>
                  <a:gd name="connsiteX0" fmla="*/ 2859 w 3840"/>
                  <a:gd name="connsiteY0" fmla="*/ -539 h 8405"/>
                  <a:gd name="connsiteX1" fmla="*/ -981 w 3840"/>
                  <a:gd name="connsiteY1" fmla="*/ 7867 h 8405"/>
                  <a:gd name="connsiteX2" fmla="*/ 2859 w 3840"/>
                  <a:gd name="connsiteY2" fmla="*/ -539 h 8405"/>
                </a:gdLst>
                <a:ahLst/>
                <a:cxnLst>
                  <a:cxn ang="0">
                    <a:pos x="connsiteX0" y="connsiteY0"/>
                  </a:cxn>
                  <a:cxn ang="0">
                    <a:pos x="connsiteX1" y="connsiteY1"/>
                  </a:cxn>
                  <a:cxn ang="0">
                    <a:pos x="connsiteX2" y="connsiteY2"/>
                  </a:cxn>
                </a:cxnLst>
                <a:rect l="l" t="t" r="r" b="b"/>
                <a:pathLst>
                  <a:path w="3840" h="8405">
                    <a:moveTo>
                      <a:pt x="2859" y="-539"/>
                    </a:moveTo>
                    <a:cubicBezTo>
                      <a:pt x="2859" y="2777"/>
                      <a:pt x="2539" y="6063"/>
                      <a:pt x="-981" y="7867"/>
                    </a:cubicBezTo>
                    <a:cubicBezTo>
                      <a:pt x="-1010" y="4638"/>
                      <a:pt x="386" y="1555"/>
                      <a:pt x="2859" y="-539"/>
                    </a:cubicBezTo>
                    <a:close/>
                  </a:path>
                </a:pathLst>
              </a:custGeom>
              <a:solidFill>
                <a:srgbClr val="DBDEE5"/>
              </a:solidFill>
              <a:ln w="2907" cap="flat">
                <a:noFill/>
                <a:prstDash val="solid"/>
                <a:miter/>
              </a:ln>
            </p:spPr>
            <p:txBody>
              <a:bodyPr rtlCol="0" anchor="ctr"/>
              <a:lstStyle/>
              <a:p>
                <a:endParaRPr lang="en-US" sz="800"/>
              </a:p>
            </p:txBody>
          </p:sp>
          <p:sp>
            <p:nvSpPr>
              <p:cNvPr id="757" name="Graphic 38">
                <a:extLst>
                  <a:ext uri="{FF2B5EF4-FFF2-40B4-BE49-F238E27FC236}">
                    <a16:creationId xmlns:a16="http://schemas.microsoft.com/office/drawing/2014/main" id="{57204B02-499C-40A7-F032-1F12F0A4AB51}"/>
                  </a:ext>
                </a:extLst>
              </p:cNvPr>
              <p:cNvSpPr/>
              <p:nvPr/>
            </p:nvSpPr>
            <p:spPr>
              <a:xfrm>
                <a:off x="15244305" y="1261934"/>
                <a:ext cx="1861" cy="3199"/>
              </a:xfrm>
              <a:custGeom>
                <a:avLst/>
                <a:gdLst>
                  <a:gd name="connsiteX0" fmla="*/ -981 w 1861"/>
                  <a:gd name="connsiteY0" fmla="*/ -539 h 3199"/>
                  <a:gd name="connsiteX1" fmla="*/ 880 w 1861"/>
                  <a:gd name="connsiteY1" fmla="*/ 2661 h 3199"/>
                </a:gdLst>
                <a:ahLst/>
                <a:cxnLst>
                  <a:cxn ang="0">
                    <a:pos x="connsiteX0" y="connsiteY0"/>
                  </a:cxn>
                  <a:cxn ang="0">
                    <a:pos x="connsiteX1" y="connsiteY1"/>
                  </a:cxn>
                </a:cxnLst>
                <a:rect l="l" t="t" r="r" b="b"/>
                <a:pathLst>
                  <a:path w="1861" h="3199">
                    <a:moveTo>
                      <a:pt x="-981" y="-539"/>
                    </a:moveTo>
                    <a:lnTo>
                      <a:pt x="880" y="2661"/>
                    </a:lnTo>
                    <a:close/>
                  </a:path>
                </a:pathLst>
              </a:custGeom>
              <a:solidFill>
                <a:srgbClr val="DBDEE5"/>
              </a:solidFill>
              <a:ln w="2907" cap="flat">
                <a:noFill/>
                <a:prstDash val="solid"/>
                <a:miter/>
              </a:ln>
            </p:spPr>
            <p:txBody>
              <a:bodyPr rtlCol="0" anchor="ctr"/>
              <a:lstStyle/>
              <a:p>
                <a:endParaRPr lang="en-US" sz="800"/>
              </a:p>
            </p:txBody>
          </p:sp>
          <p:sp>
            <p:nvSpPr>
              <p:cNvPr id="758" name="Graphic 38">
                <a:extLst>
                  <a:ext uri="{FF2B5EF4-FFF2-40B4-BE49-F238E27FC236}">
                    <a16:creationId xmlns:a16="http://schemas.microsoft.com/office/drawing/2014/main" id="{34832C24-EC22-BB82-95B1-A998E45C81AD}"/>
                  </a:ext>
                </a:extLst>
              </p:cNvPr>
              <p:cNvSpPr/>
              <p:nvPr/>
            </p:nvSpPr>
            <p:spPr>
              <a:xfrm>
                <a:off x="16221456" y="1451678"/>
                <a:ext cx="395375" cy="5350"/>
              </a:xfrm>
              <a:custGeom>
                <a:avLst/>
                <a:gdLst>
                  <a:gd name="connsiteX0" fmla="*/ -981 w 395375"/>
                  <a:gd name="connsiteY0" fmla="*/ 2718 h 5350"/>
                  <a:gd name="connsiteX1" fmla="*/ 15542 w 395375"/>
                  <a:gd name="connsiteY1" fmla="*/ -190 h 5350"/>
                  <a:gd name="connsiteX2" fmla="*/ 375458 w 395375"/>
                  <a:gd name="connsiteY2" fmla="*/ -190 h 5350"/>
                  <a:gd name="connsiteX3" fmla="*/ 394395 w 395375"/>
                  <a:gd name="connsiteY3" fmla="*/ 4812 h 5350"/>
                  <a:gd name="connsiteX4" fmla="*/ 369261 w 395375"/>
                  <a:gd name="connsiteY4" fmla="*/ 3009 h 5350"/>
                  <a:gd name="connsiteX5" fmla="*/ -981 w 395375"/>
                  <a:gd name="connsiteY5" fmla="*/ 2718 h 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375" h="5350">
                    <a:moveTo>
                      <a:pt x="-981" y="2718"/>
                    </a:moveTo>
                    <a:cubicBezTo>
                      <a:pt x="3848" y="-2023"/>
                      <a:pt x="9956" y="-190"/>
                      <a:pt x="15542" y="-190"/>
                    </a:cubicBezTo>
                    <a:cubicBezTo>
                      <a:pt x="135504" y="-190"/>
                      <a:pt x="255466" y="-190"/>
                      <a:pt x="375458" y="-190"/>
                    </a:cubicBezTo>
                    <a:cubicBezTo>
                      <a:pt x="382119" y="-190"/>
                      <a:pt x="389391" y="-1761"/>
                      <a:pt x="394395" y="4812"/>
                    </a:cubicBezTo>
                    <a:cubicBezTo>
                      <a:pt x="386017" y="4172"/>
                      <a:pt x="377639" y="3038"/>
                      <a:pt x="369261" y="3009"/>
                    </a:cubicBezTo>
                    <a:cubicBezTo>
                      <a:pt x="245838" y="2814"/>
                      <a:pt x="122443" y="2718"/>
                      <a:pt x="-981" y="2718"/>
                    </a:cubicBezTo>
                    <a:close/>
                  </a:path>
                </a:pathLst>
              </a:custGeom>
              <a:solidFill>
                <a:srgbClr val="DBDEE5"/>
              </a:solidFill>
              <a:ln w="2907" cap="flat">
                <a:noFill/>
                <a:prstDash val="solid"/>
                <a:miter/>
              </a:ln>
            </p:spPr>
            <p:txBody>
              <a:bodyPr rtlCol="0" anchor="ctr"/>
              <a:lstStyle/>
              <a:p>
                <a:endParaRPr lang="en-US" sz="800"/>
              </a:p>
            </p:txBody>
          </p:sp>
          <p:sp>
            <p:nvSpPr>
              <p:cNvPr id="759" name="Graphic 38">
                <a:extLst>
                  <a:ext uri="{FF2B5EF4-FFF2-40B4-BE49-F238E27FC236}">
                    <a16:creationId xmlns:a16="http://schemas.microsoft.com/office/drawing/2014/main" id="{4BB8FBA0-535F-F3F0-9723-AD62E1848E5E}"/>
                  </a:ext>
                </a:extLst>
              </p:cNvPr>
              <p:cNvSpPr/>
              <p:nvPr/>
            </p:nvSpPr>
            <p:spPr>
              <a:xfrm>
                <a:off x="16624890" y="1462060"/>
                <a:ext cx="4130" cy="3141"/>
              </a:xfrm>
              <a:custGeom>
                <a:avLst/>
                <a:gdLst>
                  <a:gd name="connsiteX0" fmla="*/ -981 w 4130"/>
                  <a:gd name="connsiteY0" fmla="*/ -539 h 3141"/>
                  <a:gd name="connsiteX1" fmla="*/ 3149 w 4130"/>
                  <a:gd name="connsiteY1" fmla="*/ 2602 h 3141"/>
                </a:gdLst>
                <a:ahLst/>
                <a:cxnLst>
                  <a:cxn ang="0">
                    <a:pos x="connsiteX0" y="connsiteY0"/>
                  </a:cxn>
                  <a:cxn ang="0">
                    <a:pos x="connsiteX1" y="connsiteY1"/>
                  </a:cxn>
                </a:cxnLst>
                <a:rect l="l" t="t" r="r" b="b"/>
                <a:pathLst>
                  <a:path w="4130" h="3141">
                    <a:moveTo>
                      <a:pt x="-981" y="-539"/>
                    </a:moveTo>
                    <a:lnTo>
                      <a:pt x="3149" y="2602"/>
                    </a:lnTo>
                    <a:close/>
                  </a:path>
                </a:pathLst>
              </a:custGeom>
              <a:solidFill>
                <a:srgbClr val="DBDEE5"/>
              </a:solidFill>
              <a:ln w="2907" cap="flat">
                <a:noFill/>
                <a:prstDash val="solid"/>
                <a:miter/>
              </a:ln>
            </p:spPr>
            <p:txBody>
              <a:bodyPr rtlCol="0" anchor="ctr"/>
              <a:lstStyle/>
              <a:p>
                <a:endParaRPr lang="en-US" sz="800"/>
              </a:p>
            </p:txBody>
          </p:sp>
          <p:sp>
            <p:nvSpPr>
              <p:cNvPr id="760" name="Graphic 38">
                <a:extLst>
                  <a:ext uri="{FF2B5EF4-FFF2-40B4-BE49-F238E27FC236}">
                    <a16:creationId xmlns:a16="http://schemas.microsoft.com/office/drawing/2014/main" id="{46A8A604-FEB6-D861-8818-23C0429DAD34}"/>
                  </a:ext>
                </a:extLst>
              </p:cNvPr>
              <p:cNvSpPr/>
              <p:nvPr/>
            </p:nvSpPr>
            <p:spPr>
              <a:xfrm>
                <a:off x="16618258" y="1458018"/>
                <a:ext cx="1367" cy="988"/>
              </a:xfrm>
              <a:custGeom>
                <a:avLst/>
                <a:gdLst>
                  <a:gd name="connsiteX0" fmla="*/ -981 w 1367"/>
                  <a:gd name="connsiteY0" fmla="*/ -539 h 988"/>
                  <a:gd name="connsiteX1" fmla="*/ 386 w 1367"/>
                  <a:gd name="connsiteY1" fmla="*/ 450 h 988"/>
                  <a:gd name="connsiteX2" fmla="*/ -720 w 1367"/>
                  <a:gd name="connsiteY2" fmla="*/ 450 h 988"/>
                </a:gdLst>
                <a:ahLst/>
                <a:cxnLst>
                  <a:cxn ang="0">
                    <a:pos x="connsiteX0" y="connsiteY0"/>
                  </a:cxn>
                  <a:cxn ang="0">
                    <a:pos x="connsiteX1" y="connsiteY1"/>
                  </a:cxn>
                  <a:cxn ang="0">
                    <a:pos x="connsiteX2" y="connsiteY2"/>
                  </a:cxn>
                </a:cxnLst>
                <a:rect l="l" t="t" r="r" b="b"/>
                <a:pathLst>
                  <a:path w="1367" h="988">
                    <a:moveTo>
                      <a:pt x="-981" y="-539"/>
                    </a:moveTo>
                    <a:cubicBezTo>
                      <a:pt x="-516" y="-219"/>
                      <a:pt x="-51" y="101"/>
                      <a:pt x="386" y="450"/>
                    </a:cubicBezTo>
                    <a:lnTo>
                      <a:pt x="-720" y="450"/>
                    </a:lnTo>
                    <a:close/>
                  </a:path>
                </a:pathLst>
              </a:custGeom>
              <a:solidFill>
                <a:srgbClr val="DBDEE5"/>
              </a:solidFill>
              <a:ln w="2907" cap="flat">
                <a:noFill/>
                <a:prstDash val="solid"/>
                <a:miter/>
              </a:ln>
            </p:spPr>
            <p:txBody>
              <a:bodyPr rtlCol="0" anchor="ctr"/>
              <a:lstStyle/>
              <a:p>
                <a:endParaRPr lang="en-US" sz="800"/>
              </a:p>
            </p:txBody>
          </p:sp>
          <p:sp>
            <p:nvSpPr>
              <p:cNvPr id="761" name="Graphic 38">
                <a:extLst>
                  <a:ext uri="{FF2B5EF4-FFF2-40B4-BE49-F238E27FC236}">
                    <a16:creationId xmlns:a16="http://schemas.microsoft.com/office/drawing/2014/main" id="{25E6A5BD-AA51-FF7A-7C09-441CFD47F8EB}"/>
                  </a:ext>
                </a:extLst>
              </p:cNvPr>
              <p:cNvSpPr/>
              <p:nvPr/>
            </p:nvSpPr>
            <p:spPr>
              <a:xfrm>
                <a:off x="16626024" y="1812057"/>
                <a:ext cx="2908" cy="3344"/>
              </a:xfrm>
              <a:custGeom>
                <a:avLst/>
                <a:gdLst>
                  <a:gd name="connsiteX0" fmla="*/ 1928 w 2908"/>
                  <a:gd name="connsiteY0" fmla="*/ -539 h 3344"/>
                  <a:gd name="connsiteX1" fmla="*/ -981 w 2908"/>
                  <a:gd name="connsiteY1" fmla="*/ 2806 h 3344"/>
                </a:gdLst>
                <a:ahLst/>
                <a:cxnLst>
                  <a:cxn ang="0">
                    <a:pos x="connsiteX0" y="connsiteY0"/>
                  </a:cxn>
                  <a:cxn ang="0">
                    <a:pos x="connsiteX1" y="connsiteY1"/>
                  </a:cxn>
                </a:cxnLst>
                <a:rect l="l" t="t" r="r" b="b"/>
                <a:pathLst>
                  <a:path w="2908" h="3344">
                    <a:moveTo>
                      <a:pt x="1928" y="-539"/>
                    </a:moveTo>
                    <a:lnTo>
                      <a:pt x="-981" y="2806"/>
                    </a:lnTo>
                    <a:close/>
                  </a:path>
                </a:pathLst>
              </a:custGeom>
              <a:solidFill>
                <a:srgbClr val="DBDEE5"/>
              </a:solidFill>
              <a:ln w="2907" cap="flat">
                <a:noFill/>
                <a:prstDash val="solid"/>
                <a:miter/>
              </a:ln>
            </p:spPr>
            <p:txBody>
              <a:bodyPr rtlCol="0" anchor="ctr"/>
              <a:lstStyle/>
              <a:p>
                <a:endParaRPr lang="en-US" sz="800"/>
              </a:p>
            </p:txBody>
          </p:sp>
          <p:sp>
            <p:nvSpPr>
              <p:cNvPr id="762" name="Graphic 38">
                <a:extLst>
                  <a:ext uri="{FF2B5EF4-FFF2-40B4-BE49-F238E27FC236}">
                    <a16:creationId xmlns:a16="http://schemas.microsoft.com/office/drawing/2014/main" id="{115FD877-D631-5FDF-0D3A-AB259AACDC61}"/>
                  </a:ext>
                </a:extLst>
              </p:cNvPr>
              <p:cNvSpPr/>
              <p:nvPr/>
            </p:nvSpPr>
            <p:spPr>
              <a:xfrm>
                <a:off x="16622708" y="1815401"/>
                <a:ext cx="3315" cy="3199"/>
              </a:xfrm>
              <a:custGeom>
                <a:avLst/>
                <a:gdLst>
                  <a:gd name="connsiteX0" fmla="*/ 2334 w 3315"/>
                  <a:gd name="connsiteY0" fmla="*/ -539 h 3199"/>
                  <a:gd name="connsiteX1" fmla="*/ -981 w 3315"/>
                  <a:gd name="connsiteY1" fmla="*/ 2661 h 3199"/>
                </a:gdLst>
                <a:ahLst/>
                <a:cxnLst>
                  <a:cxn ang="0">
                    <a:pos x="connsiteX0" y="connsiteY0"/>
                  </a:cxn>
                  <a:cxn ang="0">
                    <a:pos x="connsiteX1" y="connsiteY1"/>
                  </a:cxn>
                </a:cxnLst>
                <a:rect l="l" t="t" r="r" b="b"/>
                <a:pathLst>
                  <a:path w="3315" h="3199">
                    <a:moveTo>
                      <a:pt x="2334" y="-539"/>
                    </a:moveTo>
                    <a:lnTo>
                      <a:pt x="-981" y="2661"/>
                    </a:lnTo>
                    <a:close/>
                  </a:path>
                </a:pathLst>
              </a:custGeom>
              <a:solidFill>
                <a:srgbClr val="DBDEE5"/>
              </a:solidFill>
              <a:ln w="2907" cap="flat">
                <a:noFill/>
                <a:prstDash val="solid"/>
                <a:miter/>
              </a:ln>
            </p:spPr>
            <p:txBody>
              <a:bodyPr rtlCol="0" anchor="ctr"/>
              <a:lstStyle/>
              <a:p>
                <a:endParaRPr lang="en-US" sz="800"/>
              </a:p>
            </p:txBody>
          </p:sp>
          <p:sp>
            <p:nvSpPr>
              <p:cNvPr id="763" name="Graphic 38">
                <a:extLst>
                  <a:ext uri="{FF2B5EF4-FFF2-40B4-BE49-F238E27FC236}">
                    <a16:creationId xmlns:a16="http://schemas.microsoft.com/office/drawing/2014/main" id="{57F4F864-6C4B-1067-595D-DBEA3CB9F369}"/>
                  </a:ext>
                </a:extLst>
              </p:cNvPr>
              <p:cNvSpPr/>
              <p:nvPr/>
            </p:nvSpPr>
            <p:spPr>
              <a:xfrm>
                <a:off x="16619014" y="1818310"/>
                <a:ext cx="3926" cy="2908"/>
              </a:xfrm>
              <a:custGeom>
                <a:avLst/>
                <a:gdLst>
                  <a:gd name="connsiteX0" fmla="*/ 2945 w 3926"/>
                  <a:gd name="connsiteY0" fmla="*/ -539 h 2908"/>
                  <a:gd name="connsiteX1" fmla="*/ -981 w 3926"/>
                  <a:gd name="connsiteY1" fmla="*/ 2370 h 2908"/>
                </a:gdLst>
                <a:ahLst/>
                <a:cxnLst>
                  <a:cxn ang="0">
                    <a:pos x="connsiteX0" y="connsiteY0"/>
                  </a:cxn>
                  <a:cxn ang="0">
                    <a:pos x="connsiteX1" y="connsiteY1"/>
                  </a:cxn>
                </a:cxnLst>
                <a:rect l="l" t="t" r="r" b="b"/>
                <a:pathLst>
                  <a:path w="3926" h="2908">
                    <a:moveTo>
                      <a:pt x="2945" y="-539"/>
                    </a:moveTo>
                    <a:lnTo>
                      <a:pt x="-981" y="2370"/>
                    </a:lnTo>
                    <a:close/>
                  </a:path>
                </a:pathLst>
              </a:custGeom>
              <a:solidFill>
                <a:srgbClr val="DBDEE5"/>
              </a:solidFill>
              <a:ln w="2907" cap="flat">
                <a:noFill/>
                <a:prstDash val="solid"/>
                <a:miter/>
              </a:ln>
            </p:spPr>
            <p:txBody>
              <a:bodyPr rtlCol="0" anchor="ctr"/>
              <a:lstStyle/>
              <a:p>
                <a:endParaRPr lang="en-US" sz="800"/>
              </a:p>
            </p:txBody>
          </p:sp>
          <p:sp>
            <p:nvSpPr>
              <p:cNvPr id="764" name="Graphic 38">
                <a:extLst>
                  <a:ext uri="{FF2B5EF4-FFF2-40B4-BE49-F238E27FC236}">
                    <a16:creationId xmlns:a16="http://schemas.microsoft.com/office/drawing/2014/main" id="{ABDFAEB6-23A0-9606-1A31-895400B4D9D7}"/>
                  </a:ext>
                </a:extLst>
              </p:cNvPr>
              <p:cNvSpPr/>
              <p:nvPr/>
            </p:nvSpPr>
            <p:spPr>
              <a:xfrm>
                <a:off x="15277321" y="1449612"/>
                <a:ext cx="3832" cy="8347"/>
              </a:xfrm>
              <a:custGeom>
                <a:avLst/>
                <a:gdLst>
                  <a:gd name="connsiteX0" fmla="*/ 2713 w 3832"/>
                  <a:gd name="connsiteY0" fmla="*/ 7808 h 8347"/>
                  <a:gd name="connsiteX1" fmla="*/ -981 w 3832"/>
                  <a:gd name="connsiteY1" fmla="*/ -539 h 8347"/>
                  <a:gd name="connsiteX2" fmla="*/ 2713 w 3832"/>
                  <a:gd name="connsiteY2" fmla="*/ 7808 h 8347"/>
                </a:gdLst>
                <a:ahLst/>
                <a:cxnLst>
                  <a:cxn ang="0">
                    <a:pos x="connsiteX0" y="connsiteY0"/>
                  </a:cxn>
                  <a:cxn ang="0">
                    <a:pos x="connsiteX1" y="connsiteY1"/>
                  </a:cxn>
                  <a:cxn ang="0">
                    <a:pos x="connsiteX2" y="connsiteY2"/>
                  </a:cxn>
                </a:cxnLst>
                <a:rect l="l" t="t" r="r" b="b"/>
                <a:pathLst>
                  <a:path w="3832" h="8347">
                    <a:moveTo>
                      <a:pt x="2713" y="7808"/>
                    </a:moveTo>
                    <a:cubicBezTo>
                      <a:pt x="-545" y="5918"/>
                      <a:pt x="-836" y="2719"/>
                      <a:pt x="-981" y="-539"/>
                    </a:cubicBezTo>
                    <a:cubicBezTo>
                      <a:pt x="1869" y="1203"/>
                      <a:pt x="3324" y="4528"/>
                      <a:pt x="2713" y="7808"/>
                    </a:cubicBezTo>
                    <a:close/>
                  </a:path>
                </a:pathLst>
              </a:custGeom>
              <a:solidFill>
                <a:srgbClr val="DBDEE5"/>
              </a:solidFill>
              <a:ln w="2907" cap="flat">
                <a:noFill/>
                <a:prstDash val="solid"/>
                <a:miter/>
              </a:ln>
            </p:spPr>
            <p:txBody>
              <a:bodyPr rtlCol="0" anchor="ctr"/>
              <a:lstStyle/>
              <a:p>
                <a:endParaRPr lang="en-US" sz="800"/>
              </a:p>
            </p:txBody>
          </p:sp>
          <p:sp>
            <p:nvSpPr>
              <p:cNvPr id="765" name="Graphic 38">
                <a:extLst>
                  <a:ext uri="{FF2B5EF4-FFF2-40B4-BE49-F238E27FC236}">
                    <a16:creationId xmlns:a16="http://schemas.microsoft.com/office/drawing/2014/main" id="{FCAC3110-4E28-062C-3E83-153C63AFC6B3}"/>
                  </a:ext>
                </a:extLst>
              </p:cNvPr>
              <p:cNvSpPr/>
              <p:nvPr/>
            </p:nvSpPr>
            <p:spPr>
              <a:xfrm>
                <a:off x="15701872" y="1457669"/>
                <a:ext cx="2908" cy="3460"/>
              </a:xfrm>
              <a:custGeom>
                <a:avLst/>
                <a:gdLst>
                  <a:gd name="connsiteX0" fmla="*/ 1928 w 2908"/>
                  <a:gd name="connsiteY0" fmla="*/ -539 h 3460"/>
                  <a:gd name="connsiteX1" fmla="*/ -981 w 2908"/>
                  <a:gd name="connsiteY1" fmla="*/ 2922 h 3460"/>
                </a:gdLst>
                <a:ahLst/>
                <a:cxnLst>
                  <a:cxn ang="0">
                    <a:pos x="connsiteX0" y="connsiteY0"/>
                  </a:cxn>
                  <a:cxn ang="0">
                    <a:pos x="connsiteX1" y="connsiteY1"/>
                  </a:cxn>
                </a:cxnLst>
                <a:rect l="l" t="t" r="r" b="b"/>
                <a:pathLst>
                  <a:path w="2908" h="3460">
                    <a:moveTo>
                      <a:pt x="1928" y="-539"/>
                    </a:moveTo>
                    <a:lnTo>
                      <a:pt x="-981" y="2922"/>
                    </a:lnTo>
                    <a:close/>
                  </a:path>
                </a:pathLst>
              </a:custGeom>
              <a:solidFill>
                <a:srgbClr val="DBDEE5"/>
              </a:solidFill>
              <a:ln w="2907" cap="flat">
                <a:noFill/>
                <a:prstDash val="solid"/>
                <a:miter/>
              </a:ln>
            </p:spPr>
            <p:txBody>
              <a:bodyPr rtlCol="0" anchor="ctr"/>
              <a:lstStyle/>
              <a:p>
                <a:endParaRPr lang="en-US" sz="800"/>
              </a:p>
            </p:txBody>
          </p:sp>
          <p:sp>
            <p:nvSpPr>
              <p:cNvPr id="766" name="Graphic 38">
                <a:extLst>
                  <a:ext uri="{FF2B5EF4-FFF2-40B4-BE49-F238E27FC236}">
                    <a16:creationId xmlns:a16="http://schemas.microsoft.com/office/drawing/2014/main" id="{3A7C2318-4898-2C90-60FB-7169D32146CE}"/>
                  </a:ext>
                </a:extLst>
              </p:cNvPr>
              <p:cNvSpPr/>
              <p:nvPr/>
            </p:nvSpPr>
            <p:spPr>
              <a:xfrm>
                <a:off x="15707050" y="1448943"/>
                <a:ext cx="1483" cy="2908"/>
              </a:xfrm>
              <a:custGeom>
                <a:avLst/>
                <a:gdLst>
                  <a:gd name="connsiteX0" fmla="*/ 502 w 1483"/>
                  <a:gd name="connsiteY0" fmla="*/ -539 h 2908"/>
                  <a:gd name="connsiteX1" fmla="*/ -981 w 1483"/>
                  <a:gd name="connsiteY1" fmla="*/ 2370 h 2908"/>
                </a:gdLst>
                <a:ahLst/>
                <a:cxnLst>
                  <a:cxn ang="0">
                    <a:pos x="connsiteX0" y="connsiteY0"/>
                  </a:cxn>
                  <a:cxn ang="0">
                    <a:pos x="connsiteX1" y="connsiteY1"/>
                  </a:cxn>
                </a:cxnLst>
                <a:rect l="l" t="t" r="r" b="b"/>
                <a:pathLst>
                  <a:path w="1483" h="2908">
                    <a:moveTo>
                      <a:pt x="502" y="-539"/>
                    </a:moveTo>
                    <a:lnTo>
                      <a:pt x="-981" y="2370"/>
                    </a:lnTo>
                    <a:close/>
                  </a:path>
                </a:pathLst>
              </a:custGeom>
              <a:solidFill>
                <a:srgbClr val="DBDEE5"/>
              </a:solidFill>
              <a:ln w="2907" cap="flat">
                <a:noFill/>
                <a:prstDash val="solid"/>
                <a:miter/>
              </a:ln>
            </p:spPr>
            <p:txBody>
              <a:bodyPr rtlCol="0" anchor="ctr"/>
              <a:lstStyle/>
              <a:p>
                <a:endParaRPr lang="en-US" sz="800"/>
              </a:p>
            </p:txBody>
          </p:sp>
          <p:sp>
            <p:nvSpPr>
              <p:cNvPr id="1212" name="Graphic 38">
                <a:extLst>
                  <a:ext uri="{FF2B5EF4-FFF2-40B4-BE49-F238E27FC236}">
                    <a16:creationId xmlns:a16="http://schemas.microsoft.com/office/drawing/2014/main" id="{96CBE36B-B0F4-AEA0-2195-0182020DADB9}"/>
                  </a:ext>
                </a:extLst>
              </p:cNvPr>
              <p:cNvSpPr/>
              <p:nvPr/>
            </p:nvSpPr>
            <p:spPr>
              <a:xfrm>
                <a:off x="15277640" y="1167178"/>
                <a:ext cx="1582" cy="2559"/>
              </a:xfrm>
              <a:custGeom>
                <a:avLst/>
                <a:gdLst>
                  <a:gd name="connsiteX0" fmla="*/ -981 w 1582"/>
                  <a:gd name="connsiteY0" fmla="*/ 2021 h 2559"/>
                  <a:gd name="connsiteX1" fmla="*/ 124 w 1582"/>
                  <a:gd name="connsiteY1" fmla="*/ -539 h 2559"/>
                  <a:gd name="connsiteX2" fmla="*/ -981 w 1582"/>
                  <a:gd name="connsiteY2" fmla="*/ 2021 h 2559"/>
                </a:gdLst>
                <a:ahLst/>
                <a:cxnLst>
                  <a:cxn ang="0">
                    <a:pos x="connsiteX0" y="connsiteY0"/>
                  </a:cxn>
                  <a:cxn ang="0">
                    <a:pos x="connsiteX1" y="connsiteY1"/>
                  </a:cxn>
                  <a:cxn ang="0">
                    <a:pos x="connsiteX2" y="connsiteY2"/>
                  </a:cxn>
                </a:cxnLst>
                <a:rect l="l" t="t" r="r" b="b"/>
                <a:pathLst>
                  <a:path w="1582" h="2559">
                    <a:moveTo>
                      <a:pt x="-981" y="2021"/>
                    </a:moveTo>
                    <a:cubicBezTo>
                      <a:pt x="-923" y="1064"/>
                      <a:pt x="-545" y="156"/>
                      <a:pt x="124" y="-539"/>
                    </a:cubicBezTo>
                    <a:cubicBezTo>
                      <a:pt x="1055" y="974"/>
                      <a:pt x="590" y="1701"/>
                      <a:pt x="-981" y="2021"/>
                    </a:cubicBezTo>
                    <a:close/>
                  </a:path>
                </a:pathLst>
              </a:custGeom>
              <a:solidFill>
                <a:srgbClr val="DBDEE5"/>
              </a:solidFill>
              <a:ln w="2907" cap="flat">
                <a:noFill/>
                <a:prstDash val="solid"/>
                <a:miter/>
              </a:ln>
            </p:spPr>
            <p:txBody>
              <a:bodyPr rtlCol="0" anchor="ctr"/>
              <a:lstStyle/>
              <a:p>
                <a:endParaRPr lang="en-US" sz="800"/>
              </a:p>
            </p:txBody>
          </p:sp>
          <p:sp>
            <p:nvSpPr>
              <p:cNvPr id="1223" name="Graphic 38">
                <a:extLst>
                  <a:ext uri="{FF2B5EF4-FFF2-40B4-BE49-F238E27FC236}">
                    <a16:creationId xmlns:a16="http://schemas.microsoft.com/office/drawing/2014/main" id="{E26DE8C2-80C4-500E-1AEA-5E77F4C57FEA}"/>
                  </a:ext>
                </a:extLst>
              </p:cNvPr>
              <p:cNvSpPr/>
              <p:nvPr/>
            </p:nvSpPr>
            <p:spPr>
              <a:xfrm>
                <a:off x="16224394" y="1144839"/>
                <a:ext cx="386212" cy="5935"/>
              </a:xfrm>
              <a:custGeom>
                <a:avLst/>
                <a:gdLst>
                  <a:gd name="connsiteX0" fmla="*/ -981 w 386212"/>
                  <a:gd name="connsiteY0" fmla="*/ 5397 h 5935"/>
                  <a:gd name="connsiteX1" fmla="*/ 11963 w 386212"/>
                  <a:gd name="connsiteY1" fmla="*/ -420 h 5935"/>
                  <a:gd name="connsiteX2" fmla="*/ 372374 w 386212"/>
                  <a:gd name="connsiteY2" fmla="*/ -420 h 5935"/>
                  <a:gd name="connsiteX3" fmla="*/ 385231 w 386212"/>
                  <a:gd name="connsiteY3" fmla="*/ 5397 h 5935"/>
                </a:gdLst>
                <a:ahLst/>
                <a:cxnLst>
                  <a:cxn ang="0">
                    <a:pos x="connsiteX0" y="connsiteY0"/>
                  </a:cxn>
                  <a:cxn ang="0">
                    <a:pos x="connsiteX1" y="connsiteY1"/>
                  </a:cxn>
                  <a:cxn ang="0">
                    <a:pos x="connsiteX2" y="connsiteY2"/>
                  </a:cxn>
                  <a:cxn ang="0">
                    <a:pos x="connsiteX3" y="connsiteY3"/>
                  </a:cxn>
                </a:cxnLst>
                <a:rect l="l" t="t" r="r" b="b"/>
                <a:pathLst>
                  <a:path w="386212" h="5935">
                    <a:moveTo>
                      <a:pt x="-981" y="5397"/>
                    </a:moveTo>
                    <a:cubicBezTo>
                      <a:pt x="939" y="-1874"/>
                      <a:pt x="6960" y="-420"/>
                      <a:pt x="11963" y="-420"/>
                    </a:cubicBezTo>
                    <a:cubicBezTo>
                      <a:pt x="132100" y="-420"/>
                      <a:pt x="252237" y="-420"/>
                      <a:pt x="372374" y="-420"/>
                    </a:cubicBezTo>
                    <a:cubicBezTo>
                      <a:pt x="377406" y="-420"/>
                      <a:pt x="383399" y="-1874"/>
                      <a:pt x="385231" y="5397"/>
                    </a:cubicBezTo>
                    <a:close/>
                  </a:path>
                </a:pathLst>
              </a:custGeom>
              <a:solidFill>
                <a:srgbClr val="EBECF1"/>
              </a:solidFill>
              <a:ln w="2907" cap="flat">
                <a:noFill/>
                <a:prstDash val="solid"/>
                <a:miter/>
              </a:ln>
            </p:spPr>
            <p:txBody>
              <a:bodyPr rtlCol="0" anchor="ctr"/>
              <a:lstStyle/>
              <a:p>
                <a:endParaRPr lang="en-US" sz="800"/>
              </a:p>
            </p:txBody>
          </p:sp>
          <p:sp>
            <p:nvSpPr>
              <p:cNvPr id="1224" name="Graphic 38">
                <a:extLst>
                  <a:ext uri="{FF2B5EF4-FFF2-40B4-BE49-F238E27FC236}">
                    <a16:creationId xmlns:a16="http://schemas.microsoft.com/office/drawing/2014/main" id="{3636BD79-4DD2-E7AD-8DB5-ED460F11A081}"/>
                  </a:ext>
                </a:extLst>
              </p:cNvPr>
              <p:cNvSpPr/>
              <p:nvPr/>
            </p:nvSpPr>
            <p:spPr>
              <a:xfrm>
                <a:off x="16208716" y="1151118"/>
                <a:ext cx="12100" cy="6723"/>
              </a:xfrm>
              <a:custGeom>
                <a:avLst/>
                <a:gdLst>
                  <a:gd name="connsiteX0" fmla="*/ -981 w 12100"/>
                  <a:gd name="connsiteY0" fmla="*/ 6185 h 6723"/>
                  <a:gd name="connsiteX1" fmla="*/ 11119 w 12100"/>
                  <a:gd name="connsiteY1" fmla="*/ -504 h 6723"/>
                  <a:gd name="connsiteX2" fmla="*/ -981 w 12100"/>
                  <a:gd name="connsiteY2" fmla="*/ 6185 h 6723"/>
                </a:gdLst>
                <a:ahLst/>
                <a:cxnLst>
                  <a:cxn ang="0">
                    <a:pos x="connsiteX0" y="connsiteY0"/>
                  </a:cxn>
                  <a:cxn ang="0">
                    <a:pos x="connsiteX1" y="connsiteY1"/>
                  </a:cxn>
                  <a:cxn ang="0">
                    <a:pos x="connsiteX2" y="connsiteY2"/>
                  </a:cxn>
                </a:cxnLst>
                <a:rect l="l" t="t" r="r" b="b"/>
                <a:pathLst>
                  <a:path w="12100" h="6723">
                    <a:moveTo>
                      <a:pt x="-981" y="6185"/>
                    </a:moveTo>
                    <a:cubicBezTo>
                      <a:pt x="1113" y="368"/>
                      <a:pt x="5709" y="-766"/>
                      <a:pt x="11119" y="-504"/>
                    </a:cubicBezTo>
                    <a:cubicBezTo>
                      <a:pt x="8007" y="3079"/>
                      <a:pt x="3702" y="5449"/>
                      <a:pt x="-981" y="6185"/>
                    </a:cubicBezTo>
                    <a:close/>
                  </a:path>
                </a:pathLst>
              </a:custGeom>
              <a:solidFill>
                <a:srgbClr val="EBECF1"/>
              </a:solidFill>
              <a:ln w="2907" cap="flat">
                <a:noFill/>
                <a:prstDash val="solid"/>
                <a:miter/>
              </a:ln>
            </p:spPr>
            <p:txBody>
              <a:bodyPr rtlCol="0" anchor="ctr"/>
              <a:lstStyle/>
              <a:p>
                <a:endParaRPr lang="en-US" sz="800"/>
              </a:p>
            </p:txBody>
          </p:sp>
          <p:sp>
            <p:nvSpPr>
              <p:cNvPr id="1225" name="Graphic 38">
                <a:extLst>
                  <a:ext uri="{FF2B5EF4-FFF2-40B4-BE49-F238E27FC236}">
                    <a16:creationId xmlns:a16="http://schemas.microsoft.com/office/drawing/2014/main" id="{BAFA2BFE-D64D-F592-567E-95FBC2E2462C}"/>
                  </a:ext>
                </a:extLst>
              </p:cNvPr>
              <p:cNvSpPr/>
              <p:nvPr/>
            </p:nvSpPr>
            <p:spPr>
              <a:xfrm>
                <a:off x="16205632" y="1157609"/>
                <a:ext cx="3200" cy="3402"/>
              </a:xfrm>
              <a:custGeom>
                <a:avLst/>
                <a:gdLst>
                  <a:gd name="connsiteX0" fmla="*/ -981 w 3200"/>
                  <a:gd name="connsiteY0" fmla="*/ 2864 h 3402"/>
                  <a:gd name="connsiteX1" fmla="*/ 2219 w 3200"/>
                  <a:gd name="connsiteY1" fmla="*/ -539 h 3402"/>
                </a:gdLst>
                <a:ahLst/>
                <a:cxnLst>
                  <a:cxn ang="0">
                    <a:pos x="connsiteX0" y="connsiteY0"/>
                  </a:cxn>
                  <a:cxn ang="0">
                    <a:pos x="connsiteX1" y="connsiteY1"/>
                  </a:cxn>
                </a:cxnLst>
                <a:rect l="l" t="t" r="r" b="b"/>
                <a:pathLst>
                  <a:path w="3200" h="3402">
                    <a:moveTo>
                      <a:pt x="-981" y="2864"/>
                    </a:moveTo>
                    <a:lnTo>
                      <a:pt x="2219" y="-539"/>
                    </a:lnTo>
                    <a:close/>
                  </a:path>
                </a:pathLst>
              </a:custGeom>
              <a:solidFill>
                <a:srgbClr val="EBECF1"/>
              </a:solidFill>
              <a:ln w="2907" cap="flat">
                <a:noFill/>
                <a:prstDash val="solid"/>
                <a:miter/>
              </a:ln>
            </p:spPr>
            <p:txBody>
              <a:bodyPr rtlCol="0" anchor="ctr"/>
              <a:lstStyle/>
              <a:p>
                <a:endParaRPr lang="en-US" sz="800"/>
              </a:p>
            </p:txBody>
          </p:sp>
          <p:sp>
            <p:nvSpPr>
              <p:cNvPr id="1226" name="Graphic 38">
                <a:extLst>
                  <a:ext uri="{FF2B5EF4-FFF2-40B4-BE49-F238E27FC236}">
                    <a16:creationId xmlns:a16="http://schemas.microsoft.com/office/drawing/2014/main" id="{D4F980C4-CBAD-8151-02CF-A89B6D9E094F}"/>
                  </a:ext>
                </a:extLst>
              </p:cNvPr>
              <p:cNvSpPr/>
              <p:nvPr/>
            </p:nvSpPr>
            <p:spPr>
              <a:xfrm>
                <a:off x="15278280" y="2495937"/>
                <a:ext cx="2472" cy="4449"/>
              </a:xfrm>
              <a:custGeom>
                <a:avLst/>
                <a:gdLst>
                  <a:gd name="connsiteX0" fmla="*/ -981 w 2472"/>
                  <a:gd name="connsiteY0" fmla="*/ 3911 h 4449"/>
                  <a:gd name="connsiteX1" fmla="*/ 1491 w 2472"/>
                  <a:gd name="connsiteY1" fmla="*/ -539 h 4449"/>
                  <a:gd name="connsiteX2" fmla="*/ -981 w 2472"/>
                  <a:gd name="connsiteY2" fmla="*/ 3911 h 4449"/>
                </a:gdLst>
                <a:ahLst/>
                <a:cxnLst>
                  <a:cxn ang="0">
                    <a:pos x="connsiteX0" y="connsiteY0"/>
                  </a:cxn>
                  <a:cxn ang="0">
                    <a:pos x="connsiteX1" y="connsiteY1"/>
                  </a:cxn>
                  <a:cxn ang="0">
                    <a:pos x="connsiteX2" y="connsiteY2"/>
                  </a:cxn>
                </a:cxnLst>
                <a:rect l="l" t="t" r="r" b="b"/>
                <a:pathLst>
                  <a:path w="2472" h="4449">
                    <a:moveTo>
                      <a:pt x="-981" y="3911"/>
                    </a:moveTo>
                    <a:cubicBezTo>
                      <a:pt x="-138" y="2428"/>
                      <a:pt x="677" y="1003"/>
                      <a:pt x="1491" y="-539"/>
                    </a:cubicBezTo>
                    <a:cubicBezTo>
                      <a:pt x="677" y="945"/>
                      <a:pt x="-50" y="2399"/>
                      <a:pt x="-981" y="3911"/>
                    </a:cubicBezTo>
                    <a:close/>
                  </a:path>
                </a:pathLst>
              </a:custGeom>
              <a:solidFill>
                <a:srgbClr val="DBDEE5"/>
              </a:solidFill>
              <a:ln w="2907" cap="flat">
                <a:noFill/>
                <a:prstDash val="solid"/>
                <a:miter/>
              </a:ln>
            </p:spPr>
            <p:txBody>
              <a:bodyPr rtlCol="0" anchor="ctr"/>
              <a:lstStyle/>
              <a:p>
                <a:endParaRPr lang="en-US" sz="800"/>
              </a:p>
            </p:txBody>
          </p:sp>
          <p:sp>
            <p:nvSpPr>
              <p:cNvPr id="1227" name="Graphic 38">
                <a:extLst>
                  <a:ext uri="{FF2B5EF4-FFF2-40B4-BE49-F238E27FC236}">
                    <a16:creationId xmlns:a16="http://schemas.microsoft.com/office/drawing/2014/main" id="{A0514956-ECD1-87C1-15B5-10D35209A85B}"/>
                  </a:ext>
                </a:extLst>
              </p:cNvPr>
              <p:cNvSpPr/>
              <p:nvPr/>
            </p:nvSpPr>
            <p:spPr>
              <a:xfrm>
                <a:off x="16160632" y="3256309"/>
                <a:ext cx="7155" cy="8236"/>
              </a:xfrm>
              <a:custGeom>
                <a:avLst/>
                <a:gdLst>
                  <a:gd name="connsiteX0" fmla="*/ 6174 w 7155"/>
                  <a:gd name="connsiteY0" fmla="*/ -539 h 8236"/>
                  <a:gd name="connsiteX1" fmla="*/ -981 w 7155"/>
                  <a:gd name="connsiteY1" fmla="*/ 7692 h 8236"/>
                  <a:gd name="connsiteX2" fmla="*/ 6174 w 7155"/>
                  <a:gd name="connsiteY2" fmla="*/ -539 h 8236"/>
                </a:gdLst>
                <a:ahLst/>
                <a:cxnLst>
                  <a:cxn ang="0">
                    <a:pos x="connsiteX0" y="connsiteY0"/>
                  </a:cxn>
                  <a:cxn ang="0">
                    <a:pos x="connsiteX1" y="connsiteY1"/>
                  </a:cxn>
                  <a:cxn ang="0">
                    <a:pos x="connsiteX2" y="connsiteY2"/>
                  </a:cxn>
                </a:cxnLst>
                <a:rect l="l" t="t" r="r" b="b"/>
                <a:pathLst>
                  <a:path w="7155" h="8236">
                    <a:moveTo>
                      <a:pt x="6174" y="-539"/>
                    </a:moveTo>
                    <a:cubicBezTo>
                      <a:pt x="5912" y="4056"/>
                      <a:pt x="4778" y="7866"/>
                      <a:pt x="-981" y="7692"/>
                    </a:cubicBezTo>
                    <a:cubicBezTo>
                      <a:pt x="-545" y="3271"/>
                      <a:pt x="2742" y="1294"/>
                      <a:pt x="6174" y="-539"/>
                    </a:cubicBezTo>
                    <a:close/>
                  </a:path>
                </a:pathLst>
              </a:custGeom>
              <a:solidFill>
                <a:srgbClr val="EBECF1"/>
              </a:solidFill>
              <a:ln w="2907" cap="flat">
                <a:noFill/>
                <a:prstDash val="solid"/>
                <a:miter/>
              </a:ln>
            </p:spPr>
            <p:txBody>
              <a:bodyPr rtlCol="0" anchor="ctr"/>
              <a:lstStyle/>
              <a:p>
                <a:endParaRPr lang="en-US" sz="800"/>
              </a:p>
            </p:txBody>
          </p:sp>
          <p:sp>
            <p:nvSpPr>
              <p:cNvPr id="1228" name="Graphic 38">
                <a:extLst>
                  <a:ext uri="{FF2B5EF4-FFF2-40B4-BE49-F238E27FC236}">
                    <a16:creationId xmlns:a16="http://schemas.microsoft.com/office/drawing/2014/main" id="{5EC2B455-E854-573E-476E-7A3D3A1A117D}"/>
                  </a:ext>
                </a:extLst>
              </p:cNvPr>
              <p:cNvSpPr/>
              <p:nvPr/>
            </p:nvSpPr>
            <p:spPr>
              <a:xfrm>
                <a:off x="16167846" y="3248078"/>
                <a:ext cx="3403" cy="7270"/>
              </a:xfrm>
              <a:custGeom>
                <a:avLst/>
                <a:gdLst>
                  <a:gd name="connsiteX0" fmla="*/ 2422 w 3403"/>
                  <a:gd name="connsiteY0" fmla="*/ -539 h 7270"/>
                  <a:gd name="connsiteX1" fmla="*/ 2422 w 3403"/>
                  <a:gd name="connsiteY1" fmla="*/ 3824 h 7270"/>
                  <a:gd name="connsiteX2" fmla="*/ -981 w 3403"/>
                  <a:gd name="connsiteY2" fmla="*/ 6732 h 7270"/>
                  <a:gd name="connsiteX3" fmla="*/ 2422 w 3403"/>
                  <a:gd name="connsiteY3" fmla="*/ -539 h 7270"/>
                </a:gdLst>
                <a:ahLst/>
                <a:cxnLst>
                  <a:cxn ang="0">
                    <a:pos x="connsiteX0" y="connsiteY0"/>
                  </a:cxn>
                  <a:cxn ang="0">
                    <a:pos x="connsiteX1" y="connsiteY1"/>
                  </a:cxn>
                  <a:cxn ang="0">
                    <a:pos x="connsiteX2" y="connsiteY2"/>
                  </a:cxn>
                  <a:cxn ang="0">
                    <a:pos x="connsiteX3" y="connsiteY3"/>
                  </a:cxn>
                </a:cxnLst>
                <a:rect l="l" t="t" r="r" b="b"/>
                <a:pathLst>
                  <a:path w="3403" h="7270">
                    <a:moveTo>
                      <a:pt x="2422" y="-539"/>
                    </a:moveTo>
                    <a:cubicBezTo>
                      <a:pt x="2422" y="916"/>
                      <a:pt x="2422" y="2370"/>
                      <a:pt x="2422" y="3824"/>
                    </a:cubicBezTo>
                    <a:lnTo>
                      <a:pt x="-981" y="6732"/>
                    </a:lnTo>
                    <a:cubicBezTo>
                      <a:pt x="-835" y="3882"/>
                      <a:pt x="-1796" y="450"/>
                      <a:pt x="2422" y="-539"/>
                    </a:cubicBezTo>
                    <a:close/>
                  </a:path>
                </a:pathLst>
              </a:custGeom>
              <a:solidFill>
                <a:srgbClr val="DBDEE5"/>
              </a:solidFill>
              <a:ln w="2907" cap="flat">
                <a:noFill/>
                <a:prstDash val="solid"/>
                <a:miter/>
              </a:ln>
            </p:spPr>
            <p:txBody>
              <a:bodyPr rtlCol="0" anchor="ctr"/>
              <a:lstStyle/>
              <a:p>
                <a:endParaRPr lang="en-US" sz="800"/>
              </a:p>
            </p:txBody>
          </p:sp>
          <p:sp>
            <p:nvSpPr>
              <p:cNvPr id="1229" name="Graphic 38">
                <a:extLst>
                  <a:ext uri="{FF2B5EF4-FFF2-40B4-BE49-F238E27FC236}">
                    <a16:creationId xmlns:a16="http://schemas.microsoft.com/office/drawing/2014/main" id="{41795B53-250F-71DF-98D5-FC49273E2F71}"/>
                  </a:ext>
                </a:extLst>
              </p:cNvPr>
              <p:cNvSpPr/>
              <p:nvPr/>
            </p:nvSpPr>
            <p:spPr>
              <a:xfrm>
                <a:off x="16198405" y="1980453"/>
                <a:ext cx="3242" cy="75618"/>
              </a:xfrm>
              <a:custGeom>
                <a:avLst/>
                <a:gdLst>
                  <a:gd name="connsiteX0" fmla="*/ 2261 w 3242"/>
                  <a:gd name="connsiteY0" fmla="*/ 75080 h 75618"/>
                  <a:gd name="connsiteX1" fmla="*/ -241 w 3242"/>
                  <a:gd name="connsiteY1" fmla="*/ -539 h 75618"/>
                  <a:gd name="connsiteX2" fmla="*/ 2261 w 3242"/>
                  <a:gd name="connsiteY2" fmla="*/ 75080 h 75618"/>
                </a:gdLst>
                <a:ahLst/>
                <a:cxnLst>
                  <a:cxn ang="0">
                    <a:pos x="connsiteX0" y="connsiteY0"/>
                  </a:cxn>
                  <a:cxn ang="0">
                    <a:pos x="connsiteX1" y="connsiteY1"/>
                  </a:cxn>
                  <a:cxn ang="0">
                    <a:pos x="connsiteX2" y="connsiteY2"/>
                  </a:cxn>
                </a:cxnLst>
                <a:rect l="l" t="t" r="r" b="b"/>
                <a:pathLst>
                  <a:path w="3242" h="75618">
                    <a:moveTo>
                      <a:pt x="2261" y="75080"/>
                    </a:moveTo>
                    <a:cubicBezTo>
                      <a:pt x="-3877" y="50009"/>
                      <a:pt x="778" y="24590"/>
                      <a:pt x="-241" y="-539"/>
                    </a:cubicBezTo>
                    <a:cubicBezTo>
                      <a:pt x="4297" y="24473"/>
                      <a:pt x="283" y="49893"/>
                      <a:pt x="2261" y="75080"/>
                    </a:cubicBezTo>
                    <a:close/>
                  </a:path>
                </a:pathLst>
              </a:custGeom>
              <a:solidFill>
                <a:srgbClr val="DBDEE5"/>
              </a:solidFill>
              <a:ln w="2907" cap="flat">
                <a:noFill/>
                <a:prstDash val="solid"/>
                <a:miter/>
              </a:ln>
            </p:spPr>
            <p:txBody>
              <a:bodyPr rtlCol="0" anchor="ctr"/>
              <a:lstStyle/>
              <a:p>
                <a:endParaRPr lang="en-US" sz="800"/>
              </a:p>
            </p:txBody>
          </p:sp>
          <p:sp>
            <p:nvSpPr>
              <p:cNvPr id="1230" name="Graphic 38">
                <a:extLst>
                  <a:ext uri="{FF2B5EF4-FFF2-40B4-BE49-F238E27FC236}">
                    <a16:creationId xmlns:a16="http://schemas.microsoft.com/office/drawing/2014/main" id="{9BE82C36-2448-1047-D103-2632DE1BBCE2}"/>
                  </a:ext>
                </a:extLst>
              </p:cNvPr>
              <p:cNvSpPr/>
              <p:nvPr/>
            </p:nvSpPr>
            <p:spPr>
              <a:xfrm>
                <a:off x="16206272" y="2064826"/>
                <a:ext cx="11345" cy="7270"/>
              </a:xfrm>
              <a:custGeom>
                <a:avLst/>
                <a:gdLst>
                  <a:gd name="connsiteX0" fmla="*/ 10364 w 11345"/>
                  <a:gd name="connsiteY0" fmla="*/ 6732 h 7270"/>
                  <a:gd name="connsiteX1" fmla="*/ -981 w 11345"/>
                  <a:gd name="connsiteY1" fmla="*/ -539 h 7270"/>
                </a:gdLst>
                <a:ahLst/>
                <a:cxnLst>
                  <a:cxn ang="0">
                    <a:pos x="connsiteX0" y="connsiteY0"/>
                  </a:cxn>
                  <a:cxn ang="0">
                    <a:pos x="connsiteX1" y="connsiteY1"/>
                  </a:cxn>
                </a:cxnLst>
                <a:rect l="l" t="t" r="r" b="b"/>
                <a:pathLst>
                  <a:path w="11345" h="7270">
                    <a:moveTo>
                      <a:pt x="10364" y="6732"/>
                    </a:moveTo>
                    <a:cubicBezTo>
                      <a:pt x="4982" y="6732"/>
                      <a:pt x="183" y="5947"/>
                      <a:pt x="-981" y="-539"/>
                    </a:cubicBezTo>
                    <a:close/>
                  </a:path>
                </a:pathLst>
              </a:custGeom>
              <a:solidFill>
                <a:srgbClr val="DBDEE5"/>
              </a:solidFill>
              <a:ln w="2907" cap="flat">
                <a:noFill/>
                <a:prstDash val="solid"/>
                <a:miter/>
              </a:ln>
            </p:spPr>
            <p:txBody>
              <a:bodyPr rtlCol="0" anchor="ctr"/>
              <a:lstStyle/>
              <a:p>
                <a:endParaRPr lang="en-US" sz="800"/>
              </a:p>
            </p:txBody>
          </p:sp>
          <p:sp>
            <p:nvSpPr>
              <p:cNvPr id="1231" name="Graphic 38">
                <a:extLst>
                  <a:ext uri="{FF2B5EF4-FFF2-40B4-BE49-F238E27FC236}">
                    <a16:creationId xmlns:a16="http://schemas.microsoft.com/office/drawing/2014/main" id="{7C00D29F-5254-6050-93F3-EEB39D863978}"/>
                  </a:ext>
                </a:extLst>
              </p:cNvPr>
              <p:cNvSpPr/>
              <p:nvPr/>
            </p:nvSpPr>
            <p:spPr>
              <a:xfrm>
                <a:off x="16201967" y="2056828"/>
                <a:ext cx="4363" cy="8056"/>
              </a:xfrm>
              <a:custGeom>
                <a:avLst/>
                <a:gdLst>
                  <a:gd name="connsiteX0" fmla="*/ 3382 w 4363"/>
                  <a:gd name="connsiteY0" fmla="*/ 7518 h 8056"/>
                  <a:gd name="connsiteX1" fmla="*/ -981 w 4363"/>
                  <a:gd name="connsiteY1" fmla="*/ -539 h 8056"/>
                  <a:gd name="connsiteX2" fmla="*/ 3382 w 4363"/>
                  <a:gd name="connsiteY2" fmla="*/ 7518 h 8056"/>
                </a:gdLst>
                <a:ahLst/>
                <a:cxnLst>
                  <a:cxn ang="0">
                    <a:pos x="connsiteX0" y="connsiteY0"/>
                  </a:cxn>
                  <a:cxn ang="0">
                    <a:pos x="connsiteX1" y="connsiteY1"/>
                  </a:cxn>
                  <a:cxn ang="0">
                    <a:pos x="connsiteX2" y="connsiteY2"/>
                  </a:cxn>
                </a:cxnLst>
                <a:rect l="l" t="t" r="r" b="b"/>
                <a:pathLst>
                  <a:path w="4363" h="8056">
                    <a:moveTo>
                      <a:pt x="3382" y="7518"/>
                    </a:moveTo>
                    <a:cubicBezTo>
                      <a:pt x="-894" y="6354"/>
                      <a:pt x="-778" y="2806"/>
                      <a:pt x="-981" y="-539"/>
                    </a:cubicBezTo>
                    <a:cubicBezTo>
                      <a:pt x="1753" y="1206"/>
                      <a:pt x="3411" y="4260"/>
                      <a:pt x="3382" y="7518"/>
                    </a:cubicBezTo>
                    <a:close/>
                  </a:path>
                </a:pathLst>
              </a:custGeom>
              <a:solidFill>
                <a:srgbClr val="DBDEE5"/>
              </a:solidFill>
              <a:ln w="2907" cap="flat">
                <a:noFill/>
                <a:prstDash val="solid"/>
                <a:miter/>
              </a:ln>
            </p:spPr>
            <p:txBody>
              <a:bodyPr rtlCol="0" anchor="ctr"/>
              <a:lstStyle/>
              <a:p>
                <a:endParaRPr lang="en-US" sz="800"/>
              </a:p>
            </p:txBody>
          </p:sp>
          <p:sp>
            <p:nvSpPr>
              <p:cNvPr id="1232" name="Graphic 38">
                <a:extLst>
                  <a:ext uri="{FF2B5EF4-FFF2-40B4-BE49-F238E27FC236}">
                    <a16:creationId xmlns:a16="http://schemas.microsoft.com/office/drawing/2014/main" id="{3132F812-01B5-C92B-BA72-F86BAA6FBE54}"/>
                  </a:ext>
                </a:extLst>
              </p:cNvPr>
              <p:cNvSpPr/>
              <p:nvPr/>
            </p:nvSpPr>
            <p:spPr>
              <a:xfrm>
                <a:off x="16208396" y="1844166"/>
                <a:ext cx="3054" cy="2472"/>
              </a:xfrm>
              <a:custGeom>
                <a:avLst/>
                <a:gdLst>
                  <a:gd name="connsiteX0" fmla="*/ -981 w 3054"/>
                  <a:gd name="connsiteY0" fmla="*/ 1933 h 2472"/>
                  <a:gd name="connsiteX1" fmla="*/ 2073 w 3054"/>
                  <a:gd name="connsiteY1" fmla="*/ -539 h 2472"/>
                </a:gdLst>
                <a:ahLst/>
                <a:cxnLst>
                  <a:cxn ang="0">
                    <a:pos x="connsiteX0" y="connsiteY0"/>
                  </a:cxn>
                  <a:cxn ang="0">
                    <a:pos x="connsiteX1" y="connsiteY1"/>
                  </a:cxn>
                </a:cxnLst>
                <a:rect l="l" t="t" r="r" b="b"/>
                <a:pathLst>
                  <a:path w="3054" h="2472">
                    <a:moveTo>
                      <a:pt x="-981" y="1933"/>
                    </a:moveTo>
                    <a:lnTo>
                      <a:pt x="2073" y="-539"/>
                    </a:lnTo>
                    <a:close/>
                  </a:path>
                </a:pathLst>
              </a:custGeom>
              <a:solidFill>
                <a:srgbClr val="DBDEE5"/>
              </a:solidFill>
              <a:ln w="2907" cap="flat">
                <a:noFill/>
                <a:prstDash val="solid"/>
                <a:miter/>
              </a:ln>
            </p:spPr>
            <p:txBody>
              <a:bodyPr rtlCol="0" anchor="ctr"/>
              <a:lstStyle/>
              <a:p>
                <a:endParaRPr lang="en-US" sz="800"/>
              </a:p>
            </p:txBody>
          </p:sp>
          <p:sp>
            <p:nvSpPr>
              <p:cNvPr id="1233" name="Graphic 38">
                <a:extLst>
                  <a:ext uri="{FF2B5EF4-FFF2-40B4-BE49-F238E27FC236}">
                    <a16:creationId xmlns:a16="http://schemas.microsoft.com/office/drawing/2014/main" id="{940E9BDA-D597-9D75-9DE9-747ED5235DDF}"/>
                  </a:ext>
                </a:extLst>
              </p:cNvPr>
              <p:cNvSpPr/>
              <p:nvPr/>
            </p:nvSpPr>
            <p:spPr>
              <a:xfrm>
                <a:off x="16205196" y="1847248"/>
                <a:ext cx="2384" cy="2036"/>
              </a:xfrm>
              <a:custGeom>
                <a:avLst/>
                <a:gdLst>
                  <a:gd name="connsiteX0" fmla="*/ -981 w 2384"/>
                  <a:gd name="connsiteY0" fmla="*/ 1497 h 2036"/>
                  <a:gd name="connsiteX1" fmla="*/ 1403 w 2384"/>
                  <a:gd name="connsiteY1" fmla="*/ -539 h 2036"/>
                </a:gdLst>
                <a:ahLst/>
                <a:cxnLst>
                  <a:cxn ang="0">
                    <a:pos x="connsiteX0" y="connsiteY0"/>
                  </a:cxn>
                  <a:cxn ang="0">
                    <a:pos x="connsiteX1" y="connsiteY1"/>
                  </a:cxn>
                </a:cxnLst>
                <a:rect l="l" t="t" r="r" b="b"/>
                <a:pathLst>
                  <a:path w="2384" h="2036">
                    <a:moveTo>
                      <a:pt x="-981" y="1497"/>
                    </a:moveTo>
                    <a:lnTo>
                      <a:pt x="1403" y="-539"/>
                    </a:lnTo>
                    <a:close/>
                  </a:path>
                </a:pathLst>
              </a:custGeom>
              <a:solidFill>
                <a:srgbClr val="DBDEE5"/>
              </a:solidFill>
              <a:ln w="2907" cap="flat">
                <a:noFill/>
                <a:prstDash val="solid"/>
                <a:miter/>
              </a:ln>
            </p:spPr>
            <p:txBody>
              <a:bodyPr rtlCol="0" anchor="ctr"/>
              <a:lstStyle/>
              <a:p>
                <a:endParaRPr lang="en-US" sz="800"/>
              </a:p>
            </p:txBody>
          </p:sp>
          <p:sp>
            <p:nvSpPr>
              <p:cNvPr id="1234" name="Graphic 38">
                <a:extLst>
                  <a:ext uri="{FF2B5EF4-FFF2-40B4-BE49-F238E27FC236}">
                    <a16:creationId xmlns:a16="http://schemas.microsoft.com/office/drawing/2014/main" id="{787A0C96-5D6B-374C-07A5-185755D81829}"/>
                  </a:ext>
                </a:extLst>
              </p:cNvPr>
              <p:cNvSpPr/>
              <p:nvPr/>
            </p:nvSpPr>
            <p:spPr>
              <a:xfrm>
                <a:off x="16662314" y="1150455"/>
                <a:ext cx="432353" cy="156123"/>
              </a:xfrm>
              <a:custGeom>
                <a:avLst/>
                <a:gdLst>
                  <a:gd name="connsiteX0" fmla="*/ 431059 w 432353"/>
                  <a:gd name="connsiteY0" fmla="*/ 19995 h 156123"/>
                  <a:gd name="connsiteX1" fmla="*/ 431321 w 432353"/>
                  <a:gd name="connsiteY1" fmla="*/ 122777 h 156123"/>
                  <a:gd name="connsiteX2" fmla="*/ 399061 w 432353"/>
                  <a:gd name="connsiteY2" fmla="*/ 155439 h 156123"/>
                  <a:gd name="connsiteX3" fmla="*/ 30390 w 432353"/>
                  <a:gd name="connsiteY3" fmla="*/ 155439 h 156123"/>
                  <a:gd name="connsiteX4" fmla="*/ -270 w 432353"/>
                  <a:gd name="connsiteY4" fmla="*/ 128216 h 156123"/>
                  <a:gd name="connsiteX5" fmla="*/ 777 w 432353"/>
                  <a:gd name="connsiteY5" fmla="*/ 16039 h 156123"/>
                  <a:gd name="connsiteX6" fmla="*/ 1563 w 432353"/>
                  <a:gd name="connsiteY6" fmla="*/ 13858 h 156123"/>
                  <a:gd name="connsiteX7" fmla="*/ 7758 w 432353"/>
                  <a:gd name="connsiteY7" fmla="*/ 6791 h 156123"/>
                  <a:gd name="connsiteX8" fmla="*/ 7758 w 432353"/>
                  <a:gd name="connsiteY8" fmla="*/ 6791 h 156123"/>
                  <a:gd name="connsiteX9" fmla="*/ 11657 w 432353"/>
                  <a:gd name="connsiteY9" fmla="*/ 3708 h 156123"/>
                  <a:gd name="connsiteX10" fmla="*/ 17678 w 432353"/>
                  <a:gd name="connsiteY10" fmla="*/ 1061 h 156123"/>
                  <a:gd name="connsiteX11" fmla="*/ 19045 w 432353"/>
                  <a:gd name="connsiteY11" fmla="*/ 1061 h 156123"/>
                  <a:gd name="connsiteX12" fmla="*/ 19888 w 432353"/>
                  <a:gd name="connsiteY12" fmla="*/ -73 h 156123"/>
                  <a:gd name="connsiteX13" fmla="*/ 20238 w 432353"/>
                  <a:gd name="connsiteY13" fmla="*/ -73 h 156123"/>
                  <a:gd name="connsiteX14" fmla="*/ 26550 w 432353"/>
                  <a:gd name="connsiteY14" fmla="*/ -539 h 156123"/>
                  <a:gd name="connsiteX15" fmla="*/ 33066 w 432353"/>
                  <a:gd name="connsiteY15" fmla="*/ -539 h 156123"/>
                  <a:gd name="connsiteX16" fmla="*/ 51973 w 432353"/>
                  <a:gd name="connsiteY16" fmla="*/ 188 h 156123"/>
                  <a:gd name="connsiteX17" fmla="*/ 412675 w 432353"/>
                  <a:gd name="connsiteY17" fmla="*/ 537 h 156123"/>
                  <a:gd name="connsiteX18" fmla="*/ 412472 w 432353"/>
                  <a:gd name="connsiteY18" fmla="*/ 537 h 156123"/>
                  <a:gd name="connsiteX19" fmla="*/ 416137 w 432353"/>
                  <a:gd name="connsiteY19" fmla="*/ 2486 h 156123"/>
                  <a:gd name="connsiteX20" fmla="*/ 417096 w 432353"/>
                  <a:gd name="connsiteY20" fmla="*/ 2981 h 156123"/>
                  <a:gd name="connsiteX21" fmla="*/ 425241 w 432353"/>
                  <a:gd name="connsiteY21" fmla="*/ 10019 h 156123"/>
                  <a:gd name="connsiteX22" fmla="*/ 428150 w 432353"/>
                  <a:gd name="connsiteY22" fmla="*/ 13829 h 156123"/>
                  <a:gd name="connsiteX23" fmla="*/ 427859 w 432353"/>
                  <a:gd name="connsiteY23" fmla="*/ 14556 h 156123"/>
                  <a:gd name="connsiteX24" fmla="*/ 428732 w 432353"/>
                  <a:gd name="connsiteY24" fmla="*/ 14730 h 156123"/>
                  <a:gd name="connsiteX25" fmla="*/ 429198 w 432353"/>
                  <a:gd name="connsiteY25" fmla="*/ 16039 h 156123"/>
                  <a:gd name="connsiteX26" fmla="*/ 431176 w 432353"/>
                  <a:gd name="connsiteY26" fmla="*/ 19878 h 15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2353" h="156123">
                    <a:moveTo>
                      <a:pt x="431059" y="19995"/>
                    </a:moveTo>
                    <a:cubicBezTo>
                      <a:pt x="431059" y="54256"/>
                      <a:pt x="431524" y="88516"/>
                      <a:pt x="431321" y="122777"/>
                    </a:cubicBezTo>
                    <a:cubicBezTo>
                      <a:pt x="431059" y="143805"/>
                      <a:pt x="419889" y="155439"/>
                      <a:pt x="399061" y="155439"/>
                    </a:cubicBezTo>
                    <a:cubicBezTo>
                      <a:pt x="276161" y="155634"/>
                      <a:pt x="153290" y="155634"/>
                      <a:pt x="30390" y="155439"/>
                    </a:cubicBezTo>
                    <a:cubicBezTo>
                      <a:pt x="12151" y="155439"/>
                      <a:pt x="-183" y="144997"/>
                      <a:pt x="-270" y="128216"/>
                    </a:cubicBezTo>
                    <a:cubicBezTo>
                      <a:pt x="-503" y="90843"/>
                      <a:pt x="-2248" y="53412"/>
                      <a:pt x="777" y="16039"/>
                    </a:cubicBezTo>
                    <a:cubicBezTo>
                      <a:pt x="1417" y="15501"/>
                      <a:pt x="1708" y="14672"/>
                      <a:pt x="1563" y="13858"/>
                    </a:cubicBezTo>
                    <a:cubicBezTo>
                      <a:pt x="4617" y="12587"/>
                      <a:pt x="6886" y="9978"/>
                      <a:pt x="7758" y="6791"/>
                    </a:cubicBezTo>
                    <a:lnTo>
                      <a:pt x="7758" y="6791"/>
                    </a:lnTo>
                    <a:lnTo>
                      <a:pt x="11657" y="3708"/>
                    </a:lnTo>
                    <a:lnTo>
                      <a:pt x="17678" y="1061"/>
                    </a:lnTo>
                    <a:lnTo>
                      <a:pt x="19045" y="1061"/>
                    </a:lnTo>
                    <a:lnTo>
                      <a:pt x="19888" y="-73"/>
                    </a:lnTo>
                    <a:lnTo>
                      <a:pt x="20238" y="-73"/>
                    </a:lnTo>
                    <a:lnTo>
                      <a:pt x="26550" y="-539"/>
                    </a:lnTo>
                    <a:lnTo>
                      <a:pt x="33066" y="-539"/>
                    </a:lnTo>
                    <a:cubicBezTo>
                      <a:pt x="39378" y="-277"/>
                      <a:pt x="45661" y="188"/>
                      <a:pt x="51973" y="188"/>
                    </a:cubicBezTo>
                    <a:cubicBezTo>
                      <a:pt x="172198" y="343"/>
                      <a:pt x="292451" y="459"/>
                      <a:pt x="412675" y="537"/>
                    </a:cubicBezTo>
                    <a:lnTo>
                      <a:pt x="412472" y="537"/>
                    </a:lnTo>
                    <a:lnTo>
                      <a:pt x="416137" y="2486"/>
                    </a:lnTo>
                    <a:lnTo>
                      <a:pt x="417096" y="2981"/>
                    </a:lnTo>
                    <a:cubicBezTo>
                      <a:pt x="418726" y="6343"/>
                      <a:pt x="421664" y="8888"/>
                      <a:pt x="425241" y="10019"/>
                    </a:cubicBezTo>
                    <a:lnTo>
                      <a:pt x="428150" y="13829"/>
                    </a:lnTo>
                    <a:lnTo>
                      <a:pt x="427859" y="14556"/>
                    </a:lnTo>
                    <a:lnTo>
                      <a:pt x="428732" y="14730"/>
                    </a:lnTo>
                    <a:lnTo>
                      <a:pt x="429198" y="16039"/>
                    </a:lnTo>
                    <a:lnTo>
                      <a:pt x="431176" y="19878"/>
                    </a:lnTo>
                    <a:close/>
                  </a:path>
                </a:pathLst>
              </a:custGeom>
              <a:solidFill>
                <a:schemeClr val="bg2"/>
              </a:solidFill>
              <a:ln w="2907" cap="flat">
                <a:noFill/>
                <a:prstDash val="solid"/>
                <a:miter/>
              </a:ln>
            </p:spPr>
            <p:txBody>
              <a:bodyPr rtlCol="0" anchor="ctr"/>
              <a:lstStyle/>
              <a:p>
                <a:endParaRPr lang="en-US" sz="800"/>
              </a:p>
            </p:txBody>
          </p:sp>
          <p:sp>
            <p:nvSpPr>
              <p:cNvPr id="1235" name="Graphic 38">
                <a:extLst>
                  <a:ext uri="{FF2B5EF4-FFF2-40B4-BE49-F238E27FC236}">
                    <a16:creationId xmlns:a16="http://schemas.microsoft.com/office/drawing/2014/main" id="{43782AAA-D7FB-6231-CAA1-E5D600645CB8}"/>
                  </a:ext>
                </a:extLst>
              </p:cNvPr>
              <p:cNvSpPr/>
              <p:nvPr/>
            </p:nvSpPr>
            <p:spPr>
              <a:xfrm>
                <a:off x="16696273" y="1147728"/>
                <a:ext cx="379609" cy="3890"/>
              </a:xfrm>
              <a:custGeom>
                <a:avLst/>
                <a:gdLst>
                  <a:gd name="connsiteX0" fmla="*/ 378628 w 379609"/>
                  <a:gd name="connsiteY0" fmla="*/ 3352 h 3890"/>
                  <a:gd name="connsiteX1" fmla="*/ 17926 w 379609"/>
                  <a:gd name="connsiteY1" fmla="*/ 3003 h 3890"/>
                  <a:gd name="connsiteX2" fmla="*/ -981 w 379609"/>
                  <a:gd name="connsiteY2" fmla="*/ 2276 h 3890"/>
                  <a:gd name="connsiteX3" fmla="*/ 15861 w 379609"/>
                  <a:gd name="connsiteY3" fmla="*/ -138 h 3890"/>
                  <a:gd name="connsiteX4" fmla="*/ 360797 w 379609"/>
                  <a:gd name="connsiteY4" fmla="*/ -138 h 3890"/>
                  <a:gd name="connsiteX5" fmla="*/ 378628 w 379609"/>
                  <a:gd name="connsiteY5" fmla="*/ 3352 h 3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9609" h="3890">
                    <a:moveTo>
                      <a:pt x="378628" y="3352"/>
                    </a:moveTo>
                    <a:cubicBezTo>
                      <a:pt x="258404" y="3235"/>
                      <a:pt x="138151" y="3119"/>
                      <a:pt x="17926" y="3003"/>
                    </a:cubicBezTo>
                    <a:cubicBezTo>
                      <a:pt x="11614" y="3003"/>
                      <a:pt x="5331" y="2537"/>
                      <a:pt x="-981" y="2276"/>
                    </a:cubicBezTo>
                    <a:cubicBezTo>
                      <a:pt x="4167" y="-1622"/>
                      <a:pt x="10189" y="-138"/>
                      <a:pt x="15861" y="-138"/>
                    </a:cubicBezTo>
                    <a:cubicBezTo>
                      <a:pt x="130849" y="-138"/>
                      <a:pt x="245809" y="-138"/>
                      <a:pt x="360797" y="-138"/>
                    </a:cubicBezTo>
                    <a:cubicBezTo>
                      <a:pt x="366789" y="-109"/>
                      <a:pt x="373566" y="-2320"/>
                      <a:pt x="378628" y="3352"/>
                    </a:cubicBezTo>
                    <a:close/>
                  </a:path>
                </a:pathLst>
              </a:custGeom>
              <a:solidFill>
                <a:srgbClr val="EBECF1"/>
              </a:solidFill>
              <a:ln w="2907" cap="flat">
                <a:noFill/>
                <a:prstDash val="solid"/>
                <a:miter/>
              </a:ln>
            </p:spPr>
            <p:txBody>
              <a:bodyPr rtlCol="0" anchor="ctr"/>
              <a:lstStyle/>
              <a:p>
                <a:endParaRPr lang="en-US" sz="800"/>
              </a:p>
            </p:txBody>
          </p:sp>
          <p:sp>
            <p:nvSpPr>
              <p:cNvPr id="1236" name="Graphic 38">
                <a:extLst>
                  <a:ext uri="{FF2B5EF4-FFF2-40B4-BE49-F238E27FC236}">
                    <a16:creationId xmlns:a16="http://schemas.microsoft.com/office/drawing/2014/main" id="{BAC51A87-60E5-50CB-7D80-791CA1F60625}"/>
                  </a:ext>
                </a:extLst>
              </p:cNvPr>
              <p:cNvSpPr/>
              <p:nvPr/>
            </p:nvSpPr>
            <p:spPr>
              <a:xfrm>
                <a:off x="17080217" y="1154061"/>
                <a:ext cx="8319" cy="6951"/>
              </a:xfrm>
              <a:custGeom>
                <a:avLst/>
                <a:gdLst>
                  <a:gd name="connsiteX0" fmla="*/ 7338 w 8319"/>
                  <a:gd name="connsiteY0" fmla="*/ 6412 h 6951"/>
                  <a:gd name="connsiteX1" fmla="*/ -981 w 8319"/>
                  <a:gd name="connsiteY1" fmla="*/ -539 h 6951"/>
                  <a:gd name="connsiteX2" fmla="*/ 7338 w 8319"/>
                  <a:gd name="connsiteY2" fmla="*/ 6412 h 6951"/>
                </a:gdLst>
                <a:ahLst/>
                <a:cxnLst>
                  <a:cxn ang="0">
                    <a:pos x="connsiteX0" y="connsiteY0"/>
                  </a:cxn>
                  <a:cxn ang="0">
                    <a:pos x="connsiteX1" y="connsiteY1"/>
                  </a:cxn>
                  <a:cxn ang="0">
                    <a:pos x="connsiteX2" y="connsiteY2"/>
                  </a:cxn>
                </a:cxnLst>
                <a:rect l="l" t="t" r="r" b="b"/>
                <a:pathLst>
                  <a:path w="8319" h="6951">
                    <a:moveTo>
                      <a:pt x="7338" y="6412"/>
                    </a:moveTo>
                    <a:cubicBezTo>
                      <a:pt x="3731" y="5345"/>
                      <a:pt x="706" y="2829"/>
                      <a:pt x="-981" y="-539"/>
                    </a:cubicBezTo>
                    <a:cubicBezTo>
                      <a:pt x="3528" y="-335"/>
                      <a:pt x="7338" y="857"/>
                      <a:pt x="7338" y="6412"/>
                    </a:cubicBezTo>
                    <a:close/>
                  </a:path>
                </a:pathLst>
              </a:custGeom>
              <a:solidFill>
                <a:srgbClr val="EBECF1"/>
              </a:solidFill>
              <a:ln w="2907" cap="flat">
                <a:noFill/>
                <a:prstDash val="solid"/>
                <a:miter/>
              </a:ln>
            </p:spPr>
            <p:txBody>
              <a:bodyPr rtlCol="0" anchor="ctr"/>
              <a:lstStyle/>
              <a:p>
                <a:endParaRPr lang="en-US" sz="800"/>
              </a:p>
            </p:txBody>
          </p:sp>
          <p:sp>
            <p:nvSpPr>
              <p:cNvPr id="1237" name="Graphic 38">
                <a:extLst>
                  <a:ext uri="{FF2B5EF4-FFF2-40B4-BE49-F238E27FC236}">
                    <a16:creationId xmlns:a16="http://schemas.microsoft.com/office/drawing/2014/main" id="{9A899DF4-58F6-23B8-C71A-10FC84F5C162}"/>
                  </a:ext>
                </a:extLst>
              </p:cNvPr>
              <p:cNvSpPr/>
              <p:nvPr/>
            </p:nvSpPr>
            <p:spPr>
              <a:xfrm>
                <a:off x="16664689" y="1157731"/>
                <a:ext cx="6335" cy="7091"/>
              </a:xfrm>
              <a:custGeom>
                <a:avLst/>
                <a:gdLst>
                  <a:gd name="connsiteX0" fmla="*/ 5354 w 6335"/>
                  <a:gd name="connsiteY0" fmla="*/ -515 h 7091"/>
                  <a:gd name="connsiteX1" fmla="*/ -841 w 6335"/>
                  <a:gd name="connsiteY1" fmla="*/ 6553 h 7091"/>
                  <a:gd name="connsiteX2" fmla="*/ 3551 w 6335"/>
                  <a:gd name="connsiteY2" fmla="*/ -395 h 7091"/>
                  <a:gd name="connsiteX3" fmla="*/ 5354 w 6335"/>
                  <a:gd name="connsiteY3" fmla="*/ -515 h 7091"/>
                </a:gdLst>
                <a:ahLst/>
                <a:cxnLst>
                  <a:cxn ang="0">
                    <a:pos x="connsiteX0" y="connsiteY0"/>
                  </a:cxn>
                  <a:cxn ang="0">
                    <a:pos x="connsiteX1" y="connsiteY1"/>
                  </a:cxn>
                  <a:cxn ang="0">
                    <a:pos x="connsiteX2" y="connsiteY2"/>
                  </a:cxn>
                  <a:cxn ang="0">
                    <a:pos x="connsiteX3" y="connsiteY3"/>
                  </a:cxn>
                </a:cxnLst>
                <a:rect l="l" t="t" r="r" b="b"/>
                <a:pathLst>
                  <a:path w="6335" h="7091">
                    <a:moveTo>
                      <a:pt x="5354" y="-515"/>
                    </a:moveTo>
                    <a:cubicBezTo>
                      <a:pt x="4482" y="2673"/>
                      <a:pt x="2213" y="5282"/>
                      <a:pt x="-841" y="6553"/>
                    </a:cubicBezTo>
                    <a:cubicBezTo>
                      <a:pt x="-1539" y="3417"/>
                      <a:pt x="439" y="305"/>
                      <a:pt x="3551" y="-395"/>
                    </a:cubicBezTo>
                    <a:cubicBezTo>
                      <a:pt x="4162" y="-529"/>
                      <a:pt x="4744" y="-570"/>
                      <a:pt x="5354" y="-515"/>
                    </a:cubicBezTo>
                    <a:close/>
                  </a:path>
                </a:pathLst>
              </a:custGeom>
              <a:solidFill>
                <a:srgbClr val="EBECF1"/>
              </a:solidFill>
              <a:ln w="2907" cap="flat">
                <a:noFill/>
                <a:prstDash val="solid"/>
                <a:miter/>
              </a:ln>
            </p:spPr>
            <p:txBody>
              <a:bodyPr rtlCol="0" anchor="ctr"/>
              <a:lstStyle/>
              <a:p>
                <a:endParaRPr lang="en-US" sz="800"/>
              </a:p>
            </p:txBody>
          </p:sp>
          <p:sp>
            <p:nvSpPr>
              <p:cNvPr id="1238" name="Graphic 38">
                <a:extLst>
                  <a:ext uri="{FF2B5EF4-FFF2-40B4-BE49-F238E27FC236}">
                    <a16:creationId xmlns:a16="http://schemas.microsoft.com/office/drawing/2014/main" id="{705910FA-D033-C8FB-1E86-66E6AB8EB138}"/>
                  </a:ext>
                </a:extLst>
              </p:cNvPr>
              <p:cNvSpPr/>
              <p:nvPr/>
            </p:nvSpPr>
            <p:spPr>
              <a:xfrm>
                <a:off x="16683387" y="1148803"/>
                <a:ext cx="6312" cy="2204"/>
              </a:xfrm>
              <a:custGeom>
                <a:avLst/>
                <a:gdLst>
                  <a:gd name="connsiteX0" fmla="*/ 5331 w 6312"/>
                  <a:gd name="connsiteY0" fmla="*/ 1201 h 2204"/>
                  <a:gd name="connsiteX1" fmla="*/ -981 w 6312"/>
                  <a:gd name="connsiteY1" fmla="*/ 1666 h 2204"/>
                  <a:gd name="connsiteX2" fmla="*/ 5331 w 6312"/>
                  <a:gd name="connsiteY2" fmla="*/ 1201 h 2204"/>
                </a:gdLst>
                <a:ahLst/>
                <a:cxnLst>
                  <a:cxn ang="0">
                    <a:pos x="connsiteX0" y="connsiteY0"/>
                  </a:cxn>
                  <a:cxn ang="0">
                    <a:pos x="connsiteX1" y="connsiteY1"/>
                  </a:cxn>
                  <a:cxn ang="0">
                    <a:pos x="connsiteX2" y="connsiteY2"/>
                  </a:cxn>
                </a:cxnLst>
                <a:rect l="l" t="t" r="r" b="b"/>
                <a:pathLst>
                  <a:path w="6312" h="2204">
                    <a:moveTo>
                      <a:pt x="5331" y="1201"/>
                    </a:moveTo>
                    <a:lnTo>
                      <a:pt x="-981" y="1666"/>
                    </a:lnTo>
                    <a:cubicBezTo>
                      <a:pt x="938" y="-1068"/>
                      <a:pt x="3033" y="-1301"/>
                      <a:pt x="5331" y="1201"/>
                    </a:cubicBezTo>
                    <a:close/>
                  </a:path>
                </a:pathLst>
              </a:custGeom>
              <a:solidFill>
                <a:srgbClr val="EBECF1"/>
              </a:solidFill>
              <a:ln w="2907" cap="flat">
                <a:noFill/>
                <a:prstDash val="solid"/>
                <a:miter/>
              </a:ln>
            </p:spPr>
            <p:txBody>
              <a:bodyPr rtlCol="0" anchor="ctr"/>
              <a:lstStyle/>
              <a:p>
                <a:endParaRPr lang="en-US" sz="800"/>
              </a:p>
            </p:txBody>
          </p:sp>
          <p:sp>
            <p:nvSpPr>
              <p:cNvPr id="1239" name="Graphic 38">
                <a:extLst>
                  <a:ext uri="{FF2B5EF4-FFF2-40B4-BE49-F238E27FC236}">
                    <a16:creationId xmlns:a16="http://schemas.microsoft.com/office/drawing/2014/main" id="{47F581B2-B87D-8069-B497-4580E23F4907}"/>
                  </a:ext>
                </a:extLst>
              </p:cNvPr>
              <p:cNvSpPr/>
              <p:nvPr/>
            </p:nvSpPr>
            <p:spPr>
              <a:xfrm>
                <a:off x="17092580" y="1166916"/>
                <a:ext cx="1978" cy="3838"/>
              </a:xfrm>
              <a:custGeom>
                <a:avLst/>
                <a:gdLst>
                  <a:gd name="connsiteX0" fmla="*/ 997 w 1978"/>
                  <a:gd name="connsiteY0" fmla="*/ 3300 h 3838"/>
                  <a:gd name="connsiteX1" fmla="*/ -981 w 1978"/>
                  <a:gd name="connsiteY1" fmla="*/ -539 h 3838"/>
                </a:gdLst>
                <a:ahLst/>
                <a:cxnLst>
                  <a:cxn ang="0">
                    <a:pos x="connsiteX0" y="connsiteY0"/>
                  </a:cxn>
                  <a:cxn ang="0">
                    <a:pos x="connsiteX1" y="connsiteY1"/>
                  </a:cxn>
                </a:cxnLst>
                <a:rect l="l" t="t" r="r" b="b"/>
                <a:pathLst>
                  <a:path w="1978" h="3838">
                    <a:moveTo>
                      <a:pt x="997" y="3300"/>
                    </a:moveTo>
                    <a:lnTo>
                      <a:pt x="-981" y="-539"/>
                    </a:lnTo>
                    <a:close/>
                  </a:path>
                </a:pathLst>
              </a:custGeom>
              <a:solidFill>
                <a:srgbClr val="EBECF1"/>
              </a:solidFill>
              <a:ln w="2907" cap="flat">
                <a:noFill/>
                <a:prstDash val="solid"/>
                <a:miter/>
              </a:ln>
            </p:spPr>
            <p:txBody>
              <a:bodyPr rtlCol="0" anchor="ctr"/>
              <a:lstStyle/>
              <a:p>
                <a:endParaRPr lang="en-US" sz="800"/>
              </a:p>
            </p:txBody>
          </p:sp>
          <p:sp>
            <p:nvSpPr>
              <p:cNvPr id="1240" name="Graphic 38">
                <a:extLst>
                  <a:ext uri="{FF2B5EF4-FFF2-40B4-BE49-F238E27FC236}">
                    <a16:creationId xmlns:a16="http://schemas.microsoft.com/office/drawing/2014/main" id="{DC56E5AA-A89B-C023-BB60-DD9F6491CEEA}"/>
                  </a:ext>
                </a:extLst>
              </p:cNvPr>
              <p:cNvSpPr/>
              <p:nvPr/>
            </p:nvSpPr>
            <p:spPr>
              <a:xfrm>
                <a:off x="17091242" y="1164706"/>
                <a:ext cx="872" cy="901"/>
              </a:xfrm>
              <a:custGeom>
                <a:avLst/>
                <a:gdLst>
                  <a:gd name="connsiteX0" fmla="*/ -109 w 872"/>
                  <a:gd name="connsiteY0" fmla="*/ 363 h 901"/>
                  <a:gd name="connsiteX1" fmla="*/ -981 w 872"/>
                  <a:gd name="connsiteY1" fmla="*/ 188 h 901"/>
                  <a:gd name="connsiteX2" fmla="*/ -690 w 872"/>
                  <a:gd name="connsiteY2" fmla="*/ -539 h 901"/>
                </a:gdLst>
                <a:ahLst/>
                <a:cxnLst>
                  <a:cxn ang="0">
                    <a:pos x="connsiteX0" y="connsiteY0"/>
                  </a:cxn>
                  <a:cxn ang="0">
                    <a:pos x="connsiteX1" y="connsiteY1"/>
                  </a:cxn>
                  <a:cxn ang="0">
                    <a:pos x="connsiteX2" y="connsiteY2"/>
                  </a:cxn>
                </a:cxnLst>
                <a:rect l="l" t="t" r="r" b="b"/>
                <a:pathLst>
                  <a:path w="872" h="901">
                    <a:moveTo>
                      <a:pt x="-109" y="363"/>
                    </a:moveTo>
                    <a:lnTo>
                      <a:pt x="-981" y="188"/>
                    </a:lnTo>
                    <a:cubicBezTo>
                      <a:pt x="-894" y="-59"/>
                      <a:pt x="-807" y="-300"/>
                      <a:pt x="-690" y="-539"/>
                    </a:cubicBezTo>
                    <a:close/>
                  </a:path>
                </a:pathLst>
              </a:custGeom>
              <a:solidFill>
                <a:srgbClr val="EBECF1"/>
              </a:solidFill>
              <a:ln w="2907" cap="flat">
                <a:noFill/>
                <a:prstDash val="solid"/>
                <a:miter/>
              </a:ln>
            </p:spPr>
            <p:txBody>
              <a:bodyPr rtlCol="0" anchor="ctr"/>
              <a:lstStyle/>
              <a:p>
                <a:endParaRPr lang="en-US" sz="800"/>
              </a:p>
            </p:txBody>
          </p:sp>
          <p:sp>
            <p:nvSpPr>
              <p:cNvPr id="1241" name="Graphic 38">
                <a:extLst>
                  <a:ext uri="{FF2B5EF4-FFF2-40B4-BE49-F238E27FC236}">
                    <a16:creationId xmlns:a16="http://schemas.microsoft.com/office/drawing/2014/main" id="{6D3CEA8D-4B26-E214-1A02-7C11F66C2648}"/>
                  </a:ext>
                </a:extLst>
              </p:cNvPr>
              <p:cNvSpPr/>
              <p:nvPr/>
            </p:nvSpPr>
            <p:spPr>
              <a:xfrm>
                <a:off x="16680828" y="1151124"/>
                <a:ext cx="2210" cy="1134"/>
              </a:xfrm>
              <a:custGeom>
                <a:avLst/>
                <a:gdLst>
                  <a:gd name="connsiteX0" fmla="*/ 1229 w 2210"/>
                  <a:gd name="connsiteY0" fmla="*/ -539 h 1134"/>
                  <a:gd name="connsiteX1" fmla="*/ 386 w 2210"/>
                  <a:gd name="connsiteY1" fmla="*/ 596 h 1134"/>
                  <a:gd name="connsiteX2" fmla="*/ -981 w 2210"/>
                  <a:gd name="connsiteY2" fmla="*/ 596 h 1134"/>
                  <a:gd name="connsiteX3" fmla="*/ 1229 w 2210"/>
                  <a:gd name="connsiteY3" fmla="*/ -539 h 1134"/>
                </a:gdLst>
                <a:ahLst/>
                <a:cxnLst>
                  <a:cxn ang="0">
                    <a:pos x="connsiteX0" y="connsiteY0"/>
                  </a:cxn>
                  <a:cxn ang="0">
                    <a:pos x="connsiteX1" y="connsiteY1"/>
                  </a:cxn>
                  <a:cxn ang="0">
                    <a:pos x="connsiteX2" y="connsiteY2"/>
                  </a:cxn>
                  <a:cxn ang="0">
                    <a:pos x="connsiteX3" y="connsiteY3"/>
                  </a:cxn>
                </a:cxnLst>
                <a:rect l="l" t="t" r="r" b="b"/>
                <a:pathLst>
                  <a:path w="2210" h="1134">
                    <a:moveTo>
                      <a:pt x="1229" y="-539"/>
                    </a:moveTo>
                    <a:lnTo>
                      <a:pt x="386" y="596"/>
                    </a:lnTo>
                    <a:lnTo>
                      <a:pt x="-981" y="596"/>
                    </a:lnTo>
                    <a:cubicBezTo>
                      <a:pt x="-371" y="2"/>
                      <a:pt x="386" y="-393"/>
                      <a:pt x="1229" y="-539"/>
                    </a:cubicBezTo>
                    <a:close/>
                  </a:path>
                </a:pathLst>
              </a:custGeom>
              <a:solidFill>
                <a:srgbClr val="EBECF1"/>
              </a:solidFill>
              <a:ln w="2907" cap="flat">
                <a:noFill/>
                <a:prstDash val="solid"/>
                <a:miter/>
              </a:ln>
            </p:spPr>
            <p:txBody>
              <a:bodyPr rtlCol="0" anchor="ctr"/>
              <a:lstStyle/>
              <a:p>
                <a:endParaRPr lang="en-US" sz="800"/>
              </a:p>
            </p:txBody>
          </p:sp>
          <p:sp>
            <p:nvSpPr>
              <p:cNvPr id="1242" name="Graphic 38">
                <a:extLst>
                  <a:ext uri="{FF2B5EF4-FFF2-40B4-BE49-F238E27FC236}">
                    <a16:creationId xmlns:a16="http://schemas.microsoft.com/office/drawing/2014/main" id="{D5CFBDEF-DC9E-C75F-B06A-CB8AAAB4ADB8}"/>
                  </a:ext>
                </a:extLst>
              </p:cNvPr>
              <p:cNvSpPr/>
              <p:nvPr/>
            </p:nvSpPr>
            <p:spPr>
              <a:xfrm>
                <a:off x="17075680" y="1151502"/>
                <a:ext cx="3665" cy="1948"/>
              </a:xfrm>
              <a:custGeom>
                <a:avLst/>
                <a:gdLst>
                  <a:gd name="connsiteX0" fmla="*/ 2684 w 3665"/>
                  <a:gd name="connsiteY0" fmla="*/ 1410 h 1948"/>
                  <a:gd name="connsiteX1" fmla="*/ -981 w 3665"/>
                  <a:gd name="connsiteY1" fmla="*/ -539 h 1948"/>
                </a:gdLst>
                <a:ahLst/>
                <a:cxnLst>
                  <a:cxn ang="0">
                    <a:pos x="connsiteX0" y="connsiteY0"/>
                  </a:cxn>
                  <a:cxn ang="0">
                    <a:pos x="connsiteX1" y="connsiteY1"/>
                  </a:cxn>
                </a:cxnLst>
                <a:rect l="l" t="t" r="r" b="b"/>
                <a:pathLst>
                  <a:path w="3665" h="1948">
                    <a:moveTo>
                      <a:pt x="2684" y="1410"/>
                    </a:moveTo>
                    <a:lnTo>
                      <a:pt x="-981" y="-539"/>
                    </a:lnTo>
                    <a:close/>
                  </a:path>
                </a:pathLst>
              </a:custGeom>
              <a:solidFill>
                <a:srgbClr val="EBECF1"/>
              </a:solidFill>
              <a:ln w="2907" cap="flat">
                <a:noFill/>
                <a:prstDash val="solid"/>
                <a:miter/>
              </a:ln>
            </p:spPr>
            <p:txBody>
              <a:bodyPr rtlCol="0" anchor="ctr"/>
              <a:lstStyle/>
              <a:p>
                <a:endParaRPr lang="en-US" sz="800"/>
              </a:p>
            </p:txBody>
          </p:sp>
          <p:sp>
            <p:nvSpPr>
              <p:cNvPr id="1243" name="Graphic 38">
                <a:extLst>
                  <a:ext uri="{FF2B5EF4-FFF2-40B4-BE49-F238E27FC236}">
                    <a16:creationId xmlns:a16="http://schemas.microsoft.com/office/drawing/2014/main" id="{CCFB2F7B-AE30-72BB-5BFE-CF5F56318FC0}"/>
                  </a:ext>
                </a:extLst>
              </p:cNvPr>
              <p:cNvSpPr/>
              <p:nvPr/>
            </p:nvSpPr>
            <p:spPr>
              <a:xfrm>
                <a:off x="16670908" y="1154759"/>
                <a:ext cx="3898" cy="3082"/>
              </a:xfrm>
              <a:custGeom>
                <a:avLst/>
                <a:gdLst>
                  <a:gd name="connsiteX0" fmla="*/ 2917 w 3898"/>
                  <a:gd name="connsiteY0" fmla="*/ -539 h 3082"/>
                  <a:gd name="connsiteX1" fmla="*/ -981 w 3898"/>
                  <a:gd name="connsiteY1" fmla="*/ 2544 h 3082"/>
                </a:gdLst>
                <a:ahLst/>
                <a:cxnLst>
                  <a:cxn ang="0">
                    <a:pos x="connsiteX0" y="connsiteY0"/>
                  </a:cxn>
                  <a:cxn ang="0">
                    <a:pos x="connsiteX1" y="connsiteY1"/>
                  </a:cxn>
                </a:cxnLst>
                <a:rect l="l" t="t" r="r" b="b"/>
                <a:pathLst>
                  <a:path w="3898" h="3082">
                    <a:moveTo>
                      <a:pt x="2917" y="-539"/>
                    </a:moveTo>
                    <a:lnTo>
                      <a:pt x="-981" y="2544"/>
                    </a:lnTo>
                    <a:close/>
                  </a:path>
                </a:pathLst>
              </a:custGeom>
              <a:solidFill>
                <a:srgbClr val="EBECF1"/>
              </a:solidFill>
              <a:ln w="2907" cap="flat">
                <a:noFill/>
                <a:prstDash val="solid"/>
                <a:miter/>
              </a:ln>
            </p:spPr>
            <p:txBody>
              <a:bodyPr rtlCol="0" anchor="ctr"/>
              <a:lstStyle/>
              <a:p>
                <a:endParaRPr lang="en-US" sz="800"/>
              </a:p>
            </p:txBody>
          </p:sp>
          <p:sp>
            <p:nvSpPr>
              <p:cNvPr id="1244" name="Graphic 38">
                <a:extLst>
                  <a:ext uri="{FF2B5EF4-FFF2-40B4-BE49-F238E27FC236}">
                    <a16:creationId xmlns:a16="http://schemas.microsoft.com/office/drawing/2014/main" id="{D437EFD5-90B7-13AD-50C1-4E0E98EF986B}"/>
                  </a:ext>
                </a:extLst>
              </p:cNvPr>
              <p:cNvSpPr/>
              <p:nvPr/>
            </p:nvSpPr>
            <p:spPr>
              <a:xfrm>
                <a:off x="14815819" y="1650129"/>
                <a:ext cx="432245" cy="342630"/>
              </a:xfrm>
              <a:custGeom>
                <a:avLst/>
                <a:gdLst>
                  <a:gd name="connsiteX0" fmla="*/ 214167 w 432245"/>
                  <a:gd name="connsiteY0" fmla="*/ -521 h 342630"/>
                  <a:gd name="connsiteX1" fmla="*/ 392918 w 432245"/>
                  <a:gd name="connsiteY1" fmla="*/ -521 h 342630"/>
                  <a:gd name="connsiteX2" fmla="*/ 431024 w 432245"/>
                  <a:gd name="connsiteY2" fmla="*/ 35921 h 342630"/>
                  <a:gd name="connsiteX3" fmla="*/ 431024 w 432245"/>
                  <a:gd name="connsiteY3" fmla="*/ 301370 h 342630"/>
                  <a:gd name="connsiteX4" fmla="*/ 390300 w 432245"/>
                  <a:gd name="connsiteY4" fmla="*/ 342088 h 342630"/>
                  <a:gd name="connsiteX5" fmla="*/ 34427 w 432245"/>
                  <a:gd name="connsiteY5" fmla="*/ 341710 h 342630"/>
                  <a:gd name="connsiteX6" fmla="*/ -741 w 432245"/>
                  <a:gd name="connsiteY6" fmla="*/ 308147 h 342630"/>
                  <a:gd name="connsiteX7" fmla="*/ -741 w 432245"/>
                  <a:gd name="connsiteY7" fmla="*/ 31529 h 342630"/>
                  <a:gd name="connsiteX8" fmla="*/ 32420 w 432245"/>
                  <a:gd name="connsiteY8" fmla="*/ -463 h 342630"/>
                  <a:gd name="connsiteX9" fmla="*/ 214167 w 432245"/>
                  <a:gd name="connsiteY9" fmla="*/ -521 h 34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245" h="342630">
                    <a:moveTo>
                      <a:pt x="214167" y="-521"/>
                    </a:moveTo>
                    <a:cubicBezTo>
                      <a:pt x="273741" y="-521"/>
                      <a:pt x="333315" y="-521"/>
                      <a:pt x="392918" y="-521"/>
                    </a:cubicBezTo>
                    <a:cubicBezTo>
                      <a:pt x="419883" y="-521"/>
                      <a:pt x="430937" y="9483"/>
                      <a:pt x="431024" y="35921"/>
                    </a:cubicBezTo>
                    <a:cubicBezTo>
                      <a:pt x="431344" y="124394"/>
                      <a:pt x="431344" y="212868"/>
                      <a:pt x="431024" y="301370"/>
                    </a:cubicBezTo>
                    <a:cubicBezTo>
                      <a:pt x="431024" y="326935"/>
                      <a:pt x="422297" y="342379"/>
                      <a:pt x="390300" y="342088"/>
                    </a:cubicBezTo>
                    <a:cubicBezTo>
                      <a:pt x="271676" y="341186"/>
                      <a:pt x="153051" y="341739"/>
                      <a:pt x="34427" y="341710"/>
                    </a:cubicBezTo>
                    <a:cubicBezTo>
                      <a:pt x="9498" y="341710"/>
                      <a:pt x="-654" y="332665"/>
                      <a:pt x="-741" y="308147"/>
                    </a:cubicBezTo>
                    <a:cubicBezTo>
                      <a:pt x="-1061" y="215951"/>
                      <a:pt x="-1061" y="123755"/>
                      <a:pt x="-741" y="31529"/>
                    </a:cubicBezTo>
                    <a:cubicBezTo>
                      <a:pt x="-741" y="7797"/>
                      <a:pt x="8683" y="-463"/>
                      <a:pt x="32420" y="-463"/>
                    </a:cubicBezTo>
                    <a:cubicBezTo>
                      <a:pt x="92983" y="-550"/>
                      <a:pt x="153575" y="-550"/>
                      <a:pt x="214167" y="-521"/>
                    </a:cubicBezTo>
                    <a:close/>
                  </a:path>
                </a:pathLst>
              </a:custGeom>
              <a:solidFill>
                <a:schemeClr val="accent6"/>
              </a:solidFill>
              <a:ln w="2907" cap="flat">
                <a:noFill/>
                <a:prstDash val="solid"/>
                <a:miter/>
              </a:ln>
            </p:spPr>
            <p:txBody>
              <a:bodyPr rtlCol="0" anchor="ctr"/>
              <a:lstStyle/>
              <a:p>
                <a:endParaRPr lang="en-US" sz="800"/>
              </a:p>
            </p:txBody>
          </p:sp>
          <p:sp>
            <p:nvSpPr>
              <p:cNvPr id="1245" name="Graphic 38">
                <a:extLst>
                  <a:ext uri="{FF2B5EF4-FFF2-40B4-BE49-F238E27FC236}">
                    <a16:creationId xmlns:a16="http://schemas.microsoft.com/office/drawing/2014/main" id="{2BA176B8-C789-99EF-1903-C8162C3C357D}"/>
                  </a:ext>
                </a:extLst>
              </p:cNvPr>
              <p:cNvSpPr/>
              <p:nvPr/>
            </p:nvSpPr>
            <p:spPr>
              <a:xfrm>
                <a:off x="14814372" y="2579844"/>
                <a:ext cx="432794" cy="254979"/>
              </a:xfrm>
              <a:custGeom>
                <a:avLst/>
                <a:gdLst>
                  <a:gd name="connsiteX0" fmla="*/ 13243 w 432794"/>
                  <a:gd name="connsiteY0" fmla="*/ 1352 h 254979"/>
                  <a:gd name="connsiteX1" fmla="*/ 40005 w 432794"/>
                  <a:gd name="connsiteY1" fmla="*/ -306 h 254979"/>
                  <a:gd name="connsiteX2" fmla="*/ 394365 w 432794"/>
                  <a:gd name="connsiteY2" fmla="*/ -539 h 254979"/>
                  <a:gd name="connsiteX3" fmla="*/ 427759 w 432794"/>
                  <a:gd name="connsiteY3" fmla="*/ 10513 h 254979"/>
                  <a:gd name="connsiteX4" fmla="*/ 428894 w 432794"/>
                  <a:gd name="connsiteY4" fmla="*/ 13189 h 254979"/>
                  <a:gd name="connsiteX5" fmla="*/ 431657 w 432794"/>
                  <a:gd name="connsiteY5" fmla="*/ 49166 h 254979"/>
                  <a:gd name="connsiteX6" fmla="*/ 431657 w 432794"/>
                  <a:gd name="connsiteY6" fmla="*/ 218289 h 254979"/>
                  <a:gd name="connsiteX7" fmla="*/ 395383 w 432794"/>
                  <a:gd name="connsiteY7" fmla="*/ 254441 h 254979"/>
                  <a:gd name="connsiteX8" fmla="*/ 36398 w 432794"/>
                  <a:gd name="connsiteY8" fmla="*/ 254441 h 254979"/>
                  <a:gd name="connsiteX9" fmla="*/ -312 w 432794"/>
                  <a:gd name="connsiteY9" fmla="*/ 218580 h 254979"/>
                  <a:gd name="connsiteX10" fmla="*/ -981 w 432794"/>
                  <a:gd name="connsiteY10" fmla="*/ 33693 h 254979"/>
                  <a:gd name="connsiteX11" fmla="*/ 13301 w 432794"/>
                  <a:gd name="connsiteY11" fmla="*/ 1410 h 25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794" h="254979">
                    <a:moveTo>
                      <a:pt x="13243" y="1352"/>
                    </a:moveTo>
                    <a:cubicBezTo>
                      <a:pt x="22174" y="770"/>
                      <a:pt x="31075" y="-306"/>
                      <a:pt x="40005" y="-306"/>
                    </a:cubicBezTo>
                    <a:cubicBezTo>
                      <a:pt x="158135" y="-306"/>
                      <a:pt x="276235" y="-306"/>
                      <a:pt x="394365" y="-539"/>
                    </a:cubicBezTo>
                    <a:cubicBezTo>
                      <a:pt x="407077" y="-539"/>
                      <a:pt x="418364" y="1556"/>
                      <a:pt x="427759" y="10513"/>
                    </a:cubicBezTo>
                    <a:cubicBezTo>
                      <a:pt x="427643" y="11531"/>
                      <a:pt x="428079" y="12549"/>
                      <a:pt x="428894" y="13189"/>
                    </a:cubicBezTo>
                    <a:cubicBezTo>
                      <a:pt x="432530" y="24823"/>
                      <a:pt x="431802" y="37096"/>
                      <a:pt x="431657" y="49166"/>
                    </a:cubicBezTo>
                    <a:cubicBezTo>
                      <a:pt x="431657" y="105560"/>
                      <a:pt x="431657" y="161924"/>
                      <a:pt x="431657" y="218289"/>
                    </a:cubicBezTo>
                    <a:cubicBezTo>
                      <a:pt x="431657" y="244668"/>
                      <a:pt x="421796" y="254441"/>
                      <a:pt x="395383" y="254441"/>
                    </a:cubicBezTo>
                    <a:cubicBezTo>
                      <a:pt x="275712" y="254441"/>
                      <a:pt x="156040" y="254441"/>
                      <a:pt x="36398" y="254441"/>
                    </a:cubicBezTo>
                    <a:cubicBezTo>
                      <a:pt x="9956" y="254441"/>
                      <a:pt x="-225" y="244494"/>
                      <a:pt x="-312" y="218580"/>
                    </a:cubicBezTo>
                    <a:cubicBezTo>
                      <a:pt x="-603" y="156951"/>
                      <a:pt x="-661" y="95322"/>
                      <a:pt x="-981" y="33693"/>
                    </a:cubicBezTo>
                    <a:cubicBezTo>
                      <a:pt x="-981" y="20635"/>
                      <a:pt x="4836" y="10426"/>
                      <a:pt x="13301" y="1410"/>
                    </a:cubicBezTo>
                    <a:close/>
                  </a:path>
                </a:pathLst>
              </a:custGeom>
              <a:solidFill>
                <a:schemeClr val="accent5">
                  <a:lumMod val="50000"/>
                </a:schemeClr>
              </a:solidFill>
              <a:ln w="2907" cap="flat">
                <a:noFill/>
                <a:prstDash val="solid"/>
                <a:miter/>
              </a:ln>
            </p:spPr>
            <p:txBody>
              <a:bodyPr rtlCol="0" anchor="ctr"/>
              <a:lstStyle/>
              <a:p>
                <a:endParaRPr lang="en-US" sz="800"/>
              </a:p>
            </p:txBody>
          </p:sp>
          <p:sp>
            <p:nvSpPr>
              <p:cNvPr id="1246" name="Graphic 38">
                <a:extLst>
                  <a:ext uri="{FF2B5EF4-FFF2-40B4-BE49-F238E27FC236}">
                    <a16:creationId xmlns:a16="http://schemas.microsoft.com/office/drawing/2014/main" id="{752C7F47-21A7-57D6-9F35-870CBB08995A}"/>
                  </a:ext>
                </a:extLst>
              </p:cNvPr>
              <p:cNvSpPr/>
              <p:nvPr/>
            </p:nvSpPr>
            <p:spPr>
              <a:xfrm>
                <a:off x="14814954" y="2851256"/>
                <a:ext cx="432522" cy="235347"/>
              </a:xfrm>
              <a:custGeom>
                <a:avLst/>
                <a:gdLst>
                  <a:gd name="connsiteX0" fmla="*/ 431541 w 432522"/>
                  <a:gd name="connsiteY0" fmla="*/ 21071 h 235347"/>
                  <a:gd name="connsiteX1" fmla="*/ 430406 w 432522"/>
                  <a:gd name="connsiteY1" fmla="*/ 162477 h 235347"/>
                  <a:gd name="connsiteX2" fmla="*/ 430086 w 432522"/>
                  <a:gd name="connsiteY2" fmla="*/ 215904 h 235347"/>
                  <a:gd name="connsiteX3" fmla="*/ 427032 w 432522"/>
                  <a:gd name="connsiteY3" fmla="*/ 223175 h 235347"/>
                  <a:gd name="connsiteX4" fmla="*/ 388925 w 432522"/>
                  <a:gd name="connsiteY4" fmla="*/ 234809 h 235347"/>
                  <a:gd name="connsiteX5" fmla="*/ 37940 w 432522"/>
                  <a:gd name="connsiteY5" fmla="*/ 234576 h 235347"/>
                  <a:gd name="connsiteX6" fmla="*/ -981 w 432522"/>
                  <a:gd name="connsiteY6" fmla="*/ 195633 h 235347"/>
                  <a:gd name="connsiteX7" fmla="*/ -981 w 432522"/>
                  <a:gd name="connsiteY7" fmla="*/ 37649 h 235347"/>
                  <a:gd name="connsiteX8" fmla="*/ 1288 w 432522"/>
                  <a:gd name="connsiteY8" fmla="*/ 14178 h 235347"/>
                  <a:gd name="connsiteX9" fmla="*/ 2451 w 432522"/>
                  <a:gd name="connsiteY9" fmla="*/ 11269 h 235347"/>
                  <a:gd name="connsiteX10" fmla="*/ 33605 w 432522"/>
                  <a:gd name="connsiteY10" fmla="*/ -539 h 235347"/>
                  <a:gd name="connsiteX11" fmla="*/ 396372 w 432522"/>
                  <a:gd name="connsiteY11" fmla="*/ -539 h 235347"/>
                  <a:gd name="connsiteX12" fmla="*/ 427613 w 432522"/>
                  <a:gd name="connsiteY12" fmla="*/ 11095 h 235347"/>
                  <a:gd name="connsiteX13" fmla="*/ 428835 w 432522"/>
                  <a:gd name="connsiteY13" fmla="*/ 14003 h 235347"/>
                  <a:gd name="connsiteX14" fmla="*/ 431541 w 432522"/>
                  <a:gd name="connsiteY14" fmla="*/ 21071 h 23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2522" h="235347">
                    <a:moveTo>
                      <a:pt x="431541" y="21071"/>
                    </a:moveTo>
                    <a:lnTo>
                      <a:pt x="430406" y="162477"/>
                    </a:lnTo>
                    <a:cubicBezTo>
                      <a:pt x="430289" y="180305"/>
                      <a:pt x="430174" y="198105"/>
                      <a:pt x="430086" y="215904"/>
                    </a:cubicBezTo>
                    <a:lnTo>
                      <a:pt x="427032" y="223175"/>
                    </a:lnTo>
                    <a:cubicBezTo>
                      <a:pt x="415861" y="232075"/>
                      <a:pt x="403150" y="234809"/>
                      <a:pt x="388925" y="234809"/>
                    </a:cubicBezTo>
                    <a:cubicBezTo>
                      <a:pt x="271930" y="234489"/>
                      <a:pt x="154935" y="234634"/>
                      <a:pt x="37940" y="234576"/>
                    </a:cubicBezTo>
                    <a:cubicBezTo>
                      <a:pt x="9025" y="234576"/>
                      <a:pt x="-923" y="224571"/>
                      <a:pt x="-981" y="195633"/>
                    </a:cubicBezTo>
                    <a:cubicBezTo>
                      <a:pt x="-981" y="142962"/>
                      <a:pt x="-981" y="90320"/>
                      <a:pt x="-981" y="37649"/>
                    </a:cubicBezTo>
                    <a:cubicBezTo>
                      <a:pt x="-981" y="29825"/>
                      <a:pt x="502" y="22001"/>
                      <a:pt x="1288" y="14178"/>
                    </a:cubicBezTo>
                    <a:lnTo>
                      <a:pt x="2451" y="11269"/>
                    </a:lnTo>
                    <a:cubicBezTo>
                      <a:pt x="10742" y="1788"/>
                      <a:pt x="21388" y="-539"/>
                      <a:pt x="33605" y="-539"/>
                    </a:cubicBezTo>
                    <a:cubicBezTo>
                      <a:pt x="154527" y="-335"/>
                      <a:pt x="275450" y="-335"/>
                      <a:pt x="396372" y="-539"/>
                    </a:cubicBezTo>
                    <a:cubicBezTo>
                      <a:pt x="408589" y="-539"/>
                      <a:pt x="419178" y="1992"/>
                      <a:pt x="427613" y="11095"/>
                    </a:cubicBezTo>
                    <a:lnTo>
                      <a:pt x="428835" y="14003"/>
                    </a:lnTo>
                    <a:cubicBezTo>
                      <a:pt x="429766" y="16446"/>
                      <a:pt x="430639" y="18715"/>
                      <a:pt x="431541" y="21071"/>
                    </a:cubicBezTo>
                    <a:close/>
                  </a:path>
                </a:pathLst>
              </a:custGeom>
              <a:solidFill>
                <a:schemeClr val="accent5"/>
              </a:solidFill>
              <a:ln w="2907" cap="flat">
                <a:noFill/>
                <a:prstDash val="solid"/>
                <a:miter/>
              </a:ln>
            </p:spPr>
            <p:txBody>
              <a:bodyPr rtlCol="0" anchor="ctr"/>
              <a:lstStyle/>
              <a:p>
                <a:endParaRPr lang="en-US" sz="800"/>
              </a:p>
            </p:txBody>
          </p:sp>
          <p:sp>
            <p:nvSpPr>
              <p:cNvPr id="1247" name="Graphic 38">
                <a:extLst>
                  <a:ext uri="{FF2B5EF4-FFF2-40B4-BE49-F238E27FC236}">
                    <a16:creationId xmlns:a16="http://schemas.microsoft.com/office/drawing/2014/main" id="{81CC9EEC-D843-5001-8919-7D6766CAA4C5}"/>
                  </a:ext>
                </a:extLst>
              </p:cNvPr>
              <p:cNvSpPr/>
              <p:nvPr/>
            </p:nvSpPr>
            <p:spPr>
              <a:xfrm>
                <a:off x="15243607" y="2862861"/>
                <a:ext cx="1221" cy="2908"/>
              </a:xfrm>
              <a:custGeom>
                <a:avLst/>
                <a:gdLst>
                  <a:gd name="connsiteX0" fmla="*/ 240 w 1221"/>
                  <a:gd name="connsiteY0" fmla="*/ 2370 h 2908"/>
                  <a:gd name="connsiteX1" fmla="*/ -981 w 1221"/>
                  <a:gd name="connsiteY1" fmla="*/ -539 h 2908"/>
                </a:gdLst>
                <a:ahLst/>
                <a:cxnLst>
                  <a:cxn ang="0">
                    <a:pos x="connsiteX0" y="connsiteY0"/>
                  </a:cxn>
                  <a:cxn ang="0">
                    <a:pos x="connsiteX1" y="connsiteY1"/>
                  </a:cxn>
                </a:cxnLst>
                <a:rect l="l" t="t" r="r" b="b"/>
                <a:pathLst>
                  <a:path w="1221" h="2908">
                    <a:moveTo>
                      <a:pt x="240" y="2370"/>
                    </a:moveTo>
                    <a:lnTo>
                      <a:pt x="-981" y="-539"/>
                    </a:lnTo>
                    <a:close/>
                  </a:path>
                </a:pathLst>
              </a:custGeom>
              <a:solidFill>
                <a:srgbClr val="DBDEE5"/>
              </a:solidFill>
              <a:ln w="2907" cap="flat">
                <a:noFill/>
                <a:prstDash val="solid"/>
                <a:miter/>
              </a:ln>
            </p:spPr>
            <p:txBody>
              <a:bodyPr rtlCol="0" anchor="ctr"/>
              <a:lstStyle/>
              <a:p>
                <a:endParaRPr lang="en-US" sz="800"/>
              </a:p>
            </p:txBody>
          </p:sp>
          <p:sp>
            <p:nvSpPr>
              <p:cNvPr id="1248" name="Graphic 38">
                <a:extLst>
                  <a:ext uri="{FF2B5EF4-FFF2-40B4-BE49-F238E27FC236}">
                    <a16:creationId xmlns:a16="http://schemas.microsoft.com/office/drawing/2014/main" id="{FCAD655B-37FB-B999-6010-5C243F831185}"/>
                  </a:ext>
                </a:extLst>
              </p:cNvPr>
              <p:cNvSpPr/>
              <p:nvPr/>
            </p:nvSpPr>
            <p:spPr>
              <a:xfrm>
                <a:off x="14817280" y="2863064"/>
                <a:ext cx="1163" cy="2908"/>
              </a:xfrm>
              <a:custGeom>
                <a:avLst/>
                <a:gdLst>
                  <a:gd name="connsiteX0" fmla="*/ 182 w 1163"/>
                  <a:gd name="connsiteY0" fmla="*/ -539 h 2908"/>
                  <a:gd name="connsiteX1" fmla="*/ -981 w 1163"/>
                  <a:gd name="connsiteY1" fmla="*/ 2370 h 2908"/>
                </a:gdLst>
                <a:ahLst/>
                <a:cxnLst>
                  <a:cxn ang="0">
                    <a:pos x="connsiteX0" y="connsiteY0"/>
                  </a:cxn>
                  <a:cxn ang="0">
                    <a:pos x="connsiteX1" y="connsiteY1"/>
                  </a:cxn>
                </a:cxnLst>
                <a:rect l="l" t="t" r="r" b="b"/>
                <a:pathLst>
                  <a:path w="1163" h="2908">
                    <a:moveTo>
                      <a:pt x="182" y="-539"/>
                    </a:moveTo>
                    <a:lnTo>
                      <a:pt x="-981" y="2370"/>
                    </a:lnTo>
                    <a:close/>
                  </a:path>
                </a:pathLst>
              </a:custGeom>
              <a:solidFill>
                <a:srgbClr val="DBDEE5"/>
              </a:solidFill>
              <a:ln w="2907" cap="flat">
                <a:noFill/>
                <a:prstDash val="solid"/>
                <a:miter/>
              </a:ln>
            </p:spPr>
            <p:txBody>
              <a:bodyPr rtlCol="0" anchor="ctr"/>
              <a:lstStyle/>
              <a:p>
                <a:endParaRPr lang="en-US" sz="800"/>
              </a:p>
            </p:txBody>
          </p:sp>
          <p:sp>
            <p:nvSpPr>
              <p:cNvPr id="1249" name="Graphic 38">
                <a:extLst>
                  <a:ext uri="{FF2B5EF4-FFF2-40B4-BE49-F238E27FC236}">
                    <a16:creationId xmlns:a16="http://schemas.microsoft.com/office/drawing/2014/main" id="{F0B489C9-938A-CB1A-6890-A2F4661D4E78}"/>
                  </a:ext>
                </a:extLst>
              </p:cNvPr>
              <p:cNvSpPr/>
              <p:nvPr/>
            </p:nvSpPr>
            <p:spPr>
              <a:xfrm>
                <a:off x="15243152" y="2590896"/>
                <a:ext cx="1152" cy="2675"/>
              </a:xfrm>
              <a:custGeom>
                <a:avLst/>
                <a:gdLst>
                  <a:gd name="connsiteX0" fmla="*/ 171 w 1152"/>
                  <a:gd name="connsiteY0" fmla="*/ 2137 h 2675"/>
                  <a:gd name="connsiteX1" fmla="*/ -963 w 1152"/>
                  <a:gd name="connsiteY1" fmla="*/ -539 h 2675"/>
                </a:gdLst>
                <a:ahLst/>
                <a:cxnLst>
                  <a:cxn ang="0">
                    <a:pos x="connsiteX0" y="connsiteY0"/>
                  </a:cxn>
                  <a:cxn ang="0">
                    <a:pos x="connsiteX1" y="connsiteY1"/>
                  </a:cxn>
                </a:cxnLst>
                <a:rect l="l" t="t" r="r" b="b"/>
                <a:pathLst>
                  <a:path w="1152" h="2675">
                    <a:moveTo>
                      <a:pt x="171" y="2137"/>
                    </a:moveTo>
                    <a:cubicBezTo>
                      <a:pt x="-643" y="1497"/>
                      <a:pt x="-1079" y="479"/>
                      <a:pt x="-963" y="-539"/>
                    </a:cubicBezTo>
                    <a:close/>
                  </a:path>
                </a:pathLst>
              </a:custGeom>
              <a:solidFill>
                <a:srgbClr val="FCFDFD"/>
              </a:solidFill>
              <a:ln w="2907" cap="flat">
                <a:noFill/>
                <a:prstDash val="solid"/>
                <a:miter/>
              </a:ln>
            </p:spPr>
            <p:txBody>
              <a:bodyPr rtlCol="0" anchor="ctr"/>
              <a:lstStyle/>
              <a:p>
                <a:endParaRPr lang="en-US" sz="800"/>
              </a:p>
            </p:txBody>
          </p:sp>
          <p:sp>
            <p:nvSpPr>
              <p:cNvPr id="1250" name="Graphic 38">
                <a:extLst>
                  <a:ext uri="{FF2B5EF4-FFF2-40B4-BE49-F238E27FC236}">
                    <a16:creationId xmlns:a16="http://schemas.microsoft.com/office/drawing/2014/main" id="{4CDC00DD-3F0C-D41E-E5FC-7FF6216630C2}"/>
                  </a:ext>
                </a:extLst>
              </p:cNvPr>
              <p:cNvSpPr/>
              <p:nvPr/>
            </p:nvSpPr>
            <p:spPr>
              <a:xfrm>
                <a:off x="14814586" y="3276646"/>
                <a:ext cx="433005" cy="267623"/>
              </a:xfrm>
              <a:custGeom>
                <a:avLst/>
                <a:gdLst>
                  <a:gd name="connsiteX0" fmla="*/ 427021 w 433005"/>
                  <a:gd name="connsiteY0" fmla="*/ 255916 h 267623"/>
                  <a:gd name="connsiteX1" fmla="*/ 424112 w 433005"/>
                  <a:gd name="connsiteY1" fmla="*/ 259494 h 267623"/>
                  <a:gd name="connsiteX2" fmla="*/ 392580 w 433005"/>
                  <a:gd name="connsiteY2" fmla="*/ 267085 h 267623"/>
                  <a:gd name="connsiteX3" fmla="*/ 36474 w 433005"/>
                  <a:gd name="connsiteY3" fmla="*/ 266881 h 267623"/>
                  <a:gd name="connsiteX4" fmla="*/ 19021 w 433005"/>
                  <a:gd name="connsiteY4" fmla="*/ 266154 h 267623"/>
                  <a:gd name="connsiteX5" fmla="*/ 6658 w 433005"/>
                  <a:gd name="connsiteY5" fmla="*/ 259465 h 267623"/>
                  <a:gd name="connsiteX6" fmla="*/ 3750 w 433005"/>
                  <a:gd name="connsiteY6" fmla="*/ 256149 h 267623"/>
                  <a:gd name="connsiteX7" fmla="*/ -410 w 433005"/>
                  <a:gd name="connsiteY7" fmla="*/ 126958 h 267623"/>
                  <a:gd name="connsiteX8" fmla="*/ 870 w 433005"/>
                  <a:gd name="connsiteY8" fmla="*/ 29352 h 267623"/>
                  <a:gd name="connsiteX9" fmla="*/ 31529 w 433005"/>
                  <a:gd name="connsiteY9" fmla="*/ -430 h 267623"/>
                  <a:gd name="connsiteX10" fmla="*/ 398747 w 433005"/>
                  <a:gd name="connsiteY10" fmla="*/ -430 h 267623"/>
                  <a:gd name="connsiteX11" fmla="*/ 431152 w 433005"/>
                  <a:gd name="connsiteY11" fmla="*/ 35256 h 267623"/>
                  <a:gd name="connsiteX12" fmla="*/ 431413 w 433005"/>
                  <a:gd name="connsiteY12" fmla="*/ 228228 h 267623"/>
                  <a:gd name="connsiteX13" fmla="*/ 432024 w 433005"/>
                  <a:gd name="connsiteY13" fmla="*/ 240822 h 267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3005" h="267623">
                    <a:moveTo>
                      <a:pt x="427021" y="255916"/>
                    </a:moveTo>
                    <a:lnTo>
                      <a:pt x="424112" y="259494"/>
                    </a:lnTo>
                    <a:cubicBezTo>
                      <a:pt x="414426" y="265543"/>
                      <a:pt x="403983" y="267114"/>
                      <a:pt x="392580" y="267085"/>
                    </a:cubicBezTo>
                    <a:cubicBezTo>
                      <a:pt x="273868" y="266794"/>
                      <a:pt x="155157" y="266736"/>
                      <a:pt x="36474" y="266881"/>
                    </a:cubicBezTo>
                    <a:cubicBezTo>
                      <a:pt x="30657" y="266881"/>
                      <a:pt x="24839" y="266416"/>
                      <a:pt x="19021" y="266154"/>
                    </a:cubicBezTo>
                    <a:lnTo>
                      <a:pt x="6658" y="259465"/>
                    </a:lnTo>
                    <a:lnTo>
                      <a:pt x="3750" y="256149"/>
                    </a:lnTo>
                    <a:cubicBezTo>
                      <a:pt x="-3872" y="213279"/>
                      <a:pt x="143" y="170031"/>
                      <a:pt x="-410" y="126958"/>
                    </a:cubicBezTo>
                    <a:cubicBezTo>
                      <a:pt x="-818" y="94442"/>
                      <a:pt x="-3" y="61868"/>
                      <a:pt x="870" y="29352"/>
                    </a:cubicBezTo>
                    <a:cubicBezTo>
                      <a:pt x="1422" y="8993"/>
                      <a:pt x="11022" y="-430"/>
                      <a:pt x="31529" y="-430"/>
                    </a:cubicBezTo>
                    <a:cubicBezTo>
                      <a:pt x="153935" y="-575"/>
                      <a:pt x="276341" y="-575"/>
                      <a:pt x="398747" y="-430"/>
                    </a:cubicBezTo>
                    <a:cubicBezTo>
                      <a:pt x="420709" y="-430"/>
                      <a:pt x="431006" y="10913"/>
                      <a:pt x="431152" y="35256"/>
                    </a:cubicBezTo>
                    <a:cubicBezTo>
                      <a:pt x="431442" y="99590"/>
                      <a:pt x="431326" y="163895"/>
                      <a:pt x="431413" y="228228"/>
                    </a:cubicBezTo>
                    <a:cubicBezTo>
                      <a:pt x="431413" y="232417"/>
                      <a:pt x="431792" y="236634"/>
                      <a:pt x="432024" y="240822"/>
                    </a:cubicBezTo>
                    <a:close/>
                  </a:path>
                </a:pathLst>
              </a:custGeom>
              <a:solidFill>
                <a:schemeClr val="bg1">
                  <a:lumMod val="50000"/>
                </a:schemeClr>
              </a:solidFill>
              <a:ln w="2907" cap="flat">
                <a:noFill/>
                <a:prstDash val="solid"/>
                <a:miter/>
              </a:ln>
            </p:spPr>
            <p:txBody>
              <a:bodyPr rtlCol="0" anchor="ctr"/>
              <a:lstStyle/>
              <a:p>
                <a:endParaRPr lang="en-US" sz="800"/>
              </a:p>
            </p:txBody>
          </p:sp>
          <p:sp>
            <p:nvSpPr>
              <p:cNvPr id="1251" name="Graphic 38">
                <a:extLst>
                  <a:ext uri="{FF2B5EF4-FFF2-40B4-BE49-F238E27FC236}">
                    <a16:creationId xmlns:a16="http://schemas.microsoft.com/office/drawing/2014/main" id="{6615E065-EE1D-874A-86C7-FDD86CB3C4A9}"/>
                  </a:ext>
                </a:extLst>
              </p:cNvPr>
              <p:cNvSpPr/>
              <p:nvPr/>
            </p:nvSpPr>
            <p:spPr>
              <a:xfrm>
                <a:off x="15739251" y="1944942"/>
                <a:ext cx="431940" cy="403112"/>
              </a:xfrm>
              <a:custGeom>
                <a:avLst/>
                <a:gdLst>
                  <a:gd name="connsiteX0" fmla="*/ -312 w 431940"/>
                  <a:gd name="connsiteY0" fmla="*/ 382788 h 403112"/>
                  <a:gd name="connsiteX1" fmla="*/ -981 w 431940"/>
                  <a:gd name="connsiteY1" fmla="*/ 21972 h 403112"/>
                  <a:gd name="connsiteX2" fmla="*/ 33925 w 431940"/>
                  <a:gd name="connsiteY2" fmla="*/ -539 h 403112"/>
                  <a:gd name="connsiteX3" fmla="*/ 220676 w 431940"/>
                  <a:gd name="connsiteY3" fmla="*/ -539 h 403112"/>
                  <a:gd name="connsiteX4" fmla="*/ 394772 w 431940"/>
                  <a:gd name="connsiteY4" fmla="*/ -539 h 403112"/>
                  <a:gd name="connsiteX5" fmla="*/ 427061 w 431940"/>
                  <a:gd name="connsiteY5" fmla="*/ 12753 h 403112"/>
                  <a:gd name="connsiteX6" fmla="*/ 430610 w 431940"/>
                  <a:gd name="connsiteY6" fmla="*/ 21623 h 403112"/>
                  <a:gd name="connsiteX7" fmla="*/ 430610 w 431940"/>
                  <a:gd name="connsiteY7" fmla="*/ 335410 h 403112"/>
                  <a:gd name="connsiteX8" fmla="*/ 430959 w 431940"/>
                  <a:gd name="connsiteY8" fmla="*/ 363767 h 403112"/>
                  <a:gd name="connsiteX9" fmla="*/ 429039 w 431940"/>
                  <a:gd name="connsiteY9" fmla="*/ 385144 h 403112"/>
                  <a:gd name="connsiteX10" fmla="*/ 422640 w 431940"/>
                  <a:gd name="connsiteY10" fmla="*/ 395090 h 403112"/>
                  <a:gd name="connsiteX11" fmla="*/ 390991 w 431940"/>
                  <a:gd name="connsiteY11" fmla="*/ 402507 h 403112"/>
                  <a:gd name="connsiteX12" fmla="*/ 34071 w 431940"/>
                  <a:gd name="connsiteY12" fmla="*/ 402507 h 403112"/>
                  <a:gd name="connsiteX13" fmla="*/ -312 w 431940"/>
                  <a:gd name="connsiteY13" fmla="*/ 382788 h 40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1940" h="403112">
                    <a:moveTo>
                      <a:pt x="-312" y="382788"/>
                    </a:moveTo>
                    <a:cubicBezTo>
                      <a:pt x="-545" y="262584"/>
                      <a:pt x="-778" y="142293"/>
                      <a:pt x="-981" y="21972"/>
                    </a:cubicBezTo>
                    <a:cubicBezTo>
                      <a:pt x="4836" y="5336"/>
                      <a:pt x="13738" y="-510"/>
                      <a:pt x="33925" y="-539"/>
                    </a:cubicBezTo>
                    <a:cubicBezTo>
                      <a:pt x="96176" y="-539"/>
                      <a:pt x="158426" y="-539"/>
                      <a:pt x="220676" y="-539"/>
                    </a:cubicBezTo>
                    <a:cubicBezTo>
                      <a:pt x="278854" y="-539"/>
                      <a:pt x="336740" y="-306"/>
                      <a:pt x="394772" y="-539"/>
                    </a:cubicBezTo>
                    <a:cubicBezTo>
                      <a:pt x="407775" y="-539"/>
                      <a:pt x="418596" y="2777"/>
                      <a:pt x="427061" y="12753"/>
                    </a:cubicBezTo>
                    <a:cubicBezTo>
                      <a:pt x="427439" y="16039"/>
                      <a:pt x="427643" y="19384"/>
                      <a:pt x="430610" y="21623"/>
                    </a:cubicBezTo>
                    <a:cubicBezTo>
                      <a:pt x="430610" y="126209"/>
                      <a:pt x="430610" y="230795"/>
                      <a:pt x="430610" y="335410"/>
                    </a:cubicBezTo>
                    <a:cubicBezTo>
                      <a:pt x="430610" y="344892"/>
                      <a:pt x="430843" y="354344"/>
                      <a:pt x="430959" y="363767"/>
                    </a:cubicBezTo>
                    <a:cubicBezTo>
                      <a:pt x="428050" y="370689"/>
                      <a:pt x="429737" y="378018"/>
                      <a:pt x="429039" y="385144"/>
                    </a:cubicBezTo>
                    <a:lnTo>
                      <a:pt x="422640" y="395090"/>
                    </a:lnTo>
                    <a:cubicBezTo>
                      <a:pt x="412982" y="400471"/>
                      <a:pt x="402015" y="403031"/>
                      <a:pt x="390991" y="402507"/>
                    </a:cubicBezTo>
                    <a:cubicBezTo>
                      <a:pt x="272018" y="402245"/>
                      <a:pt x="153045" y="402245"/>
                      <a:pt x="34071" y="402507"/>
                    </a:cubicBezTo>
                    <a:cubicBezTo>
                      <a:pt x="18276" y="402449"/>
                      <a:pt x="6611" y="397388"/>
                      <a:pt x="-312" y="382788"/>
                    </a:cubicBezTo>
                    <a:close/>
                  </a:path>
                </a:pathLst>
              </a:custGeom>
              <a:solidFill>
                <a:schemeClr val="bg2"/>
              </a:solidFill>
              <a:ln w="2907" cap="flat">
                <a:noFill/>
                <a:prstDash val="solid"/>
                <a:miter/>
              </a:ln>
            </p:spPr>
            <p:txBody>
              <a:bodyPr rtlCol="0" anchor="ctr"/>
              <a:lstStyle/>
              <a:p>
                <a:endParaRPr lang="en-US" sz="800"/>
              </a:p>
            </p:txBody>
          </p:sp>
          <p:sp>
            <p:nvSpPr>
              <p:cNvPr id="1252" name="Graphic 38">
                <a:extLst>
                  <a:ext uri="{FF2B5EF4-FFF2-40B4-BE49-F238E27FC236}">
                    <a16:creationId xmlns:a16="http://schemas.microsoft.com/office/drawing/2014/main" id="{0556E015-87DD-1DD1-4118-A67F840F8ABA}"/>
                  </a:ext>
                </a:extLst>
              </p:cNvPr>
              <p:cNvSpPr/>
              <p:nvPr/>
            </p:nvSpPr>
            <p:spPr>
              <a:xfrm>
                <a:off x="16169329" y="2309160"/>
                <a:ext cx="1919" cy="21376"/>
              </a:xfrm>
              <a:custGeom>
                <a:avLst/>
                <a:gdLst>
                  <a:gd name="connsiteX0" fmla="*/ -981 w 1919"/>
                  <a:gd name="connsiteY0" fmla="*/ 20838 h 21376"/>
                  <a:gd name="connsiteX1" fmla="*/ 938 w 1919"/>
                  <a:gd name="connsiteY1" fmla="*/ -539 h 21376"/>
                </a:gdLst>
                <a:ahLst/>
                <a:cxnLst>
                  <a:cxn ang="0">
                    <a:pos x="connsiteX0" y="connsiteY0"/>
                  </a:cxn>
                  <a:cxn ang="0">
                    <a:pos x="connsiteX1" y="connsiteY1"/>
                  </a:cxn>
                </a:cxnLst>
                <a:rect l="l" t="t" r="r" b="b"/>
                <a:pathLst>
                  <a:path w="1919" h="21376">
                    <a:moveTo>
                      <a:pt x="-981" y="20838"/>
                    </a:moveTo>
                    <a:cubicBezTo>
                      <a:pt x="-283" y="13713"/>
                      <a:pt x="-2086" y="6296"/>
                      <a:pt x="938" y="-539"/>
                    </a:cubicBezTo>
                    <a:close/>
                  </a:path>
                </a:pathLst>
              </a:custGeom>
              <a:solidFill>
                <a:srgbClr val="EBECF1"/>
              </a:solidFill>
              <a:ln w="2907" cap="flat">
                <a:noFill/>
                <a:prstDash val="solid"/>
                <a:miter/>
              </a:ln>
            </p:spPr>
            <p:txBody>
              <a:bodyPr rtlCol="0" anchor="ctr"/>
              <a:lstStyle/>
              <a:p>
                <a:endParaRPr lang="en-US" sz="800"/>
              </a:p>
            </p:txBody>
          </p:sp>
          <p:sp>
            <p:nvSpPr>
              <p:cNvPr id="1253" name="Graphic 38">
                <a:extLst>
                  <a:ext uri="{FF2B5EF4-FFF2-40B4-BE49-F238E27FC236}">
                    <a16:creationId xmlns:a16="http://schemas.microsoft.com/office/drawing/2014/main" id="{3C0F220B-10A9-AC20-705D-2E71D5349967}"/>
                  </a:ext>
                </a:extLst>
              </p:cNvPr>
              <p:cNvSpPr/>
              <p:nvPr/>
            </p:nvSpPr>
            <p:spPr>
              <a:xfrm>
                <a:off x="16167352" y="1958145"/>
                <a:ext cx="3548" cy="8870"/>
              </a:xfrm>
              <a:custGeom>
                <a:avLst/>
                <a:gdLst>
                  <a:gd name="connsiteX0" fmla="*/ 2567 w 3548"/>
                  <a:gd name="connsiteY0" fmla="*/ 8332 h 8870"/>
                  <a:gd name="connsiteX1" fmla="*/ -981 w 3548"/>
                  <a:gd name="connsiteY1" fmla="*/ -539 h 8870"/>
                  <a:gd name="connsiteX2" fmla="*/ 2567 w 3548"/>
                  <a:gd name="connsiteY2" fmla="*/ 8332 h 8870"/>
                </a:gdLst>
                <a:ahLst/>
                <a:cxnLst>
                  <a:cxn ang="0">
                    <a:pos x="connsiteX0" y="connsiteY0"/>
                  </a:cxn>
                  <a:cxn ang="0">
                    <a:pos x="connsiteX1" y="connsiteY1"/>
                  </a:cxn>
                  <a:cxn ang="0">
                    <a:pos x="connsiteX2" y="connsiteY2"/>
                  </a:cxn>
                </a:cxnLst>
                <a:rect l="l" t="t" r="r" b="b"/>
                <a:pathLst>
                  <a:path w="3548" h="8870">
                    <a:moveTo>
                      <a:pt x="2567" y="8332"/>
                    </a:moveTo>
                    <a:cubicBezTo>
                      <a:pt x="-341" y="6093"/>
                      <a:pt x="-604" y="2748"/>
                      <a:pt x="-981" y="-539"/>
                    </a:cubicBezTo>
                    <a:cubicBezTo>
                      <a:pt x="2480" y="1497"/>
                      <a:pt x="2567" y="5046"/>
                      <a:pt x="2567" y="8332"/>
                    </a:cubicBezTo>
                    <a:close/>
                  </a:path>
                </a:pathLst>
              </a:custGeom>
              <a:solidFill>
                <a:srgbClr val="DBDEE5"/>
              </a:solidFill>
              <a:ln w="2907" cap="flat">
                <a:noFill/>
                <a:prstDash val="solid"/>
                <a:miter/>
              </a:ln>
            </p:spPr>
            <p:txBody>
              <a:bodyPr rtlCol="0" anchor="ctr"/>
              <a:lstStyle/>
              <a:p>
                <a:endParaRPr lang="en-US" sz="800"/>
              </a:p>
            </p:txBody>
          </p:sp>
          <p:sp>
            <p:nvSpPr>
              <p:cNvPr id="1254" name="Graphic 38">
                <a:extLst>
                  <a:ext uri="{FF2B5EF4-FFF2-40B4-BE49-F238E27FC236}">
                    <a16:creationId xmlns:a16="http://schemas.microsoft.com/office/drawing/2014/main" id="{63693F20-5D97-45B4-8E56-625D2D9BD59D}"/>
                  </a:ext>
                </a:extLst>
              </p:cNvPr>
              <p:cNvSpPr/>
              <p:nvPr/>
            </p:nvSpPr>
            <p:spPr>
              <a:xfrm>
                <a:off x="17098311" y="1213858"/>
                <a:ext cx="3257" cy="1890"/>
              </a:xfrm>
              <a:custGeom>
                <a:avLst/>
                <a:gdLst>
                  <a:gd name="connsiteX0" fmla="*/ -981 w 3257"/>
                  <a:gd name="connsiteY0" fmla="*/ -539 h 1890"/>
                  <a:gd name="connsiteX1" fmla="*/ 2276 w 3257"/>
                  <a:gd name="connsiteY1" fmla="*/ 43 h 1890"/>
                  <a:gd name="connsiteX2" fmla="*/ -981 w 3257"/>
                  <a:gd name="connsiteY2" fmla="*/ -539 h 1890"/>
                </a:gdLst>
                <a:ahLst/>
                <a:cxnLst>
                  <a:cxn ang="0">
                    <a:pos x="connsiteX0" y="connsiteY0"/>
                  </a:cxn>
                  <a:cxn ang="0">
                    <a:pos x="connsiteX1" y="connsiteY1"/>
                  </a:cxn>
                  <a:cxn ang="0">
                    <a:pos x="connsiteX2" y="connsiteY2"/>
                  </a:cxn>
                </a:cxnLst>
                <a:rect l="l" t="t" r="r" b="b"/>
                <a:pathLst>
                  <a:path w="3257" h="1890">
                    <a:moveTo>
                      <a:pt x="-981" y="-539"/>
                    </a:moveTo>
                    <a:lnTo>
                      <a:pt x="2276" y="43"/>
                    </a:lnTo>
                    <a:cubicBezTo>
                      <a:pt x="880" y="1875"/>
                      <a:pt x="-283" y="1875"/>
                      <a:pt x="-981" y="-539"/>
                    </a:cubicBezTo>
                    <a:close/>
                  </a:path>
                </a:pathLst>
              </a:custGeom>
              <a:solidFill>
                <a:srgbClr val="DBDEE5"/>
              </a:solidFill>
              <a:ln w="2907" cap="flat">
                <a:noFill/>
                <a:prstDash val="solid"/>
                <a:miter/>
              </a:ln>
            </p:spPr>
            <p:txBody>
              <a:bodyPr rtlCol="0" anchor="ctr"/>
              <a:lstStyle/>
              <a:p>
                <a:endParaRPr lang="en-US" sz="800"/>
              </a:p>
            </p:txBody>
          </p:sp>
          <p:sp>
            <p:nvSpPr>
              <p:cNvPr id="1255" name="Graphic 38">
                <a:extLst>
                  <a:ext uri="{FF2B5EF4-FFF2-40B4-BE49-F238E27FC236}">
                    <a16:creationId xmlns:a16="http://schemas.microsoft.com/office/drawing/2014/main" id="{85F97A71-9B09-7E97-BCA7-87121DC02E59}"/>
                  </a:ext>
                </a:extLst>
              </p:cNvPr>
              <p:cNvSpPr/>
              <p:nvPr/>
            </p:nvSpPr>
            <p:spPr>
              <a:xfrm>
                <a:off x="16198883" y="2796753"/>
                <a:ext cx="435052" cy="185912"/>
              </a:xfrm>
              <a:custGeom>
                <a:avLst/>
                <a:gdLst>
                  <a:gd name="connsiteX0" fmla="*/ 434071 w 435052"/>
                  <a:gd name="connsiteY0" fmla="*/ 119549 h 185912"/>
                  <a:gd name="connsiteX1" fmla="*/ 433082 w 435052"/>
                  <a:gd name="connsiteY1" fmla="*/ 37561 h 185912"/>
                  <a:gd name="connsiteX2" fmla="*/ 394918 w 435052"/>
                  <a:gd name="connsiteY2" fmla="*/ -539 h 185912"/>
                  <a:gd name="connsiteX3" fmla="*/ 39569 w 435052"/>
                  <a:gd name="connsiteY3" fmla="*/ -539 h 185912"/>
                  <a:gd name="connsiteX4" fmla="*/ -545 w 435052"/>
                  <a:gd name="connsiteY4" fmla="*/ 40179 h 185912"/>
                  <a:gd name="connsiteX5" fmla="*/ -981 w 435052"/>
                  <a:gd name="connsiteY5" fmla="*/ 119055 h 185912"/>
                  <a:gd name="connsiteX6" fmla="*/ 823 w 435052"/>
                  <a:gd name="connsiteY6" fmla="*/ 119607 h 185912"/>
                  <a:gd name="connsiteX7" fmla="*/ 823 w 435052"/>
                  <a:gd name="connsiteY7" fmla="*/ 146422 h 185912"/>
                  <a:gd name="connsiteX8" fmla="*/ 39220 w 435052"/>
                  <a:gd name="connsiteY8" fmla="*/ 185308 h 185912"/>
                  <a:gd name="connsiteX9" fmla="*/ 307593 w 435052"/>
                  <a:gd name="connsiteY9" fmla="*/ 185308 h 185912"/>
                  <a:gd name="connsiteX10" fmla="*/ 400677 w 435052"/>
                  <a:gd name="connsiteY10" fmla="*/ 185133 h 185912"/>
                  <a:gd name="connsiteX11" fmla="*/ 432908 w 435052"/>
                  <a:gd name="connsiteY11" fmla="*/ 152676 h 185912"/>
                  <a:gd name="connsiteX12" fmla="*/ 432500 w 435052"/>
                  <a:gd name="connsiteY12" fmla="*/ 119549 h 185912"/>
                  <a:gd name="connsiteX13" fmla="*/ 433286 w 435052"/>
                  <a:gd name="connsiteY13" fmla="*/ 119753 h 18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5052" h="185912">
                    <a:moveTo>
                      <a:pt x="434071" y="119549"/>
                    </a:moveTo>
                    <a:cubicBezTo>
                      <a:pt x="433723" y="92239"/>
                      <a:pt x="433344" y="64900"/>
                      <a:pt x="433082" y="37561"/>
                    </a:cubicBezTo>
                    <a:cubicBezTo>
                      <a:pt x="432821" y="9612"/>
                      <a:pt x="422873" y="-539"/>
                      <a:pt x="394918" y="-539"/>
                    </a:cubicBezTo>
                    <a:cubicBezTo>
                      <a:pt x="276468" y="-539"/>
                      <a:pt x="158019" y="-539"/>
                      <a:pt x="39569" y="-539"/>
                    </a:cubicBezTo>
                    <a:cubicBezTo>
                      <a:pt x="11964" y="-539"/>
                      <a:pt x="-399" y="12200"/>
                      <a:pt x="-545" y="40179"/>
                    </a:cubicBezTo>
                    <a:lnTo>
                      <a:pt x="-981" y="119055"/>
                    </a:lnTo>
                    <a:cubicBezTo>
                      <a:pt x="-486" y="119520"/>
                      <a:pt x="154" y="119723"/>
                      <a:pt x="823" y="119607"/>
                    </a:cubicBezTo>
                    <a:cubicBezTo>
                      <a:pt x="823" y="128565"/>
                      <a:pt x="823" y="137494"/>
                      <a:pt x="823" y="146422"/>
                    </a:cubicBezTo>
                    <a:cubicBezTo>
                      <a:pt x="823" y="176146"/>
                      <a:pt x="9898" y="185308"/>
                      <a:pt x="39220" y="185308"/>
                    </a:cubicBezTo>
                    <a:cubicBezTo>
                      <a:pt x="128668" y="185308"/>
                      <a:pt x="218145" y="185308"/>
                      <a:pt x="307593" y="185308"/>
                    </a:cubicBezTo>
                    <a:cubicBezTo>
                      <a:pt x="338631" y="185308"/>
                      <a:pt x="369698" y="185541"/>
                      <a:pt x="400677" y="185133"/>
                    </a:cubicBezTo>
                    <a:cubicBezTo>
                      <a:pt x="421621" y="184872"/>
                      <a:pt x="432675" y="173500"/>
                      <a:pt x="432908" y="152676"/>
                    </a:cubicBezTo>
                    <a:cubicBezTo>
                      <a:pt x="433111" y="141624"/>
                      <a:pt x="432646" y="130601"/>
                      <a:pt x="432500" y="119549"/>
                    </a:cubicBezTo>
                    <a:lnTo>
                      <a:pt x="433286" y="119753"/>
                    </a:lnTo>
                    <a:close/>
                  </a:path>
                </a:pathLst>
              </a:custGeom>
              <a:solidFill>
                <a:schemeClr val="bg1">
                  <a:lumMod val="50000"/>
                </a:schemeClr>
              </a:solidFill>
              <a:ln w="2907" cap="flat">
                <a:noFill/>
                <a:prstDash val="solid"/>
                <a:miter/>
              </a:ln>
            </p:spPr>
            <p:txBody>
              <a:bodyPr rtlCol="0" anchor="ctr"/>
              <a:lstStyle/>
              <a:p>
                <a:endParaRPr lang="en-US" sz="800"/>
              </a:p>
            </p:txBody>
          </p:sp>
          <p:sp>
            <p:nvSpPr>
              <p:cNvPr id="1256" name="Graphic 38">
                <a:extLst>
                  <a:ext uri="{FF2B5EF4-FFF2-40B4-BE49-F238E27FC236}">
                    <a16:creationId xmlns:a16="http://schemas.microsoft.com/office/drawing/2014/main" id="{1A906556-F3F0-B2F6-239D-45E6B7283B3F}"/>
                  </a:ext>
                </a:extLst>
              </p:cNvPr>
              <p:cNvSpPr/>
              <p:nvPr/>
            </p:nvSpPr>
            <p:spPr>
              <a:xfrm>
                <a:off x="12601381" y="310917"/>
                <a:ext cx="108966" cy="103364"/>
              </a:xfrm>
              <a:custGeom>
                <a:avLst/>
                <a:gdLst>
                  <a:gd name="connsiteX0" fmla="*/ 107985 w 108966"/>
                  <a:gd name="connsiteY0" fmla="*/ 51143 h 103364"/>
                  <a:gd name="connsiteX1" fmla="*/ 53502 w 108966"/>
                  <a:gd name="connsiteY1" fmla="*/ 102826 h 103364"/>
                  <a:gd name="connsiteX2" fmla="*/ -981 w 108966"/>
                  <a:gd name="connsiteY2" fmla="*/ 51143 h 103364"/>
                  <a:gd name="connsiteX3" fmla="*/ 53502 w 108966"/>
                  <a:gd name="connsiteY3" fmla="*/ -539 h 103364"/>
                  <a:gd name="connsiteX4" fmla="*/ 107985 w 108966"/>
                  <a:gd name="connsiteY4" fmla="*/ 51143 h 103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 h="103364">
                    <a:moveTo>
                      <a:pt x="107985" y="51143"/>
                    </a:moveTo>
                    <a:cubicBezTo>
                      <a:pt x="107985" y="79675"/>
                      <a:pt x="83580" y="102826"/>
                      <a:pt x="53502" y="102826"/>
                    </a:cubicBezTo>
                    <a:cubicBezTo>
                      <a:pt x="23424" y="102826"/>
                      <a:pt x="-981" y="79559"/>
                      <a:pt x="-981" y="51143"/>
                    </a:cubicBezTo>
                    <a:cubicBezTo>
                      <a:pt x="-981" y="22729"/>
                      <a:pt x="23395" y="-539"/>
                      <a:pt x="53502" y="-539"/>
                    </a:cubicBezTo>
                    <a:cubicBezTo>
                      <a:pt x="83609" y="-539"/>
                      <a:pt x="107985" y="22583"/>
                      <a:pt x="107985" y="51143"/>
                    </a:cubicBezTo>
                    <a:close/>
                  </a:path>
                </a:pathLst>
              </a:custGeom>
              <a:solidFill>
                <a:srgbClr val="B3B3B3"/>
              </a:solidFill>
              <a:ln w="2907" cap="flat">
                <a:noFill/>
                <a:prstDash val="solid"/>
                <a:miter/>
              </a:ln>
            </p:spPr>
            <p:txBody>
              <a:bodyPr rtlCol="0" anchor="ctr"/>
              <a:lstStyle/>
              <a:p>
                <a:endParaRPr lang="en-US" sz="800"/>
              </a:p>
            </p:txBody>
          </p:sp>
          <p:sp>
            <p:nvSpPr>
              <p:cNvPr id="1257" name="Graphic 38">
                <a:extLst>
                  <a:ext uri="{FF2B5EF4-FFF2-40B4-BE49-F238E27FC236}">
                    <a16:creationId xmlns:a16="http://schemas.microsoft.com/office/drawing/2014/main" id="{66541938-11DC-CB88-AC9A-F3588733AD50}"/>
                  </a:ext>
                </a:extLst>
              </p:cNvPr>
              <p:cNvSpPr/>
              <p:nvPr/>
            </p:nvSpPr>
            <p:spPr>
              <a:xfrm>
                <a:off x="12599606" y="309143"/>
                <a:ext cx="112515" cy="106883"/>
              </a:xfrm>
              <a:custGeom>
                <a:avLst/>
                <a:gdLst>
                  <a:gd name="connsiteX0" fmla="*/ 55277 w 112515"/>
                  <a:gd name="connsiteY0" fmla="*/ 106345 h 106883"/>
                  <a:gd name="connsiteX1" fmla="*/ -981 w 112515"/>
                  <a:gd name="connsiteY1" fmla="*/ 52918 h 106883"/>
                  <a:gd name="connsiteX2" fmla="*/ 55277 w 112515"/>
                  <a:gd name="connsiteY2" fmla="*/ -539 h 106883"/>
                  <a:gd name="connsiteX3" fmla="*/ 111534 w 112515"/>
                  <a:gd name="connsiteY3" fmla="*/ 52918 h 106883"/>
                  <a:gd name="connsiteX4" fmla="*/ 55277 w 112515"/>
                  <a:gd name="connsiteY4" fmla="*/ 106345 h 106883"/>
                  <a:gd name="connsiteX5" fmla="*/ 55277 w 112515"/>
                  <a:gd name="connsiteY5" fmla="*/ 2981 h 106883"/>
                  <a:gd name="connsiteX6" fmla="*/ 2539 w 112515"/>
                  <a:gd name="connsiteY6" fmla="*/ 52918 h 106883"/>
                  <a:gd name="connsiteX7" fmla="*/ 55277 w 112515"/>
                  <a:gd name="connsiteY7" fmla="*/ 102826 h 106883"/>
                  <a:gd name="connsiteX8" fmla="*/ 107986 w 112515"/>
                  <a:gd name="connsiteY8" fmla="*/ 52918 h 106883"/>
                  <a:gd name="connsiteX9" fmla="*/ 55277 w 112515"/>
                  <a:gd name="connsiteY9" fmla="*/ 2981 h 10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5" h="106883">
                    <a:moveTo>
                      <a:pt x="55277" y="106345"/>
                    </a:moveTo>
                    <a:cubicBezTo>
                      <a:pt x="24268" y="106345"/>
                      <a:pt x="-981" y="82380"/>
                      <a:pt x="-981" y="52918"/>
                    </a:cubicBezTo>
                    <a:cubicBezTo>
                      <a:pt x="-981" y="23456"/>
                      <a:pt x="24268" y="-539"/>
                      <a:pt x="55277" y="-539"/>
                    </a:cubicBezTo>
                    <a:cubicBezTo>
                      <a:pt x="86285" y="-539"/>
                      <a:pt x="111534" y="23456"/>
                      <a:pt x="111534" y="52918"/>
                    </a:cubicBezTo>
                    <a:cubicBezTo>
                      <a:pt x="111534" y="82380"/>
                      <a:pt x="86285" y="106345"/>
                      <a:pt x="55277" y="106345"/>
                    </a:cubicBezTo>
                    <a:close/>
                    <a:moveTo>
                      <a:pt x="55277" y="2981"/>
                    </a:moveTo>
                    <a:cubicBezTo>
                      <a:pt x="26188" y="2981"/>
                      <a:pt x="2539" y="25375"/>
                      <a:pt x="2539" y="52918"/>
                    </a:cubicBezTo>
                    <a:cubicBezTo>
                      <a:pt x="2539" y="80460"/>
                      <a:pt x="26188" y="102826"/>
                      <a:pt x="55277" y="102826"/>
                    </a:cubicBezTo>
                    <a:cubicBezTo>
                      <a:pt x="84366" y="102826"/>
                      <a:pt x="107986" y="80431"/>
                      <a:pt x="107986" y="52918"/>
                    </a:cubicBezTo>
                    <a:cubicBezTo>
                      <a:pt x="107986" y="25404"/>
                      <a:pt x="84336" y="2981"/>
                      <a:pt x="55277" y="2981"/>
                    </a:cubicBezTo>
                    <a:close/>
                  </a:path>
                </a:pathLst>
              </a:custGeom>
              <a:solidFill>
                <a:srgbClr val="B3B3B3"/>
              </a:solidFill>
              <a:ln w="2907" cap="flat">
                <a:noFill/>
                <a:prstDash val="solid"/>
                <a:miter/>
              </a:ln>
            </p:spPr>
            <p:txBody>
              <a:bodyPr rtlCol="0" anchor="ctr"/>
              <a:lstStyle/>
              <a:p>
                <a:endParaRPr lang="en-US" sz="800"/>
              </a:p>
            </p:txBody>
          </p:sp>
          <p:sp>
            <p:nvSpPr>
              <p:cNvPr id="1258" name="Graphic 38">
                <a:extLst>
                  <a:ext uri="{FF2B5EF4-FFF2-40B4-BE49-F238E27FC236}">
                    <a16:creationId xmlns:a16="http://schemas.microsoft.com/office/drawing/2014/main" id="{45CBF891-1577-BB6F-8C00-846B1222C31E}"/>
                  </a:ext>
                </a:extLst>
              </p:cNvPr>
              <p:cNvSpPr/>
              <p:nvPr/>
            </p:nvSpPr>
            <p:spPr>
              <a:xfrm>
                <a:off x="12597977" y="307688"/>
                <a:ext cx="115773" cy="109821"/>
              </a:xfrm>
              <a:custGeom>
                <a:avLst/>
                <a:gdLst>
                  <a:gd name="connsiteX0" fmla="*/ 56906 w 115773"/>
                  <a:gd name="connsiteY0" fmla="*/ 109282 h 109821"/>
                  <a:gd name="connsiteX1" fmla="*/ -981 w 115773"/>
                  <a:gd name="connsiteY1" fmla="*/ 54372 h 109821"/>
                  <a:gd name="connsiteX2" fmla="*/ 56906 w 115773"/>
                  <a:gd name="connsiteY2" fmla="*/ -539 h 109821"/>
                  <a:gd name="connsiteX3" fmla="*/ 114792 w 115773"/>
                  <a:gd name="connsiteY3" fmla="*/ 54372 h 109821"/>
                  <a:gd name="connsiteX4" fmla="*/ 56906 w 115773"/>
                  <a:gd name="connsiteY4" fmla="*/ 109282 h 109821"/>
                  <a:gd name="connsiteX5" fmla="*/ 56906 w 115773"/>
                  <a:gd name="connsiteY5" fmla="*/ 5918 h 109821"/>
                  <a:gd name="connsiteX6" fmla="*/ 5825 w 115773"/>
                  <a:gd name="connsiteY6" fmla="*/ 54372 h 109821"/>
                  <a:gd name="connsiteX7" fmla="*/ 56906 w 115773"/>
                  <a:gd name="connsiteY7" fmla="*/ 102826 h 109821"/>
                  <a:gd name="connsiteX8" fmla="*/ 107985 w 115773"/>
                  <a:gd name="connsiteY8" fmla="*/ 54372 h 109821"/>
                  <a:gd name="connsiteX9" fmla="*/ 56906 w 115773"/>
                  <a:gd name="connsiteY9" fmla="*/ 5918 h 10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773" h="109821">
                    <a:moveTo>
                      <a:pt x="56906" y="109282"/>
                    </a:moveTo>
                    <a:cubicBezTo>
                      <a:pt x="24908" y="109282"/>
                      <a:pt x="-981" y="84648"/>
                      <a:pt x="-981" y="54372"/>
                    </a:cubicBezTo>
                    <a:cubicBezTo>
                      <a:pt x="-981" y="24096"/>
                      <a:pt x="24995" y="-539"/>
                      <a:pt x="56906" y="-539"/>
                    </a:cubicBezTo>
                    <a:cubicBezTo>
                      <a:pt x="88816" y="-539"/>
                      <a:pt x="114792" y="24096"/>
                      <a:pt x="114792" y="54372"/>
                    </a:cubicBezTo>
                    <a:cubicBezTo>
                      <a:pt x="114792" y="84648"/>
                      <a:pt x="88816" y="109282"/>
                      <a:pt x="56906" y="109282"/>
                    </a:cubicBezTo>
                    <a:close/>
                    <a:moveTo>
                      <a:pt x="56906" y="5918"/>
                    </a:moveTo>
                    <a:cubicBezTo>
                      <a:pt x="28747" y="5918"/>
                      <a:pt x="5825" y="27644"/>
                      <a:pt x="5825" y="54372"/>
                    </a:cubicBezTo>
                    <a:cubicBezTo>
                      <a:pt x="5825" y="81100"/>
                      <a:pt x="28747" y="102826"/>
                      <a:pt x="56906" y="102826"/>
                    </a:cubicBezTo>
                    <a:cubicBezTo>
                      <a:pt x="85063" y="102826"/>
                      <a:pt x="107985" y="81071"/>
                      <a:pt x="107985" y="54372"/>
                    </a:cubicBezTo>
                    <a:cubicBezTo>
                      <a:pt x="107985" y="27673"/>
                      <a:pt x="85063" y="5918"/>
                      <a:pt x="56906" y="5918"/>
                    </a:cubicBezTo>
                    <a:close/>
                  </a:path>
                </a:pathLst>
              </a:custGeom>
              <a:solidFill>
                <a:srgbClr val="B3B3B3"/>
              </a:solidFill>
              <a:ln w="2907" cap="flat">
                <a:noFill/>
                <a:prstDash val="solid"/>
                <a:miter/>
              </a:ln>
            </p:spPr>
            <p:txBody>
              <a:bodyPr rtlCol="0" anchor="ctr"/>
              <a:lstStyle/>
              <a:p>
                <a:endParaRPr lang="en-US" sz="800"/>
              </a:p>
            </p:txBody>
          </p:sp>
          <p:sp>
            <p:nvSpPr>
              <p:cNvPr id="1259" name="Graphic 38">
                <a:extLst>
                  <a:ext uri="{FF2B5EF4-FFF2-40B4-BE49-F238E27FC236}">
                    <a16:creationId xmlns:a16="http://schemas.microsoft.com/office/drawing/2014/main" id="{DC8E1122-E779-1037-8F71-89D3F5123643}"/>
                  </a:ext>
                </a:extLst>
              </p:cNvPr>
              <p:cNvSpPr/>
              <p:nvPr/>
            </p:nvSpPr>
            <p:spPr>
              <a:xfrm>
                <a:off x="12596203" y="306031"/>
                <a:ext cx="119322" cy="113340"/>
              </a:xfrm>
              <a:custGeom>
                <a:avLst/>
                <a:gdLst>
                  <a:gd name="connsiteX0" fmla="*/ 58680 w 119322"/>
                  <a:gd name="connsiteY0" fmla="*/ 112801 h 113340"/>
                  <a:gd name="connsiteX1" fmla="*/ -981 w 119322"/>
                  <a:gd name="connsiteY1" fmla="*/ 56146 h 113340"/>
                  <a:gd name="connsiteX2" fmla="*/ 58680 w 119322"/>
                  <a:gd name="connsiteY2" fmla="*/ -539 h 113340"/>
                  <a:gd name="connsiteX3" fmla="*/ 118341 w 119322"/>
                  <a:gd name="connsiteY3" fmla="*/ 56146 h 113340"/>
                  <a:gd name="connsiteX4" fmla="*/ 58680 w 119322"/>
                  <a:gd name="connsiteY4" fmla="*/ 112801 h 113340"/>
                  <a:gd name="connsiteX5" fmla="*/ 58680 w 119322"/>
                  <a:gd name="connsiteY5" fmla="*/ 2980 h 113340"/>
                  <a:gd name="connsiteX6" fmla="*/ 2538 w 119322"/>
                  <a:gd name="connsiteY6" fmla="*/ 56146 h 113340"/>
                  <a:gd name="connsiteX7" fmla="*/ 58680 w 119322"/>
                  <a:gd name="connsiteY7" fmla="*/ 109282 h 113340"/>
                  <a:gd name="connsiteX8" fmla="*/ 114821 w 119322"/>
                  <a:gd name="connsiteY8" fmla="*/ 56146 h 113340"/>
                  <a:gd name="connsiteX9" fmla="*/ 58680 w 119322"/>
                  <a:gd name="connsiteY9" fmla="*/ 2864 h 113340"/>
                  <a:gd name="connsiteX10" fmla="*/ 58680 w 119322"/>
                  <a:gd name="connsiteY10" fmla="*/ 106345 h 113340"/>
                  <a:gd name="connsiteX11" fmla="*/ 5825 w 119322"/>
                  <a:gd name="connsiteY11" fmla="*/ 56146 h 113340"/>
                  <a:gd name="connsiteX12" fmla="*/ 58680 w 119322"/>
                  <a:gd name="connsiteY12" fmla="*/ 5918 h 113340"/>
                  <a:gd name="connsiteX13" fmla="*/ 111505 w 119322"/>
                  <a:gd name="connsiteY13" fmla="*/ 56146 h 113340"/>
                  <a:gd name="connsiteX14" fmla="*/ 58680 w 119322"/>
                  <a:gd name="connsiteY14" fmla="*/ 106228 h 113340"/>
                  <a:gd name="connsiteX15" fmla="*/ 58680 w 119322"/>
                  <a:gd name="connsiteY15" fmla="*/ 9466 h 113340"/>
                  <a:gd name="connsiteX16" fmla="*/ 9229 w 119322"/>
                  <a:gd name="connsiteY16" fmla="*/ 56146 h 113340"/>
                  <a:gd name="connsiteX17" fmla="*/ 58680 w 119322"/>
                  <a:gd name="connsiteY17" fmla="*/ 102680 h 113340"/>
                  <a:gd name="connsiteX18" fmla="*/ 107985 w 119322"/>
                  <a:gd name="connsiteY18" fmla="*/ 56146 h 113340"/>
                  <a:gd name="connsiteX19" fmla="*/ 58680 w 119322"/>
                  <a:gd name="connsiteY19" fmla="*/ 9350 h 11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322" h="113340">
                    <a:moveTo>
                      <a:pt x="58680" y="112801"/>
                    </a:moveTo>
                    <a:cubicBezTo>
                      <a:pt x="25780" y="112801"/>
                      <a:pt x="-981" y="87382"/>
                      <a:pt x="-981" y="56146"/>
                    </a:cubicBezTo>
                    <a:cubicBezTo>
                      <a:pt x="-981" y="24910"/>
                      <a:pt x="25780" y="-539"/>
                      <a:pt x="58680" y="-539"/>
                    </a:cubicBezTo>
                    <a:cubicBezTo>
                      <a:pt x="91579" y="-539"/>
                      <a:pt x="118341" y="24881"/>
                      <a:pt x="118341" y="56146"/>
                    </a:cubicBezTo>
                    <a:cubicBezTo>
                      <a:pt x="118341" y="87411"/>
                      <a:pt x="91579" y="112801"/>
                      <a:pt x="58680" y="112801"/>
                    </a:cubicBezTo>
                    <a:close/>
                    <a:moveTo>
                      <a:pt x="58680" y="2980"/>
                    </a:moveTo>
                    <a:cubicBezTo>
                      <a:pt x="27729" y="2980"/>
                      <a:pt x="2538" y="26829"/>
                      <a:pt x="2538" y="56146"/>
                    </a:cubicBezTo>
                    <a:cubicBezTo>
                      <a:pt x="2538" y="85462"/>
                      <a:pt x="27729" y="109282"/>
                      <a:pt x="58680" y="109282"/>
                    </a:cubicBezTo>
                    <a:cubicBezTo>
                      <a:pt x="89630" y="109282"/>
                      <a:pt x="114821" y="85462"/>
                      <a:pt x="114821" y="56146"/>
                    </a:cubicBezTo>
                    <a:cubicBezTo>
                      <a:pt x="114821" y="26829"/>
                      <a:pt x="89630" y="2864"/>
                      <a:pt x="58680" y="2864"/>
                    </a:cubicBezTo>
                    <a:close/>
                    <a:moveTo>
                      <a:pt x="58680" y="106345"/>
                    </a:moveTo>
                    <a:cubicBezTo>
                      <a:pt x="29591" y="106345"/>
                      <a:pt x="5825" y="83834"/>
                      <a:pt x="5825" y="56146"/>
                    </a:cubicBezTo>
                    <a:cubicBezTo>
                      <a:pt x="5825" y="28458"/>
                      <a:pt x="29533" y="5918"/>
                      <a:pt x="58680" y="5918"/>
                    </a:cubicBezTo>
                    <a:cubicBezTo>
                      <a:pt x="87827" y="5918"/>
                      <a:pt x="111505" y="28458"/>
                      <a:pt x="111505" y="56146"/>
                    </a:cubicBezTo>
                    <a:cubicBezTo>
                      <a:pt x="111505" y="83834"/>
                      <a:pt x="87798" y="106228"/>
                      <a:pt x="58680" y="106228"/>
                    </a:cubicBezTo>
                    <a:close/>
                    <a:moveTo>
                      <a:pt x="58680" y="9466"/>
                    </a:moveTo>
                    <a:cubicBezTo>
                      <a:pt x="31482" y="9466"/>
                      <a:pt x="9229" y="30407"/>
                      <a:pt x="9229" y="56146"/>
                    </a:cubicBezTo>
                    <a:cubicBezTo>
                      <a:pt x="9229" y="81885"/>
                      <a:pt x="31336" y="102680"/>
                      <a:pt x="58680" y="102680"/>
                    </a:cubicBezTo>
                    <a:cubicBezTo>
                      <a:pt x="86023" y="102680"/>
                      <a:pt x="107985" y="81740"/>
                      <a:pt x="107985" y="56146"/>
                    </a:cubicBezTo>
                    <a:cubicBezTo>
                      <a:pt x="107985" y="30552"/>
                      <a:pt x="85878" y="9350"/>
                      <a:pt x="58680" y="9350"/>
                    </a:cubicBezTo>
                    <a:close/>
                  </a:path>
                </a:pathLst>
              </a:custGeom>
              <a:solidFill>
                <a:srgbClr val="B3B3B3"/>
              </a:solidFill>
              <a:ln w="2907" cap="flat">
                <a:noFill/>
                <a:prstDash val="solid"/>
                <a:miter/>
              </a:ln>
            </p:spPr>
            <p:txBody>
              <a:bodyPr rtlCol="0" anchor="ctr"/>
              <a:lstStyle/>
              <a:p>
                <a:endParaRPr lang="en-US" sz="800"/>
              </a:p>
            </p:txBody>
          </p:sp>
          <p:sp>
            <p:nvSpPr>
              <p:cNvPr id="1260" name="Graphic 38">
                <a:extLst>
                  <a:ext uri="{FF2B5EF4-FFF2-40B4-BE49-F238E27FC236}">
                    <a16:creationId xmlns:a16="http://schemas.microsoft.com/office/drawing/2014/main" id="{33D3609B-CFDD-676D-9099-09929B02CBF4}"/>
                  </a:ext>
                </a:extLst>
              </p:cNvPr>
              <p:cNvSpPr/>
              <p:nvPr/>
            </p:nvSpPr>
            <p:spPr>
              <a:xfrm>
                <a:off x="12593556" y="304082"/>
                <a:ext cx="124616" cy="117004"/>
              </a:xfrm>
              <a:custGeom>
                <a:avLst/>
                <a:gdLst>
                  <a:gd name="connsiteX0" fmla="*/ 61327 w 124616"/>
                  <a:gd name="connsiteY0" fmla="*/ 116466 h 117004"/>
                  <a:gd name="connsiteX1" fmla="*/ -981 w 124616"/>
                  <a:gd name="connsiteY1" fmla="*/ 57978 h 117004"/>
                  <a:gd name="connsiteX2" fmla="*/ 61327 w 124616"/>
                  <a:gd name="connsiteY2" fmla="*/ -539 h 117004"/>
                  <a:gd name="connsiteX3" fmla="*/ 123635 w 124616"/>
                  <a:gd name="connsiteY3" fmla="*/ 57978 h 117004"/>
                  <a:gd name="connsiteX4" fmla="*/ 61327 w 124616"/>
                  <a:gd name="connsiteY4" fmla="*/ 116466 h 117004"/>
                  <a:gd name="connsiteX5" fmla="*/ 61327 w 124616"/>
                  <a:gd name="connsiteY5" fmla="*/ 13102 h 117004"/>
                  <a:gd name="connsiteX6" fmla="*/ 14785 w 124616"/>
                  <a:gd name="connsiteY6" fmla="*/ 57978 h 117004"/>
                  <a:gd name="connsiteX7" fmla="*/ 61327 w 124616"/>
                  <a:gd name="connsiteY7" fmla="*/ 102826 h 117004"/>
                  <a:gd name="connsiteX8" fmla="*/ 107869 w 124616"/>
                  <a:gd name="connsiteY8" fmla="*/ 57978 h 117004"/>
                  <a:gd name="connsiteX9" fmla="*/ 61327 w 124616"/>
                  <a:gd name="connsiteY9" fmla="*/ 13102 h 1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616" h="117004">
                    <a:moveTo>
                      <a:pt x="61327" y="116466"/>
                    </a:moveTo>
                    <a:cubicBezTo>
                      <a:pt x="26973" y="116466"/>
                      <a:pt x="-981" y="90291"/>
                      <a:pt x="-981" y="57978"/>
                    </a:cubicBezTo>
                    <a:cubicBezTo>
                      <a:pt x="-981" y="25666"/>
                      <a:pt x="26973" y="-539"/>
                      <a:pt x="61327" y="-539"/>
                    </a:cubicBezTo>
                    <a:cubicBezTo>
                      <a:pt x="95681" y="-539"/>
                      <a:pt x="123635" y="25637"/>
                      <a:pt x="123635" y="57978"/>
                    </a:cubicBezTo>
                    <a:cubicBezTo>
                      <a:pt x="123635" y="90320"/>
                      <a:pt x="95768" y="116466"/>
                      <a:pt x="61327" y="116466"/>
                    </a:cubicBezTo>
                    <a:close/>
                    <a:moveTo>
                      <a:pt x="61327" y="13102"/>
                    </a:moveTo>
                    <a:cubicBezTo>
                      <a:pt x="35584" y="13102"/>
                      <a:pt x="14785" y="33228"/>
                      <a:pt x="14785" y="57978"/>
                    </a:cubicBezTo>
                    <a:cubicBezTo>
                      <a:pt x="14785" y="82729"/>
                      <a:pt x="35700" y="102826"/>
                      <a:pt x="61327" y="102826"/>
                    </a:cubicBezTo>
                    <a:cubicBezTo>
                      <a:pt x="86954" y="102826"/>
                      <a:pt x="107869" y="82700"/>
                      <a:pt x="107869" y="57978"/>
                    </a:cubicBezTo>
                    <a:cubicBezTo>
                      <a:pt x="107869" y="33257"/>
                      <a:pt x="87041" y="13102"/>
                      <a:pt x="61327" y="13102"/>
                    </a:cubicBezTo>
                    <a:close/>
                  </a:path>
                </a:pathLst>
              </a:custGeom>
              <a:solidFill>
                <a:srgbClr val="B3B3B3"/>
              </a:solidFill>
              <a:ln w="2907" cap="flat">
                <a:noFill/>
                <a:prstDash val="solid"/>
                <a:miter/>
              </a:ln>
            </p:spPr>
            <p:txBody>
              <a:bodyPr rtlCol="0" anchor="ctr"/>
              <a:lstStyle/>
              <a:p>
                <a:endParaRPr lang="en-US" sz="800"/>
              </a:p>
            </p:txBody>
          </p:sp>
          <p:sp>
            <p:nvSpPr>
              <p:cNvPr id="1261" name="Graphic 38">
                <a:extLst>
                  <a:ext uri="{FF2B5EF4-FFF2-40B4-BE49-F238E27FC236}">
                    <a16:creationId xmlns:a16="http://schemas.microsoft.com/office/drawing/2014/main" id="{0B0B9851-4436-5B7A-750B-6AC9E14EB95D}"/>
                  </a:ext>
                </a:extLst>
              </p:cNvPr>
              <p:cNvSpPr/>
              <p:nvPr/>
            </p:nvSpPr>
            <p:spPr>
              <a:xfrm>
                <a:off x="12591869" y="302337"/>
                <a:ext cx="127990" cy="120523"/>
              </a:xfrm>
              <a:custGeom>
                <a:avLst/>
                <a:gdLst>
                  <a:gd name="connsiteX0" fmla="*/ 63014 w 127990"/>
                  <a:gd name="connsiteY0" fmla="*/ 119985 h 120523"/>
                  <a:gd name="connsiteX1" fmla="*/ -981 w 127990"/>
                  <a:gd name="connsiteY1" fmla="*/ 59723 h 120523"/>
                  <a:gd name="connsiteX2" fmla="*/ 63014 w 127990"/>
                  <a:gd name="connsiteY2" fmla="*/ -539 h 120523"/>
                  <a:gd name="connsiteX3" fmla="*/ 127010 w 127990"/>
                  <a:gd name="connsiteY3" fmla="*/ 59723 h 120523"/>
                  <a:gd name="connsiteX4" fmla="*/ 63014 w 127990"/>
                  <a:gd name="connsiteY4" fmla="*/ 119985 h 120523"/>
                  <a:gd name="connsiteX5" fmla="*/ 63014 w 127990"/>
                  <a:gd name="connsiteY5" fmla="*/ 2980 h 120523"/>
                  <a:gd name="connsiteX6" fmla="*/ 2451 w 127990"/>
                  <a:gd name="connsiteY6" fmla="*/ 59723 h 120523"/>
                  <a:gd name="connsiteX7" fmla="*/ 63014 w 127990"/>
                  <a:gd name="connsiteY7" fmla="*/ 116466 h 120523"/>
                  <a:gd name="connsiteX8" fmla="*/ 123577 w 127990"/>
                  <a:gd name="connsiteY8" fmla="*/ 59723 h 120523"/>
                  <a:gd name="connsiteX9" fmla="*/ 63014 w 127990"/>
                  <a:gd name="connsiteY9" fmla="*/ 3068 h 120523"/>
                  <a:gd name="connsiteX10" fmla="*/ 63014 w 127990"/>
                  <a:gd name="connsiteY10" fmla="*/ 106345 h 120523"/>
                  <a:gd name="connsiteX11" fmla="*/ 14581 w 127990"/>
                  <a:gd name="connsiteY11" fmla="*/ 59811 h 120523"/>
                  <a:gd name="connsiteX12" fmla="*/ 63014 w 127990"/>
                  <a:gd name="connsiteY12" fmla="*/ 13276 h 120523"/>
                  <a:gd name="connsiteX13" fmla="*/ 111447 w 127990"/>
                  <a:gd name="connsiteY13" fmla="*/ 59811 h 120523"/>
                  <a:gd name="connsiteX14" fmla="*/ 63014 w 127990"/>
                  <a:gd name="connsiteY14" fmla="*/ 106345 h 120523"/>
                  <a:gd name="connsiteX15" fmla="*/ 63014 w 127990"/>
                  <a:gd name="connsiteY15" fmla="*/ 16621 h 120523"/>
                  <a:gd name="connsiteX16" fmla="*/ 18101 w 127990"/>
                  <a:gd name="connsiteY16" fmla="*/ 59723 h 120523"/>
                  <a:gd name="connsiteX17" fmla="*/ 63014 w 127990"/>
                  <a:gd name="connsiteY17" fmla="*/ 102826 h 120523"/>
                  <a:gd name="connsiteX18" fmla="*/ 107927 w 127990"/>
                  <a:gd name="connsiteY18" fmla="*/ 59723 h 120523"/>
                  <a:gd name="connsiteX19" fmla="*/ 63014 w 127990"/>
                  <a:gd name="connsiteY19" fmla="*/ 16621 h 12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990" h="120523">
                    <a:moveTo>
                      <a:pt x="63014" y="119985"/>
                    </a:moveTo>
                    <a:cubicBezTo>
                      <a:pt x="27671" y="119985"/>
                      <a:pt x="-981" y="92937"/>
                      <a:pt x="-981" y="59723"/>
                    </a:cubicBezTo>
                    <a:cubicBezTo>
                      <a:pt x="-981" y="26509"/>
                      <a:pt x="27758" y="-539"/>
                      <a:pt x="63014" y="-539"/>
                    </a:cubicBezTo>
                    <a:cubicBezTo>
                      <a:pt x="98270" y="-539"/>
                      <a:pt x="127010" y="26480"/>
                      <a:pt x="127010" y="59723"/>
                    </a:cubicBezTo>
                    <a:cubicBezTo>
                      <a:pt x="127010" y="92966"/>
                      <a:pt x="98357" y="119985"/>
                      <a:pt x="63014" y="119985"/>
                    </a:cubicBezTo>
                    <a:close/>
                    <a:moveTo>
                      <a:pt x="63014" y="2980"/>
                    </a:moveTo>
                    <a:cubicBezTo>
                      <a:pt x="29620" y="2980"/>
                      <a:pt x="2451" y="28429"/>
                      <a:pt x="2451" y="59723"/>
                    </a:cubicBezTo>
                    <a:cubicBezTo>
                      <a:pt x="2451" y="91018"/>
                      <a:pt x="29620" y="116466"/>
                      <a:pt x="63014" y="116466"/>
                    </a:cubicBezTo>
                    <a:cubicBezTo>
                      <a:pt x="96408" y="116466"/>
                      <a:pt x="123577" y="91018"/>
                      <a:pt x="123577" y="59723"/>
                    </a:cubicBezTo>
                    <a:cubicBezTo>
                      <a:pt x="123577" y="28429"/>
                      <a:pt x="96408" y="3068"/>
                      <a:pt x="63014" y="3068"/>
                    </a:cubicBezTo>
                    <a:close/>
                    <a:moveTo>
                      <a:pt x="63014" y="106345"/>
                    </a:moveTo>
                    <a:cubicBezTo>
                      <a:pt x="36310" y="106345"/>
                      <a:pt x="14581" y="85434"/>
                      <a:pt x="14581" y="59811"/>
                    </a:cubicBezTo>
                    <a:cubicBezTo>
                      <a:pt x="14581" y="34188"/>
                      <a:pt x="36310" y="13276"/>
                      <a:pt x="63014" y="13276"/>
                    </a:cubicBezTo>
                    <a:cubicBezTo>
                      <a:pt x="89717" y="13276"/>
                      <a:pt x="111447" y="34188"/>
                      <a:pt x="111447" y="59811"/>
                    </a:cubicBezTo>
                    <a:cubicBezTo>
                      <a:pt x="111447" y="85434"/>
                      <a:pt x="89717" y="106345"/>
                      <a:pt x="63014" y="106345"/>
                    </a:cubicBezTo>
                    <a:close/>
                    <a:moveTo>
                      <a:pt x="63014" y="16621"/>
                    </a:moveTo>
                    <a:cubicBezTo>
                      <a:pt x="38259" y="16621"/>
                      <a:pt x="18101" y="35962"/>
                      <a:pt x="18101" y="59723"/>
                    </a:cubicBezTo>
                    <a:cubicBezTo>
                      <a:pt x="18101" y="83485"/>
                      <a:pt x="38259" y="102826"/>
                      <a:pt x="63014" y="102826"/>
                    </a:cubicBezTo>
                    <a:cubicBezTo>
                      <a:pt x="87769" y="102826"/>
                      <a:pt x="107927" y="83485"/>
                      <a:pt x="107927" y="59723"/>
                    </a:cubicBezTo>
                    <a:cubicBezTo>
                      <a:pt x="107927" y="35962"/>
                      <a:pt x="87769" y="16621"/>
                      <a:pt x="63014" y="16621"/>
                    </a:cubicBezTo>
                    <a:close/>
                  </a:path>
                </a:pathLst>
              </a:custGeom>
              <a:solidFill>
                <a:srgbClr val="B3B3B3"/>
              </a:solidFill>
              <a:ln w="2907" cap="flat">
                <a:noFill/>
                <a:prstDash val="solid"/>
                <a:miter/>
              </a:ln>
            </p:spPr>
            <p:txBody>
              <a:bodyPr rtlCol="0" anchor="ctr"/>
              <a:lstStyle/>
              <a:p>
                <a:endParaRPr lang="en-US" sz="800"/>
              </a:p>
            </p:txBody>
          </p:sp>
          <p:sp>
            <p:nvSpPr>
              <p:cNvPr id="1262" name="Graphic 38">
                <a:extLst>
                  <a:ext uri="{FF2B5EF4-FFF2-40B4-BE49-F238E27FC236}">
                    <a16:creationId xmlns:a16="http://schemas.microsoft.com/office/drawing/2014/main" id="{8D85254D-F40F-9D53-D137-F6C73F06FCF5}"/>
                  </a:ext>
                </a:extLst>
              </p:cNvPr>
              <p:cNvSpPr/>
              <p:nvPr/>
            </p:nvSpPr>
            <p:spPr>
              <a:xfrm>
                <a:off x="12757210" y="310917"/>
                <a:ext cx="108966" cy="103364"/>
              </a:xfrm>
              <a:custGeom>
                <a:avLst/>
                <a:gdLst>
                  <a:gd name="connsiteX0" fmla="*/ 107985 w 108966"/>
                  <a:gd name="connsiteY0" fmla="*/ 51143 h 103364"/>
                  <a:gd name="connsiteX1" fmla="*/ 53502 w 108966"/>
                  <a:gd name="connsiteY1" fmla="*/ 102826 h 103364"/>
                  <a:gd name="connsiteX2" fmla="*/ -981 w 108966"/>
                  <a:gd name="connsiteY2" fmla="*/ 51143 h 103364"/>
                  <a:gd name="connsiteX3" fmla="*/ 53502 w 108966"/>
                  <a:gd name="connsiteY3" fmla="*/ -539 h 103364"/>
                  <a:gd name="connsiteX4" fmla="*/ 107985 w 108966"/>
                  <a:gd name="connsiteY4" fmla="*/ 51143 h 103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6" h="103364">
                    <a:moveTo>
                      <a:pt x="107985" y="51143"/>
                    </a:moveTo>
                    <a:cubicBezTo>
                      <a:pt x="107985" y="79675"/>
                      <a:pt x="83580" y="102826"/>
                      <a:pt x="53502" y="102826"/>
                    </a:cubicBezTo>
                    <a:cubicBezTo>
                      <a:pt x="23424" y="102826"/>
                      <a:pt x="-981" y="79559"/>
                      <a:pt x="-981" y="51143"/>
                    </a:cubicBezTo>
                    <a:cubicBezTo>
                      <a:pt x="-981" y="22729"/>
                      <a:pt x="23395" y="-539"/>
                      <a:pt x="53502" y="-539"/>
                    </a:cubicBezTo>
                    <a:cubicBezTo>
                      <a:pt x="83609" y="-539"/>
                      <a:pt x="107985" y="22583"/>
                      <a:pt x="107985" y="51143"/>
                    </a:cubicBezTo>
                    <a:close/>
                  </a:path>
                </a:pathLst>
              </a:custGeom>
              <a:solidFill>
                <a:srgbClr val="B3B3B3"/>
              </a:solidFill>
              <a:ln w="2907" cap="flat">
                <a:noFill/>
                <a:prstDash val="solid"/>
                <a:miter/>
              </a:ln>
            </p:spPr>
            <p:txBody>
              <a:bodyPr rtlCol="0" anchor="ctr"/>
              <a:lstStyle/>
              <a:p>
                <a:endParaRPr lang="en-US" sz="800"/>
              </a:p>
            </p:txBody>
          </p:sp>
          <p:sp>
            <p:nvSpPr>
              <p:cNvPr id="1263" name="Graphic 38">
                <a:extLst>
                  <a:ext uri="{FF2B5EF4-FFF2-40B4-BE49-F238E27FC236}">
                    <a16:creationId xmlns:a16="http://schemas.microsoft.com/office/drawing/2014/main" id="{B9A03843-CE91-A287-0F3E-6941CC74AD13}"/>
                  </a:ext>
                </a:extLst>
              </p:cNvPr>
              <p:cNvSpPr/>
              <p:nvPr/>
            </p:nvSpPr>
            <p:spPr>
              <a:xfrm>
                <a:off x="12755435" y="309143"/>
                <a:ext cx="112486" cy="106883"/>
              </a:xfrm>
              <a:custGeom>
                <a:avLst/>
                <a:gdLst>
                  <a:gd name="connsiteX0" fmla="*/ 55276 w 112486"/>
                  <a:gd name="connsiteY0" fmla="*/ 106345 h 106883"/>
                  <a:gd name="connsiteX1" fmla="*/ -981 w 112486"/>
                  <a:gd name="connsiteY1" fmla="*/ 52918 h 106883"/>
                  <a:gd name="connsiteX2" fmla="*/ 55276 w 112486"/>
                  <a:gd name="connsiteY2" fmla="*/ -539 h 106883"/>
                  <a:gd name="connsiteX3" fmla="*/ 111505 w 112486"/>
                  <a:gd name="connsiteY3" fmla="*/ 52918 h 106883"/>
                  <a:gd name="connsiteX4" fmla="*/ 55276 w 112486"/>
                  <a:gd name="connsiteY4" fmla="*/ 106345 h 106883"/>
                  <a:gd name="connsiteX5" fmla="*/ 55276 w 112486"/>
                  <a:gd name="connsiteY5" fmla="*/ 2981 h 106883"/>
                  <a:gd name="connsiteX6" fmla="*/ 2538 w 112486"/>
                  <a:gd name="connsiteY6" fmla="*/ 52918 h 106883"/>
                  <a:gd name="connsiteX7" fmla="*/ 55276 w 112486"/>
                  <a:gd name="connsiteY7" fmla="*/ 102826 h 106883"/>
                  <a:gd name="connsiteX8" fmla="*/ 107985 w 112486"/>
                  <a:gd name="connsiteY8" fmla="*/ 52918 h 106883"/>
                  <a:gd name="connsiteX9" fmla="*/ 55276 w 112486"/>
                  <a:gd name="connsiteY9" fmla="*/ 2981 h 10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486" h="106883">
                    <a:moveTo>
                      <a:pt x="55276" y="106345"/>
                    </a:moveTo>
                    <a:cubicBezTo>
                      <a:pt x="24239" y="106345"/>
                      <a:pt x="-981" y="82380"/>
                      <a:pt x="-981" y="52918"/>
                    </a:cubicBezTo>
                    <a:cubicBezTo>
                      <a:pt x="-981" y="23456"/>
                      <a:pt x="24239" y="-539"/>
                      <a:pt x="55276" y="-539"/>
                    </a:cubicBezTo>
                    <a:cubicBezTo>
                      <a:pt x="86314" y="-539"/>
                      <a:pt x="111505" y="23456"/>
                      <a:pt x="111505" y="52918"/>
                    </a:cubicBezTo>
                    <a:cubicBezTo>
                      <a:pt x="111505" y="82380"/>
                      <a:pt x="86285" y="106345"/>
                      <a:pt x="55276" y="106345"/>
                    </a:cubicBezTo>
                    <a:close/>
                    <a:moveTo>
                      <a:pt x="55276" y="2981"/>
                    </a:moveTo>
                    <a:cubicBezTo>
                      <a:pt x="26188" y="2981"/>
                      <a:pt x="2538" y="25375"/>
                      <a:pt x="2538" y="52918"/>
                    </a:cubicBezTo>
                    <a:cubicBezTo>
                      <a:pt x="2538" y="80460"/>
                      <a:pt x="26188" y="102826"/>
                      <a:pt x="55276" y="102826"/>
                    </a:cubicBezTo>
                    <a:cubicBezTo>
                      <a:pt x="84365" y="102826"/>
                      <a:pt x="107985" y="80431"/>
                      <a:pt x="107985" y="52918"/>
                    </a:cubicBezTo>
                    <a:cubicBezTo>
                      <a:pt x="107985" y="25404"/>
                      <a:pt x="84336" y="2981"/>
                      <a:pt x="55276" y="2981"/>
                    </a:cubicBezTo>
                    <a:close/>
                  </a:path>
                </a:pathLst>
              </a:custGeom>
              <a:solidFill>
                <a:srgbClr val="B3B3B3"/>
              </a:solidFill>
              <a:ln w="2907" cap="flat">
                <a:noFill/>
                <a:prstDash val="solid"/>
                <a:miter/>
              </a:ln>
            </p:spPr>
            <p:txBody>
              <a:bodyPr rtlCol="0" anchor="ctr"/>
              <a:lstStyle/>
              <a:p>
                <a:endParaRPr lang="en-US" sz="800"/>
              </a:p>
            </p:txBody>
          </p:sp>
          <p:sp>
            <p:nvSpPr>
              <p:cNvPr id="1264" name="Graphic 38">
                <a:extLst>
                  <a:ext uri="{FF2B5EF4-FFF2-40B4-BE49-F238E27FC236}">
                    <a16:creationId xmlns:a16="http://schemas.microsoft.com/office/drawing/2014/main" id="{CE4A1F01-72BE-6B36-A06B-CFE5171D09DD}"/>
                  </a:ext>
                </a:extLst>
              </p:cNvPr>
              <p:cNvSpPr/>
              <p:nvPr/>
            </p:nvSpPr>
            <p:spPr>
              <a:xfrm>
                <a:off x="12753777" y="307688"/>
                <a:ext cx="115802" cy="109821"/>
              </a:xfrm>
              <a:custGeom>
                <a:avLst/>
                <a:gdLst>
                  <a:gd name="connsiteX0" fmla="*/ 56935 w 115802"/>
                  <a:gd name="connsiteY0" fmla="*/ 109282 h 109821"/>
                  <a:gd name="connsiteX1" fmla="*/ -981 w 115802"/>
                  <a:gd name="connsiteY1" fmla="*/ 54372 h 109821"/>
                  <a:gd name="connsiteX2" fmla="*/ 56935 w 115802"/>
                  <a:gd name="connsiteY2" fmla="*/ -539 h 109821"/>
                  <a:gd name="connsiteX3" fmla="*/ 114821 w 115802"/>
                  <a:gd name="connsiteY3" fmla="*/ 54372 h 109821"/>
                  <a:gd name="connsiteX4" fmla="*/ 56935 w 115802"/>
                  <a:gd name="connsiteY4" fmla="*/ 109282 h 109821"/>
                  <a:gd name="connsiteX5" fmla="*/ 56935 w 115802"/>
                  <a:gd name="connsiteY5" fmla="*/ 5918 h 109821"/>
                  <a:gd name="connsiteX6" fmla="*/ 5855 w 115802"/>
                  <a:gd name="connsiteY6" fmla="*/ 54372 h 109821"/>
                  <a:gd name="connsiteX7" fmla="*/ 56935 w 115802"/>
                  <a:gd name="connsiteY7" fmla="*/ 102826 h 109821"/>
                  <a:gd name="connsiteX8" fmla="*/ 108015 w 115802"/>
                  <a:gd name="connsiteY8" fmla="*/ 54372 h 109821"/>
                  <a:gd name="connsiteX9" fmla="*/ 56935 w 115802"/>
                  <a:gd name="connsiteY9" fmla="*/ 5918 h 10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802" h="109821">
                    <a:moveTo>
                      <a:pt x="56935" y="109282"/>
                    </a:moveTo>
                    <a:cubicBezTo>
                      <a:pt x="24937" y="109282"/>
                      <a:pt x="-981" y="84648"/>
                      <a:pt x="-981" y="54372"/>
                    </a:cubicBezTo>
                    <a:cubicBezTo>
                      <a:pt x="-981" y="24096"/>
                      <a:pt x="24995" y="-539"/>
                      <a:pt x="56935" y="-539"/>
                    </a:cubicBezTo>
                    <a:cubicBezTo>
                      <a:pt x="88874" y="-539"/>
                      <a:pt x="114821" y="24096"/>
                      <a:pt x="114821" y="54372"/>
                    </a:cubicBezTo>
                    <a:cubicBezTo>
                      <a:pt x="114821" y="84648"/>
                      <a:pt x="88845" y="109282"/>
                      <a:pt x="56935" y="109282"/>
                    </a:cubicBezTo>
                    <a:close/>
                    <a:moveTo>
                      <a:pt x="56935" y="5918"/>
                    </a:moveTo>
                    <a:cubicBezTo>
                      <a:pt x="28748" y="5918"/>
                      <a:pt x="5855" y="27644"/>
                      <a:pt x="5855" y="54372"/>
                    </a:cubicBezTo>
                    <a:cubicBezTo>
                      <a:pt x="5855" y="81100"/>
                      <a:pt x="28748" y="102826"/>
                      <a:pt x="56935" y="102826"/>
                    </a:cubicBezTo>
                    <a:cubicBezTo>
                      <a:pt x="85122" y="102826"/>
                      <a:pt x="108015" y="81071"/>
                      <a:pt x="108015" y="54372"/>
                    </a:cubicBezTo>
                    <a:cubicBezTo>
                      <a:pt x="108015" y="27673"/>
                      <a:pt x="85093" y="5918"/>
                      <a:pt x="56935" y="5918"/>
                    </a:cubicBezTo>
                    <a:close/>
                  </a:path>
                </a:pathLst>
              </a:custGeom>
              <a:solidFill>
                <a:srgbClr val="B3B3B3"/>
              </a:solidFill>
              <a:ln w="2907" cap="flat">
                <a:noFill/>
                <a:prstDash val="solid"/>
                <a:miter/>
              </a:ln>
            </p:spPr>
            <p:txBody>
              <a:bodyPr rtlCol="0" anchor="ctr"/>
              <a:lstStyle/>
              <a:p>
                <a:endParaRPr lang="en-US" sz="800"/>
              </a:p>
            </p:txBody>
          </p:sp>
          <p:sp>
            <p:nvSpPr>
              <p:cNvPr id="1265" name="Graphic 38">
                <a:extLst>
                  <a:ext uri="{FF2B5EF4-FFF2-40B4-BE49-F238E27FC236}">
                    <a16:creationId xmlns:a16="http://schemas.microsoft.com/office/drawing/2014/main" id="{73A0C605-C23F-E3C0-D101-2909F76D6047}"/>
                  </a:ext>
                </a:extLst>
              </p:cNvPr>
              <p:cNvSpPr/>
              <p:nvPr/>
            </p:nvSpPr>
            <p:spPr>
              <a:xfrm>
                <a:off x="12752032" y="306031"/>
                <a:ext cx="119293" cy="113340"/>
              </a:xfrm>
              <a:custGeom>
                <a:avLst/>
                <a:gdLst>
                  <a:gd name="connsiteX0" fmla="*/ 58680 w 119293"/>
                  <a:gd name="connsiteY0" fmla="*/ 112801 h 113340"/>
                  <a:gd name="connsiteX1" fmla="*/ -981 w 119293"/>
                  <a:gd name="connsiteY1" fmla="*/ 56146 h 113340"/>
                  <a:gd name="connsiteX2" fmla="*/ 58680 w 119293"/>
                  <a:gd name="connsiteY2" fmla="*/ -539 h 113340"/>
                  <a:gd name="connsiteX3" fmla="*/ 118312 w 119293"/>
                  <a:gd name="connsiteY3" fmla="*/ 56146 h 113340"/>
                  <a:gd name="connsiteX4" fmla="*/ 58680 w 119293"/>
                  <a:gd name="connsiteY4" fmla="*/ 112801 h 113340"/>
                  <a:gd name="connsiteX5" fmla="*/ 58680 w 119293"/>
                  <a:gd name="connsiteY5" fmla="*/ 2980 h 113340"/>
                  <a:gd name="connsiteX6" fmla="*/ 2539 w 119293"/>
                  <a:gd name="connsiteY6" fmla="*/ 56146 h 113340"/>
                  <a:gd name="connsiteX7" fmla="*/ 58680 w 119293"/>
                  <a:gd name="connsiteY7" fmla="*/ 109282 h 113340"/>
                  <a:gd name="connsiteX8" fmla="*/ 114792 w 119293"/>
                  <a:gd name="connsiteY8" fmla="*/ 56146 h 113340"/>
                  <a:gd name="connsiteX9" fmla="*/ 58680 w 119293"/>
                  <a:gd name="connsiteY9" fmla="*/ 2864 h 113340"/>
                  <a:gd name="connsiteX10" fmla="*/ 58680 w 119293"/>
                  <a:gd name="connsiteY10" fmla="*/ 106345 h 113340"/>
                  <a:gd name="connsiteX11" fmla="*/ 5826 w 119293"/>
                  <a:gd name="connsiteY11" fmla="*/ 56146 h 113340"/>
                  <a:gd name="connsiteX12" fmla="*/ 58680 w 119293"/>
                  <a:gd name="connsiteY12" fmla="*/ 5918 h 113340"/>
                  <a:gd name="connsiteX13" fmla="*/ 111505 w 119293"/>
                  <a:gd name="connsiteY13" fmla="*/ 56146 h 113340"/>
                  <a:gd name="connsiteX14" fmla="*/ 58680 w 119293"/>
                  <a:gd name="connsiteY14" fmla="*/ 106228 h 113340"/>
                  <a:gd name="connsiteX15" fmla="*/ 58680 w 119293"/>
                  <a:gd name="connsiteY15" fmla="*/ 9466 h 113340"/>
                  <a:gd name="connsiteX16" fmla="*/ 9229 w 119293"/>
                  <a:gd name="connsiteY16" fmla="*/ 56146 h 113340"/>
                  <a:gd name="connsiteX17" fmla="*/ 58680 w 119293"/>
                  <a:gd name="connsiteY17" fmla="*/ 102680 h 113340"/>
                  <a:gd name="connsiteX18" fmla="*/ 108131 w 119293"/>
                  <a:gd name="connsiteY18" fmla="*/ 56146 h 113340"/>
                  <a:gd name="connsiteX19" fmla="*/ 58680 w 119293"/>
                  <a:gd name="connsiteY19" fmla="*/ 9350 h 11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293" h="113340">
                    <a:moveTo>
                      <a:pt x="58680" y="112801"/>
                    </a:moveTo>
                    <a:cubicBezTo>
                      <a:pt x="25781" y="112801"/>
                      <a:pt x="-981" y="87382"/>
                      <a:pt x="-981" y="56146"/>
                    </a:cubicBezTo>
                    <a:cubicBezTo>
                      <a:pt x="-981" y="24910"/>
                      <a:pt x="25781" y="-539"/>
                      <a:pt x="58680" y="-539"/>
                    </a:cubicBezTo>
                    <a:cubicBezTo>
                      <a:pt x="91580" y="-539"/>
                      <a:pt x="118312" y="24881"/>
                      <a:pt x="118312" y="56146"/>
                    </a:cubicBezTo>
                    <a:cubicBezTo>
                      <a:pt x="118312" y="87411"/>
                      <a:pt x="91463" y="112801"/>
                      <a:pt x="58680" y="112801"/>
                    </a:cubicBezTo>
                    <a:close/>
                    <a:moveTo>
                      <a:pt x="58680" y="2980"/>
                    </a:moveTo>
                    <a:cubicBezTo>
                      <a:pt x="27729" y="2980"/>
                      <a:pt x="2539" y="26829"/>
                      <a:pt x="2539" y="56146"/>
                    </a:cubicBezTo>
                    <a:cubicBezTo>
                      <a:pt x="2539" y="85462"/>
                      <a:pt x="27729" y="109282"/>
                      <a:pt x="58680" y="109282"/>
                    </a:cubicBezTo>
                    <a:cubicBezTo>
                      <a:pt x="89630" y="109282"/>
                      <a:pt x="114792" y="85462"/>
                      <a:pt x="114792" y="56146"/>
                    </a:cubicBezTo>
                    <a:cubicBezTo>
                      <a:pt x="114792" y="26829"/>
                      <a:pt x="89630" y="2864"/>
                      <a:pt x="58680" y="2864"/>
                    </a:cubicBezTo>
                    <a:close/>
                    <a:moveTo>
                      <a:pt x="58680" y="106345"/>
                    </a:moveTo>
                    <a:cubicBezTo>
                      <a:pt x="29591" y="106345"/>
                      <a:pt x="5826" y="83834"/>
                      <a:pt x="5826" y="56146"/>
                    </a:cubicBezTo>
                    <a:cubicBezTo>
                      <a:pt x="5826" y="28458"/>
                      <a:pt x="29533" y="5918"/>
                      <a:pt x="58680" y="5918"/>
                    </a:cubicBezTo>
                    <a:cubicBezTo>
                      <a:pt x="87827" y="5918"/>
                      <a:pt x="111505" y="28458"/>
                      <a:pt x="111505" y="56146"/>
                    </a:cubicBezTo>
                    <a:cubicBezTo>
                      <a:pt x="111505" y="83834"/>
                      <a:pt x="87798" y="106228"/>
                      <a:pt x="58680" y="106228"/>
                    </a:cubicBezTo>
                    <a:close/>
                    <a:moveTo>
                      <a:pt x="58680" y="9466"/>
                    </a:moveTo>
                    <a:cubicBezTo>
                      <a:pt x="31482" y="9466"/>
                      <a:pt x="9229" y="30407"/>
                      <a:pt x="9229" y="56146"/>
                    </a:cubicBezTo>
                    <a:cubicBezTo>
                      <a:pt x="9229" y="81885"/>
                      <a:pt x="31365" y="102680"/>
                      <a:pt x="58680" y="102680"/>
                    </a:cubicBezTo>
                    <a:cubicBezTo>
                      <a:pt x="85994" y="102680"/>
                      <a:pt x="108131" y="81740"/>
                      <a:pt x="108131" y="56146"/>
                    </a:cubicBezTo>
                    <a:cubicBezTo>
                      <a:pt x="108131" y="30552"/>
                      <a:pt x="85878" y="9350"/>
                      <a:pt x="58680" y="9350"/>
                    </a:cubicBezTo>
                    <a:close/>
                  </a:path>
                </a:pathLst>
              </a:custGeom>
              <a:solidFill>
                <a:srgbClr val="B3B3B3"/>
              </a:solidFill>
              <a:ln w="2907" cap="flat">
                <a:noFill/>
                <a:prstDash val="solid"/>
                <a:miter/>
              </a:ln>
            </p:spPr>
            <p:txBody>
              <a:bodyPr rtlCol="0" anchor="ctr"/>
              <a:lstStyle/>
              <a:p>
                <a:endParaRPr lang="en-US" sz="800"/>
              </a:p>
            </p:txBody>
          </p:sp>
          <p:sp>
            <p:nvSpPr>
              <p:cNvPr id="1266" name="Graphic 38">
                <a:extLst>
                  <a:ext uri="{FF2B5EF4-FFF2-40B4-BE49-F238E27FC236}">
                    <a16:creationId xmlns:a16="http://schemas.microsoft.com/office/drawing/2014/main" id="{369D1B0F-2A08-66AE-936F-D7F7083832EC}"/>
                  </a:ext>
                </a:extLst>
              </p:cNvPr>
              <p:cNvSpPr/>
              <p:nvPr/>
            </p:nvSpPr>
            <p:spPr>
              <a:xfrm>
                <a:off x="12749356" y="304082"/>
                <a:ext cx="124645" cy="117004"/>
              </a:xfrm>
              <a:custGeom>
                <a:avLst/>
                <a:gdLst>
                  <a:gd name="connsiteX0" fmla="*/ 61356 w 124645"/>
                  <a:gd name="connsiteY0" fmla="*/ 116466 h 117004"/>
                  <a:gd name="connsiteX1" fmla="*/ -981 w 124645"/>
                  <a:gd name="connsiteY1" fmla="*/ 57978 h 117004"/>
                  <a:gd name="connsiteX2" fmla="*/ 61356 w 124645"/>
                  <a:gd name="connsiteY2" fmla="*/ -539 h 117004"/>
                  <a:gd name="connsiteX3" fmla="*/ 123664 w 124645"/>
                  <a:gd name="connsiteY3" fmla="*/ 57978 h 117004"/>
                  <a:gd name="connsiteX4" fmla="*/ 61356 w 124645"/>
                  <a:gd name="connsiteY4" fmla="*/ 116466 h 117004"/>
                  <a:gd name="connsiteX5" fmla="*/ 61356 w 124645"/>
                  <a:gd name="connsiteY5" fmla="*/ 13102 h 117004"/>
                  <a:gd name="connsiteX6" fmla="*/ 14814 w 124645"/>
                  <a:gd name="connsiteY6" fmla="*/ 57978 h 117004"/>
                  <a:gd name="connsiteX7" fmla="*/ 61356 w 124645"/>
                  <a:gd name="connsiteY7" fmla="*/ 102826 h 117004"/>
                  <a:gd name="connsiteX8" fmla="*/ 107898 w 124645"/>
                  <a:gd name="connsiteY8" fmla="*/ 57978 h 117004"/>
                  <a:gd name="connsiteX9" fmla="*/ 61356 w 124645"/>
                  <a:gd name="connsiteY9" fmla="*/ 13102 h 1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645" h="117004">
                    <a:moveTo>
                      <a:pt x="61356" y="116466"/>
                    </a:moveTo>
                    <a:cubicBezTo>
                      <a:pt x="26973" y="116466"/>
                      <a:pt x="-981" y="90291"/>
                      <a:pt x="-981" y="57978"/>
                    </a:cubicBezTo>
                    <a:cubicBezTo>
                      <a:pt x="-981" y="25666"/>
                      <a:pt x="26973" y="-539"/>
                      <a:pt x="61356" y="-539"/>
                    </a:cubicBezTo>
                    <a:cubicBezTo>
                      <a:pt x="95739" y="-539"/>
                      <a:pt x="123664" y="25637"/>
                      <a:pt x="123664" y="57978"/>
                    </a:cubicBezTo>
                    <a:cubicBezTo>
                      <a:pt x="123664" y="90320"/>
                      <a:pt x="95710" y="116466"/>
                      <a:pt x="61356" y="116466"/>
                    </a:cubicBezTo>
                    <a:close/>
                    <a:moveTo>
                      <a:pt x="61356" y="13102"/>
                    </a:moveTo>
                    <a:cubicBezTo>
                      <a:pt x="35612" y="13102"/>
                      <a:pt x="14814" y="33228"/>
                      <a:pt x="14814" y="57978"/>
                    </a:cubicBezTo>
                    <a:cubicBezTo>
                      <a:pt x="14814" y="82729"/>
                      <a:pt x="35729" y="102826"/>
                      <a:pt x="61356" y="102826"/>
                    </a:cubicBezTo>
                    <a:cubicBezTo>
                      <a:pt x="86983" y="102826"/>
                      <a:pt x="107898" y="82700"/>
                      <a:pt x="107898" y="57978"/>
                    </a:cubicBezTo>
                    <a:cubicBezTo>
                      <a:pt x="107898" y="33257"/>
                      <a:pt x="87070" y="13102"/>
                      <a:pt x="61356" y="13102"/>
                    </a:cubicBezTo>
                    <a:close/>
                  </a:path>
                </a:pathLst>
              </a:custGeom>
              <a:solidFill>
                <a:srgbClr val="B3B3B3"/>
              </a:solidFill>
              <a:ln w="2907" cap="flat">
                <a:noFill/>
                <a:prstDash val="solid"/>
                <a:miter/>
              </a:ln>
            </p:spPr>
            <p:txBody>
              <a:bodyPr rtlCol="0" anchor="ctr"/>
              <a:lstStyle/>
              <a:p>
                <a:endParaRPr lang="en-US" sz="800"/>
              </a:p>
            </p:txBody>
          </p:sp>
          <p:sp>
            <p:nvSpPr>
              <p:cNvPr id="1267" name="Graphic 38">
                <a:extLst>
                  <a:ext uri="{FF2B5EF4-FFF2-40B4-BE49-F238E27FC236}">
                    <a16:creationId xmlns:a16="http://schemas.microsoft.com/office/drawing/2014/main" id="{DD2618CA-A547-DD99-5144-6E0826CED308}"/>
                  </a:ext>
                </a:extLst>
              </p:cNvPr>
              <p:cNvSpPr/>
              <p:nvPr/>
            </p:nvSpPr>
            <p:spPr>
              <a:xfrm>
                <a:off x="12747698" y="302337"/>
                <a:ext cx="127990" cy="120523"/>
              </a:xfrm>
              <a:custGeom>
                <a:avLst/>
                <a:gdLst>
                  <a:gd name="connsiteX0" fmla="*/ 63014 w 127990"/>
                  <a:gd name="connsiteY0" fmla="*/ 119985 h 120523"/>
                  <a:gd name="connsiteX1" fmla="*/ -981 w 127990"/>
                  <a:gd name="connsiteY1" fmla="*/ 59723 h 120523"/>
                  <a:gd name="connsiteX2" fmla="*/ 63014 w 127990"/>
                  <a:gd name="connsiteY2" fmla="*/ -539 h 120523"/>
                  <a:gd name="connsiteX3" fmla="*/ 127010 w 127990"/>
                  <a:gd name="connsiteY3" fmla="*/ 59723 h 120523"/>
                  <a:gd name="connsiteX4" fmla="*/ 63014 w 127990"/>
                  <a:gd name="connsiteY4" fmla="*/ 119985 h 120523"/>
                  <a:gd name="connsiteX5" fmla="*/ 63014 w 127990"/>
                  <a:gd name="connsiteY5" fmla="*/ 2980 h 120523"/>
                  <a:gd name="connsiteX6" fmla="*/ 2451 w 127990"/>
                  <a:gd name="connsiteY6" fmla="*/ 59723 h 120523"/>
                  <a:gd name="connsiteX7" fmla="*/ 63014 w 127990"/>
                  <a:gd name="connsiteY7" fmla="*/ 116466 h 120523"/>
                  <a:gd name="connsiteX8" fmla="*/ 123548 w 127990"/>
                  <a:gd name="connsiteY8" fmla="*/ 59723 h 120523"/>
                  <a:gd name="connsiteX9" fmla="*/ 63014 w 127990"/>
                  <a:gd name="connsiteY9" fmla="*/ 3068 h 120523"/>
                  <a:gd name="connsiteX10" fmla="*/ 63014 w 127990"/>
                  <a:gd name="connsiteY10" fmla="*/ 106345 h 120523"/>
                  <a:gd name="connsiteX11" fmla="*/ 14581 w 127990"/>
                  <a:gd name="connsiteY11" fmla="*/ 59811 h 120523"/>
                  <a:gd name="connsiteX12" fmla="*/ 63014 w 127990"/>
                  <a:gd name="connsiteY12" fmla="*/ 13276 h 120523"/>
                  <a:gd name="connsiteX13" fmla="*/ 111418 w 127990"/>
                  <a:gd name="connsiteY13" fmla="*/ 59811 h 120523"/>
                  <a:gd name="connsiteX14" fmla="*/ 63014 w 127990"/>
                  <a:gd name="connsiteY14" fmla="*/ 106345 h 120523"/>
                  <a:gd name="connsiteX15" fmla="*/ 63014 w 127990"/>
                  <a:gd name="connsiteY15" fmla="*/ 16621 h 120523"/>
                  <a:gd name="connsiteX16" fmla="*/ 18101 w 127990"/>
                  <a:gd name="connsiteY16" fmla="*/ 59723 h 120523"/>
                  <a:gd name="connsiteX17" fmla="*/ 63014 w 127990"/>
                  <a:gd name="connsiteY17" fmla="*/ 102826 h 120523"/>
                  <a:gd name="connsiteX18" fmla="*/ 107898 w 127990"/>
                  <a:gd name="connsiteY18" fmla="*/ 59723 h 120523"/>
                  <a:gd name="connsiteX19" fmla="*/ 63014 w 127990"/>
                  <a:gd name="connsiteY19" fmla="*/ 16621 h 12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990" h="120523">
                    <a:moveTo>
                      <a:pt x="63014" y="119985"/>
                    </a:moveTo>
                    <a:cubicBezTo>
                      <a:pt x="27671" y="119985"/>
                      <a:pt x="-981" y="92937"/>
                      <a:pt x="-981" y="59723"/>
                    </a:cubicBezTo>
                    <a:cubicBezTo>
                      <a:pt x="-981" y="26509"/>
                      <a:pt x="27758" y="-539"/>
                      <a:pt x="63014" y="-539"/>
                    </a:cubicBezTo>
                    <a:cubicBezTo>
                      <a:pt x="98270" y="-539"/>
                      <a:pt x="127010" y="26480"/>
                      <a:pt x="127010" y="59723"/>
                    </a:cubicBezTo>
                    <a:cubicBezTo>
                      <a:pt x="127010" y="92966"/>
                      <a:pt x="98328" y="119985"/>
                      <a:pt x="63014" y="119985"/>
                    </a:cubicBezTo>
                    <a:close/>
                    <a:moveTo>
                      <a:pt x="63014" y="2980"/>
                    </a:moveTo>
                    <a:cubicBezTo>
                      <a:pt x="29620" y="2980"/>
                      <a:pt x="2451" y="28429"/>
                      <a:pt x="2451" y="59723"/>
                    </a:cubicBezTo>
                    <a:cubicBezTo>
                      <a:pt x="2451" y="91018"/>
                      <a:pt x="29620" y="116466"/>
                      <a:pt x="63014" y="116466"/>
                    </a:cubicBezTo>
                    <a:cubicBezTo>
                      <a:pt x="96408" y="116466"/>
                      <a:pt x="123548" y="91018"/>
                      <a:pt x="123548" y="59723"/>
                    </a:cubicBezTo>
                    <a:cubicBezTo>
                      <a:pt x="123548" y="28429"/>
                      <a:pt x="96379" y="3068"/>
                      <a:pt x="63014" y="3068"/>
                    </a:cubicBezTo>
                    <a:close/>
                    <a:moveTo>
                      <a:pt x="63014" y="106345"/>
                    </a:moveTo>
                    <a:cubicBezTo>
                      <a:pt x="36311" y="106345"/>
                      <a:pt x="14581" y="85434"/>
                      <a:pt x="14581" y="59811"/>
                    </a:cubicBezTo>
                    <a:cubicBezTo>
                      <a:pt x="14581" y="34188"/>
                      <a:pt x="36311" y="13276"/>
                      <a:pt x="63014" y="13276"/>
                    </a:cubicBezTo>
                    <a:cubicBezTo>
                      <a:pt x="89718" y="13276"/>
                      <a:pt x="111418" y="34188"/>
                      <a:pt x="111418" y="59811"/>
                    </a:cubicBezTo>
                    <a:cubicBezTo>
                      <a:pt x="111418" y="85434"/>
                      <a:pt x="89689" y="106345"/>
                      <a:pt x="63014" y="106345"/>
                    </a:cubicBezTo>
                    <a:close/>
                    <a:moveTo>
                      <a:pt x="63014" y="16621"/>
                    </a:moveTo>
                    <a:cubicBezTo>
                      <a:pt x="38230" y="16621"/>
                      <a:pt x="18101" y="35962"/>
                      <a:pt x="18101" y="59723"/>
                    </a:cubicBezTo>
                    <a:cubicBezTo>
                      <a:pt x="18101" y="83485"/>
                      <a:pt x="38230" y="102826"/>
                      <a:pt x="63014" y="102826"/>
                    </a:cubicBezTo>
                    <a:cubicBezTo>
                      <a:pt x="87798" y="102826"/>
                      <a:pt x="107898" y="83485"/>
                      <a:pt x="107898" y="59723"/>
                    </a:cubicBezTo>
                    <a:cubicBezTo>
                      <a:pt x="107898" y="35962"/>
                      <a:pt x="87769" y="16621"/>
                      <a:pt x="63014" y="16621"/>
                    </a:cubicBezTo>
                    <a:close/>
                  </a:path>
                </a:pathLst>
              </a:custGeom>
              <a:solidFill>
                <a:srgbClr val="B3B3B3"/>
              </a:solidFill>
              <a:ln w="2907" cap="flat">
                <a:noFill/>
                <a:prstDash val="solid"/>
                <a:miter/>
              </a:ln>
            </p:spPr>
            <p:txBody>
              <a:bodyPr rtlCol="0" anchor="ctr"/>
              <a:lstStyle/>
              <a:p>
                <a:endParaRPr lang="en-US" sz="800"/>
              </a:p>
            </p:txBody>
          </p:sp>
          <p:sp>
            <p:nvSpPr>
              <p:cNvPr id="1268" name="Graphic 38">
                <a:extLst>
                  <a:ext uri="{FF2B5EF4-FFF2-40B4-BE49-F238E27FC236}">
                    <a16:creationId xmlns:a16="http://schemas.microsoft.com/office/drawing/2014/main" id="{B38BF023-3499-38CC-A9D5-7C36AF82C7D3}"/>
                  </a:ext>
                </a:extLst>
              </p:cNvPr>
              <p:cNvSpPr/>
              <p:nvPr/>
            </p:nvSpPr>
            <p:spPr>
              <a:xfrm>
                <a:off x="12906203" y="310917"/>
                <a:ext cx="108967" cy="103364"/>
              </a:xfrm>
              <a:custGeom>
                <a:avLst/>
                <a:gdLst>
                  <a:gd name="connsiteX0" fmla="*/ 107986 w 108967"/>
                  <a:gd name="connsiteY0" fmla="*/ 51143 h 103364"/>
                  <a:gd name="connsiteX1" fmla="*/ 53502 w 108967"/>
                  <a:gd name="connsiteY1" fmla="*/ 102826 h 103364"/>
                  <a:gd name="connsiteX2" fmla="*/ -981 w 108967"/>
                  <a:gd name="connsiteY2" fmla="*/ 51143 h 103364"/>
                  <a:gd name="connsiteX3" fmla="*/ 53502 w 108967"/>
                  <a:gd name="connsiteY3" fmla="*/ -539 h 103364"/>
                  <a:gd name="connsiteX4" fmla="*/ 107986 w 108967"/>
                  <a:gd name="connsiteY4" fmla="*/ 51143 h 103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967" h="103364">
                    <a:moveTo>
                      <a:pt x="107986" y="51143"/>
                    </a:moveTo>
                    <a:cubicBezTo>
                      <a:pt x="107986" y="79675"/>
                      <a:pt x="83580" y="102826"/>
                      <a:pt x="53502" y="102826"/>
                    </a:cubicBezTo>
                    <a:cubicBezTo>
                      <a:pt x="23424" y="102826"/>
                      <a:pt x="-981" y="79559"/>
                      <a:pt x="-981" y="51143"/>
                    </a:cubicBezTo>
                    <a:cubicBezTo>
                      <a:pt x="-981" y="22729"/>
                      <a:pt x="23395" y="-539"/>
                      <a:pt x="53502" y="-539"/>
                    </a:cubicBezTo>
                    <a:cubicBezTo>
                      <a:pt x="83609" y="-539"/>
                      <a:pt x="107986" y="22583"/>
                      <a:pt x="107986" y="51143"/>
                    </a:cubicBezTo>
                    <a:close/>
                  </a:path>
                </a:pathLst>
              </a:custGeom>
              <a:solidFill>
                <a:srgbClr val="B3B3B3"/>
              </a:solidFill>
              <a:ln w="2907" cap="flat">
                <a:noFill/>
                <a:prstDash val="solid"/>
                <a:miter/>
              </a:ln>
            </p:spPr>
            <p:txBody>
              <a:bodyPr rtlCol="0" anchor="ctr"/>
              <a:lstStyle/>
              <a:p>
                <a:endParaRPr lang="en-US" sz="800"/>
              </a:p>
            </p:txBody>
          </p:sp>
          <p:sp>
            <p:nvSpPr>
              <p:cNvPr id="1269" name="Graphic 38">
                <a:extLst>
                  <a:ext uri="{FF2B5EF4-FFF2-40B4-BE49-F238E27FC236}">
                    <a16:creationId xmlns:a16="http://schemas.microsoft.com/office/drawing/2014/main" id="{A23B8C13-FCD1-E090-7CBA-A6359D53D4B6}"/>
                  </a:ext>
                </a:extLst>
              </p:cNvPr>
              <p:cNvSpPr/>
              <p:nvPr/>
            </p:nvSpPr>
            <p:spPr>
              <a:xfrm>
                <a:off x="12904574" y="309143"/>
                <a:ext cx="112515" cy="106883"/>
              </a:xfrm>
              <a:custGeom>
                <a:avLst/>
                <a:gdLst>
                  <a:gd name="connsiteX0" fmla="*/ 55276 w 112515"/>
                  <a:gd name="connsiteY0" fmla="*/ 106345 h 106883"/>
                  <a:gd name="connsiteX1" fmla="*/ -981 w 112515"/>
                  <a:gd name="connsiteY1" fmla="*/ 52918 h 106883"/>
                  <a:gd name="connsiteX2" fmla="*/ 55276 w 112515"/>
                  <a:gd name="connsiteY2" fmla="*/ -539 h 106883"/>
                  <a:gd name="connsiteX3" fmla="*/ 111534 w 112515"/>
                  <a:gd name="connsiteY3" fmla="*/ 52918 h 106883"/>
                  <a:gd name="connsiteX4" fmla="*/ 55276 w 112515"/>
                  <a:gd name="connsiteY4" fmla="*/ 106345 h 106883"/>
                  <a:gd name="connsiteX5" fmla="*/ 55276 w 112515"/>
                  <a:gd name="connsiteY5" fmla="*/ 2981 h 106883"/>
                  <a:gd name="connsiteX6" fmla="*/ 2538 w 112515"/>
                  <a:gd name="connsiteY6" fmla="*/ 52918 h 106883"/>
                  <a:gd name="connsiteX7" fmla="*/ 55276 w 112515"/>
                  <a:gd name="connsiteY7" fmla="*/ 102826 h 106883"/>
                  <a:gd name="connsiteX8" fmla="*/ 107985 w 112515"/>
                  <a:gd name="connsiteY8" fmla="*/ 52918 h 106883"/>
                  <a:gd name="connsiteX9" fmla="*/ 55276 w 112515"/>
                  <a:gd name="connsiteY9" fmla="*/ 2981 h 10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15" h="106883">
                    <a:moveTo>
                      <a:pt x="55276" y="106345"/>
                    </a:moveTo>
                    <a:cubicBezTo>
                      <a:pt x="24268" y="106345"/>
                      <a:pt x="-981" y="82380"/>
                      <a:pt x="-981" y="52918"/>
                    </a:cubicBezTo>
                    <a:cubicBezTo>
                      <a:pt x="-981" y="23456"/>
                      <a:pt x="24268" y="-539"/>
                      <a:pt x="55276" y="-539"/>
                    </a:cubicBezTo>
                    <a:cubicBezTo>
                      <a:pt x="86285" y="-539"/>
                      <a:pt x="111534" y="23456"/>
                      <a:pt x="111534" y="52918"/>
                    </a:cubicBezTo>
                    <a:cubicBezTo>
                      <a:pt x="111534" y="82380"/>
                      <a:pt x="86140" y="106345"/>
                      <a:pt x="55276" y="106345"/>
                    </a:cubicBezTo>
                    <a:close/>
                    <a:moveTo>
                      <a:pt x="55276" y="2981"/>
                    </a:moveTo>
                    <a:cubicBezTo>
                      <a:pt x="26188" y="2981"/>
                      <a:pt x="2538" y="25375"/>
                      <a:pt x="2538" y="52918"/>
                    </a:cubicBezTo>
                    <a:cubicBezTo>
                      <a:pt x="2538" y="80460"/>
                      <a:pt x="26188" y="102826"/>
                      <a:pt x="55276" y="102826"/>
                    </a:cubicBezTo>
                    <a:cubicBezTo>
                      <a:pt x="84365" y="102826"/>
                      <a:pt x="107985" y="80431"/>
                      <a:pt x="107985" y="52918"/>
                    </a:cubicBezTo>
                    <a:cubicBezTo>
                      <a:pt x="107985" y="25404"/>
                      <a:pt x="84190" y="2981"/>
                      <a:pt x="55276" y="2981"/>
                    </a:cubicBezTo>
                    <a:close/>
                  </a:path>
                </a:pathLst>
              </a:custGeom>
              <a:solidFill>
                <a:srgbClr val="B3B3B3"/>
              </a:solidFill>
              <a:ln w="2907" cap="flat">
                <a:noFill/>
                <a:prstDash val="solid"/>
                <a:miter/>
              </a:ln>
            </p:spPr>
            <p:txBody>
              <a:bodyPr rtlCol="0" anchor="ctr"/>
              <a:lstStyle/>
              <a:p>
                <a:endParaRPr lang="en-US" sz="800"/>
              </a:p>
            </p:txBody>
          </p:sp>
          <p:sp>
            <p:nvSpPr>
              <p:cNvPr id="1270" name="Graphic 38">
                <a:extLst>
                  <a:ext uri="{FF2B5EF4-FFF2-40B4-BE49-F238E27FC236}">
                    <a16:creationId xmlns:a16="http://schemas.microsoft.com/office/drawing/2014/main" id="{BE278104-F7ED-CE6F-68B8-F4D0E58DAA3F}"/>
                  </a:ext>
                </a:extLst>
              </p:cNvPr>
              <p:cNvSpPr/>
              <p:nvPr/>
            </p:nvSpPr>
            <p:spPr>
              <a:xfrm>
                <a:off x="12902945" y="307688"/>
                <a:ext cx="115773" cy="109821"/>
              </a:xfrm>
              <a:custGeom>
                <a:avLst/>
                <a:gdLst>
                  <a:gd name="connsiteX0" fmla="*/ 56906 w 115773"/>
                  <a:gd name="connsiteY0" fmla="*/ 109282 h 109821"/>
                  <a:gd name="connsiteX1" fmla="*/ -981 w 115773"/>
                  <a:gd name="connsiteY1" fmla="*/ 54372 h 109821"/>
                  <a:gd name="connsiteX2" fmla="*/ 56906 w 115773"/>
                  <a:gd name="connsiteY2" fmla="*/ -539 h 109821"/>
                  <a:gd name="connsiteX3" fmla="*/ 114792 w 115773"/>
                  <a:gd name="connsiteY3" fmla="*/ 54372 h 109821"/>
                  <a:gd name="connsiteX4" fmla="*/ 56906 w 115773"/>
                  <a:gd name="connsiteY4" fmla="*/ 109282 h 109821"/>
                  <a:gd name="connsiteX5" fmla="*/ 56906 w 115773"/>
                  <a:gd name="connsiteY5" fmla="*/ 5918 h 109821"/>
                  <a:gd name="connsiteX6" fmla="*/ 5825 w 115773"/>
                  <a:gd name="connsiteY6" fmla="*/ 54372 h 109821"/>
                  <a:gd name="connsiteX7" fmla="*/ 56906 w 115773"/>
                  <a:gd name="connsiteY7" fmla="*/ 102826 h 109821"/>
                  <a:gd name="connsiteX8" fmla="*/ 107986 w 115773"/>
                  <a:gd name="connsiteY8" fmla="*/ 54372 h 109821"/>
                  <a:gd name="connsiteX9" fmla="*/ 56906 w 115773"/>
                  <a:gd name="connsiteY9" fmla="*/ 5918 h 10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773" h="109821">
                    <a:moveTo>
                      <a:pt x="56906" y="109282"/>
                    </a:moveTo>
                    <a:cubicBezTo>
                      <a:pt x="24908" y="109282"/>
                      <a:pt x="-981" y="84648"/>
                      <a:pt x="-981" y="54372"/>
                    </a:cubicBezTo>
                    <a:cubicBezTo>
                      <a:pt x="-981" y="24096"/>
                      <a:pt x="24908" y="-539"/>
                      <a:pt x="56906" y="-539"/>
                    </a:cubicBezTo>
                    <a:cubicBezTo>
                      <a:pt x="88903" y="-539"/>
                      <a:pt x="114792" y="24096"/>
                      <a:pt x="114792" y="54372"/>
                    </a:cubicBezTo>
                    <a:cubicBezTo>
                      <a:pt x="114792" y="84648"/>
                      <a:pt x="88671" y="109282"/>
                      <a:pt x="56906" y="109282"/>
                    </a:cubicBezTo>
                    <a:close/>
                    <a:moveTo>
                      <a:pt x="56906" y="5918"/>
                    </a:moveTo>
                    <a:cubicBezTo>
                      <a:pt x="28747" y="5918"/>
                      <a:pt x="5825" y="27644"/>
                      <a:pt x="5825" y="54372"/>
                    </a:cubicBezTo>
                    <a:cubicBezTo>
                      <a:pt x="5825" y="81100"/>
                      <a:pt x="28747" y="102826"/>
                      <a:pt x="56906" y="102826"/>
                    </a:cubicBezTo>
                    <a:cubicBezTo>
                      <a:pt x="85064" y="102826"/>
                      <a:pt x="107986" y="81071"/>
                      <a:pt x="107986" y="54372"/>
                    </a:cubicBezTo>
                    <a:cubicBezTo>
                      <a:pt x="107986" y="27673"/>
                      <a:pt x="84918" y="5918"/>
                      <a:pt x="56906" y="5918"/>
                    </a:cubicBezTo>
                    <a:close/>
                  </a:path>
                </a:pathLst>
              </a:custGeom>
              <a:solidFill>
                <a:srgbClr val="B3B3B3"/>
              </a:solidFill>
              <a:ln w="2907" cap="flat">
                <a:noFill/>
                <a:prstDash val="solid"/>
                <a:miter/>
              </a:ln>
            </p:spPr>
            <p:txBody>
              <a:bodyPr rtlCol="0" anchor="ctr"/>
              <a:lstStyle/>
              <a:p>
                <a:endParaRPr lang="en-US" sz="800"/>
              </a:p>
            </p:txBody>
          </p:sp>
          <p:sp>
            <p:nvSpPr>
              <p:cNvPr id="1271" name="Graphic 38">
                <a:extLst>
                  <a:ext uri="{FF2B5EF4-FFF2-40B4-BE49-F238E27FC236}">
                    <a16:creationId xmlns:a16="http://schemas.microsoft.com/office/drawing/2014/main" id="{6FF447F3-0ED4-6963-440D-D9AEA8A1C8C5}"/>
                  </a:ext>
                </a:extLst>
              </p:cNvPr>
              <p:cNvSpPr/>
              <p:nvPr/>
            </p:nvSpPr>
            <p:spPr>
              <a:xfrm>
                <a:off x="12901170" y="305943"/>
                <a:ext cx="119322" cy="113427"/>
              </a:xfrm>
              <a:custGeom>
                <a:avLst/>
                <a:gdLst>
                  <a:gd name="connsiteX0" fmla="*/ 58680 w 119322"/>
                  <a:gd name="connsiteY0" fmla="*/ 112889 h 113427"/>
                  <a:gd name="connsiteX1" fmla="*/ -981 w 119322"/>
                  <a:gd name="connsiteY1" fmla="*/ 56233 h 113427"/>
                  <a:gd name="connsiteX2" fmla="*/ 58680 w 119322"/>
                  <a:gd name="connsiteY2" fmla="*/ -539 h 113427"/>
                  <a:gd name="connsiteX3" fmla="*/ 118341 w 119322"/>
                  <a:gd name="connsiteY3" fmla="*/ 56146 h 113427"/>
                  <a:gd name="connsiteX4" fmla="*/ 58680 w 119322"/>
                  <a:gd name="connsiteY4" fmla="*/ 112889 h 113427"/>
                  <a:gd name="connsiteX5" fmla="*/ 58680 w 119322"/>
                  <a:gd name="connsiteY5" fmla="*/ 3068 h 113427"/>
                  <a:gd name="connsiteX6" fmla="*/ 2538 w 119322"/>
                  <a:gd name="connsiteY6" fmla="*/ 56233 h 113427"/>
                  <a:gd name="connsiteX7" fmla="*/ 58680 w 119322"/>
                  <a:gd name="connsiteY7" fmla="*/ 109370 h 113427"/>
                  <a:gd name="connsiteX8" fmla="*/ 114821 w 119322"/>
                  <a:gd name="connsiteY8" fmla="*/ 56233 h 113427"/>
                  <a:gd name="connsiteX9" fmla="*/ 58680 w 119322"/>
                  <a:gd name="connsiteY9" fmla="*/ 2951 h 113427"/>
                  <a:gd name="connsiteX10" fmla="*/ 58680 w 119322"/>
                  <a:gd name="connsiteY10" fmla="*/ 106432 h 113427"/>
                  <a:gd name="connsiteX11" fmla="*/ 5825 w 119322"/>
                  <a:gd name="connsiteY11" fmla="*/ 56233 h 113427"/>
                  <a:gd name="connsiteX12" fmla="*/ 58680 w 119322"/>
                  <a:gd name="connsiteY12" fmla="*/ 6005 h 113427"/>
                  <a:gd name="connsiteX13" fmla="*/ 111505 w 119322"/>
                  <a:gd name="connsiteY13" fmla="*/ 56233 h 113427"/>
                  <a:gd name="connsiteX14" fmla="*/ 58680 w 119322"/>
                  <a:gd name="connsiteY14" fmla="*/ 106316 h 113427"/>
                  <a:gd name="connsiteX15" fmla="*/ 58680 w 119322"/>
                  <a:gd name="connsiteY15" fmla="*/ 9553 h 113427"/>
                  <a:gd name="connsiteX16" fmla="*/ 9229 w 119322"/>
                  <a:gd name="connsiteY16" fmla="*/ 56233 h 113427"/>
                  <a:gd name="connsiteX17" fmla="*/ 58680 w 119322"/>
                  <a:gd name="connsiteY17" fmla="*/ 102768 h 113427"/>
                  <a:gd name="connsiteX18" fmla="*/ 108131 w 119322"/>
                  <a:gd name="connsiteY18" fmla="*/ 56233 h 113427"/>
                  <a:gd name="connsiteX19" fmla="*/ 58680 w 119322"/>
                  <a:gd name="connsiteY19" fmla="*/ 9437 h 11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9322" h="113427">
                    <a:moveTo>
                      <a:pt x="58680" y="112889"/>
                    </a:moveTo>
                    <a:cubicBezTo>
                      <a:pt x="25780" y="112889"/>
                      <a:pt x="-981" y="87469"/>
                      <a:pt x="-981" y="56233"/>
                    </a:cubicBezTo>
                    <a:cubicBezTo>
                      <a:pt x="-981" y="24997"/>
                      <a:pt x="25635" y="-539"/>
                      <a:pt x="58680" y="-539"/>
                    </a:cubicBezTo>
                    <a:cubicBezTo>
                      <a:pt x="91725" y="-539"/>
                      <a:pt x="118341" y="24881"/>
                      <a:pt x="118341" y="56146"/>
                    </a:cubicBezTo>
                    <a:cubicBezTo>
                      <a:pt x="118341" y="87411"/>
                      <a:pt x="91434" y="112889"/>
                      <a:pt x="58680" y="112889"/>
                    </a:cubicBezTo>
                    <a:close/>
                    <a:moveTo>
                      <a:pt x="58680" y="3068"/>
                    </a:moveTo>
                    <a:cubicBezTo>
                      <a:pt x="27729" y="3068"/>
                      <a:pt x="2538" y="26917"/>
                      <a:pt x="2538" y="56233"/>
                    </a:cubicBezTo>
                    <a:cubicBezTo>
                      <a:pt x="2538" y="85550"/>
                      <a:pt x="27729" y="109370"/>
                      <a:pt x="58680" y="109370"/>
                    </a:cubicBezTo>
                    <a:cubicBezTo>
                      <a:pt x="89630" y="109370"/>
                      <a:pt x="114821" y="85550"/>
                      <a:pt x="114821" y="56233"/>
                    </a:cubicBezTo>
                    <a:cubicBezTo>
                      <a:pt x="114821" y="26917"/>
                      <a:pt x="89485" y="2951"/>
                      <a:pt x="58680" y="2951"/>
                    </a:cubicBezTo>
                    <a:close/>
                    <a:moveTo>
                      <a:pt x="58680" y="106432"/>
                    </a:moveTo>
                    <a:cubicBezTo>
                      <a:pt x="29591" y="106432"/>
                      <a:pt x="5825" y="83921"/>
                      <a:pt x="5825" y="56233"/>
                    </a:cubicBezTo>
                    <a:cubicBezTo>
                      <a:pt x="5825" y="28545"/>
                      <a:pt x="29533" y="6005"/>
                      <a:pt x="58680" y="6005"/>
                    </a:cubicBezTo>
                    <a:cubicBezTo>
                      <a:pt x="87827" y="6005"/>
                      <a:pt x="111505" y="28545"/>
                      <a:pt x="111505" y="56233"/>
                    </a:cubicBezTo>
                    <a:cubicBezTo>
                      <a:pt x="111505" y="83921"/>
                      <a:pt x="87769" y="106316"/>
                      <a:pt x="58680" y="106316"/>
                    </a:cubicBezTo>
                    <a:close/>
                    <a:moveTo>
                      <a:pt x="58680" y="9553"/>
                    </a:moveTo>
                    <a:cubicBezTo>
                      <a:pt x="31482" y="9553"/>
                      <a:pt x="9229" y="30494"/>
                      <a:pt x="9229" y="56233"/>
                    </a:cubicBezTo>
                    <a:cubicBezTo>
                      <a:pt x="9229" y="81973"/>
                      <a:pt x="31365" y="102768"/>
                      <a:pt x="58680" y="102768"/>
                    </a:cubicBezTo>
                    <a:cubicBezTo>
                      <a:pt x="85994" y="102768"/>
                      <a:pt x="108131" y="81827"/>
                      <a:pt x="108131" y="56233"/>
                    </a:cubicBezTo>
                    <a:cubicBezTo>
                      <a:pt x="108131" y="30639"/>
                      <a:pt x="85733" y="9437"/>
                      <a:pt x="58680" y="9437"/>
                    </a:cubicBezTo>
                    <a:close/>
                  </a:path>
                </a:pathLst>
              </a:custGeom>
              <a:solidFill>
                <a:srgbClr val="B3B3B3"/>
              </a:solidFill>
              <a:ln w="2907" cap="flat">
                <a:noFill/>
                <a:prstDash val="solid"/>
                <a:miter/>
              </a:ln>
            </p:spPr>
            <p:txBody>
              <a:bodyPr rtlCol="0" anchor="ctr"/>
              <a:lstStyle/>
              <a:p>
                <a:endParaRPr lang="en-US" sz="800"/>
              </a:p>
            </p:txBody>
          </p:sp>
          <p:sp>
            <p:nvSpPr>
              <p:cNvPr id="1272" name="Graphic 38">
                <a:extLst>
                  <a:ext uri="{FF2B5EF4-FFF2-40B4-BE49-F238E27FC236}">
                    <a16:creationId xmlns:a16="http://schemas.microsoft.com/office/drawing/2014/main" id="{D011639F-5B4B-EB13-409C-249786B1DC44}"/>
                  </a:ext>
                </a:extLst>
              </p:cNvPr>
              <p:cNvSpPr/>
              <p:nvPr/>
            </p:nvSpPr>
            <p:spPr>
              <a:xfrm>
                <a:off x="12898523" y="304082"/>
                <a:ext cx="124616" cy="117004"/>
              </a:xfrm>
              <a:custGeom>
                <a:avLst/>
                <a:gdLst>
                  <a:gd name="connsiteX0" fmla="*/ 61327 w 124616"/>
                  <a:gd name="connsiteY0" fmla="*/ 116466 h 117004"/>
                  <a:gd name="connsiteX1" fmla="*/ -981 w 124616"/>
                  <a:gd name="connsiteY1" fmla="*/ 57978 h 117004"/>
                  <a:gd name="connsiteX2" fmla="*/ 61327 w 124616"/>
                  <a:gd name="connsiteY2" fmla="*/ -539 h 117004"/>
                  <a:gd name="connsiteX3" fmla="*/ 123635 w 124616"/>
                  <a:gd name="connsiteY3" fmla="*/ 57978 h 117004"/>
                  <a:gd name="connsiteX4" fmla="*/ 61327 w 124616"/>
                  <a:gd name="connsiteY4" fmla="*/ 116466 h 117004"/>
                  <a:gd name="connsiteX5" fmla="*/ 61327 w 124616"/>
                  <a:gd name="connsiteY5" fmla="*/ 13102 h 117004"/>
                  <a:gd name="connsiteX6" fmla="*/ 14785 w 124616"/>
                  <a:gd name="connsiteY6" fmla="*/ 57978 h 117004"/>
                  <a:gd name="connsiteX7" fmla="*/ 61327 w 124616"/>
                  <a:gd name="connsiteY7" fmla="*/ 102826 h 117004"/>
                  <a:gd name="connsiteX8" fmla="*/ 107869 w 124616"/>
                  <a:gd name="connsiteY8" fmla="*/ 57978 h 117004"/>
                  <a:gd name="connsiteX9" fmla="*/ 61327 w 124616"/>
                  <a:gd name="connsiteY9" fmla="*/ 13102 h 11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616" h="117004">
                    <a:moveTo>
                      <a:pt x="61327" y="116466"/>
                    </a:moveTo>
                    <a:cubicBezTo>
                      <a:pt x="26973" y="116466"/>
                      <a:pt x="-981" y="90291"/>
                      <a:pt x="-981" y="57978"/>
                    </a:cubicBezTo>
                    <a:cubicBezTo>
                      <a:pt x="-981" y="25666"/>
                      <a:pt x="26973" y="-539"/>
                      <a:pt x="61327" y="-539"/>
                    </a:cubicBezTo>
                    <a:cubicBezTo>
                      <a:pt x="95681" y="-539"/>
                      <a:pt x="123635" y="25637"/>
                      <a:pt x="123635" y="57978"/>
                    </a:cubicBezTo>
                    <a:cubicBezTo>
                      <a:pt x="123635" y="90320"/>
                      <a:pt x="95536" y="116466"/>
                      <a:pt x="61327" y="116466"/>
                    </a:cubicBezTo>
                    <a:close/>
                    <a:moveTo>
                      <a:pt x="61327" y="13102"/>
                    </a:moveTo>
                    <a:cubicBezTo>
                      <a:pt x="35584" y="13102"/>
                      <a:pt x="14785" y="33228"/>
                      <a:pt x="14785" y="57978"/>
                    </a:cubicBezTo>
                    <a:cubicBezTo>
                      <a:pt x="14785" y="82729"/>
                      <a:pt x="35700" y="102826"/>
                      <a:pt x="61327" y="102826"/>
                    </a:cubicBezTo>
                    <a:cubicBezTo>
                      <a:pt x="86954" y="102826"/>
                      <a:pt x="107869" y="82700"/>
                      <a:pt x="107869" y="57978"/>
                    </a:cubicBezTo>
                    <a:cubicBezTo>
                      <a:pt x="107869" y="33257"/>
                      <a:pt x="86896" y="13102"/>
                      <a:pt x="61327" y="13102"/>
                    </a:cubicBezTo>
                    <a:close/>
                  </a:path>
                </a:pathLst>
              </a:custGeom>
              <a:solidFill>
                <a:srgbClr val="B3B3B3"/>
              </a:solidFill>
              <a:ln w="2907" cap="flat">
                <a:noFill/>
                <a:prstDash val="solid"/>
                <a:miter/>
              </a:ln>
            </p:spPr>
            <p:txBody>
              <a:bodyPr rtlCol="0" anchor="ctr"/>
              <a:lstStyle/>
              <a:p>
                <a:endParaRPr lang="en-US" sz="800"/>
              </a:p>
            </p:txBody>
          </p:sp>
          <p:sp>
            <p:nvSpPr>
              <p:cNvPr id="1273" name="Graphic 38">
                <a:extLst>
                  <a:ext uri="{FF2B5EF4-FFF2-40B4-BE49-F238E27FC236}">
                    <a16:creationId xmlns:a16="http://schemas.microsoft.com/office/drawing/2014/main" id="{20A8ABF4-6D7E-0F94-2D9A-03A91C2EE1C0}"/>
                  </a:ext>
                </a:extLst>
              </p:cNvPr>
              <p:cNvSpPr/>
              <p:nvPr/>
            </p:nvSpPr>
            <p:spPr>
              <a:xfrm>
                <a:off x="12896836" y="302337"/>
                <a:ext cx="127990" cy="120523"/>
              </a:xfrm>
              <a:custGeom>
                <a:avLst/>
                <a:gdLst>
                  <a:gd name="connsiteX0" fmla="*/ 63014 w 127990"/>
                  <a:gd name="connsiteY0" fmla="*/ 119985 h 120523"/>
                  <a:gd name="connsiteX1" fmla="*/ -981 w 127990"/>
                  <a:gd name="connsiteY1" fmla="*/ 59723 h 120523"/>
                  <a:gd name="connsiteX2" fmla="*/ 63014 w 127990"/>
                  <a:gd name="connsiteY2" fmla="*/ -539 h 120523"/>
                  <a:gd name="connsiteX3" fmla="*/ 127010 w 127990"/>
                  <a:gd name="connsiteY3" fmla="*/ 59723 h 120523"/>
                  <a:gd name="connsiteX4" fmla="*/ 63014 w 127990"/>
                  <a:gd name="connsiteY4" fmla="*/ 119985 h 120523"/>
                  <a:gd name="connsiteX5" fmla="*/ 63014 w 127990"/>
                  <a:gd name="connsiteY5" fmla="*/ 2980 h 120523"/>
                  <a:gd name="connsiteX6" fmla="*/ 2451 w 127990"/>
                  <a:gd name="connsiteY6" fmla="*/ 59723 h 120523"/>
                  <a:gd name="connsiteX7" fmla="*/ 63014 w 127990"/>
                  <a:gd name="connsiteY7" fmla="*/ 116495 h 120523"/>
                  <a:gd name="connsiteX8" fmla="*/ 123577 w 127990"/>
                  <a:gd name="connsiteY8" fmla="*/ 59752 h 120523"/>
                  <a:gd name="connsiteX9" fmla="*/ 63014 w 127990"/>
                  <a:gd name="connsiteY9" fmla="*/ 3068 h 120523"/>
                  <a:gd name="connsiteX10" fmla="*/ 63014 w 127990"/>
                  <a:gd name="connsiteY10" fmla="*/ 106345 h 120523"/>
                  <a:gd name="connsiteX11" fmla="*/ 14581 w 127990"/>
                  <a:gd name="connsiteY11" fmla="*/ 59811 h 120523"/>
                  <a:gd name="connsiteX12" fmla="*/ 63014 w 127990"/>
                  <a:gd name="connsiteY12" fmla="*/ 13276 h 120523"/>
                  <a:gd name="connsiteX13" fmla="*/ 111447 w 127990"/>
                  <a:gd name="connsiteY13" fmla="*/ 59811 h 120523"/>
                  <a:gd name="connsiteX14" fmla="*/ 63014 w 127990"/>
                  <a:gd name="connsiteY14" fmla="*/ 106345 h 120523"/>
                  <a:gd name="connsiteX15" fmla="*/ 63014 w 127990"/>
                  <a:gd name="connsiteY15" fmla="*/ 16621 h 120523"/>
                  <a:gd name="connsiteX16" fmla="*/ 18101 w 127990"/>
                  <a:gd name="connsiteY16" fmla="*/ 59723 h 120523"/>
                  <a:gd name="connsiteX17" fmla="*/ 63014 w 127990"/>
                  <a:gd name="connsiteY17" fmla="*/ 102826 h 120523"/>
                  <a:gd name="connsiteX18" fmla="*/ 107927 w 127990"/>
                  <a:gd name="connsiteY18" fmla="*/ 59723 h 120523"/>
                  <a:gd name="connsiteX19" fmla="*/ 63014 w 127990"/>
                  <a:gd name="connsiteY19" fmla="*/ 16621 h 12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990" h="120523">
                    <a:moveTo>
                      <a:pt x="63014" y="119985"/>
                    </a:moveTo>
                    <a:cubicBezTo>
                      <a:pt x="27671" y="119985"/>
                      <a:pt x="-981" y="92937"/>
                      <a:pt x="-981" y="59723"/>
                    </a:cubicBezTo>
                    <a:cubicBezTo>
                      <a:pt x="-981" y="26509"/>
                      <a:pt x="27758" y="-539"/>
                      <a:pt x="63014" y="-539"/>
                    </a:cubicBezTo>
                    <a:cubicBezTo>
                      <a:pt x="98270" y="-539"/>
                      <a:pt x="127010" y="26480"/>
                      <a:pt x="127010" y="59723"/>
                    </a:cubicBezTo>
                    <a:cubicBezTo>
                      <a:pt x="127010" y="92966"/>
                      <a:pt x="98182" y="119985"/>
                      <a:pt x="63014" y="119985"/>
                    </a:cubicBezTo>
                    <a:close/>
                    <a:moveTo>
                      <a:pt x="63014" y="2980"/>
                    </a:moveTo>
                    <a:cubicBezTo>
                      <a:pt x="29620" y="2980"/>
                      <a:pt x="2451" y="28429"/>
                      <a:pt x="2451" y="59723"/>
                    </a:cubicBezTo>
                    <a:cubicBezTo>
                      <a:pt x="2451" y="91018"/>
                      <a:pt x="29475" y="116495"/>
                      <a:pt x="63014" y="116495"/>
                    </a:cubicBezTo>
                    <a:cubicBezTo>
                      <a:pt x="96554" y="116495"/>
                      <a:pt x="123577" y="91047"/>
                      <a:pt x="123577" y="59752"/>
                    </a:cubicBezTo>
                    <a:cubicBezTo>
                      <a:pt x="123577" y="28458"/>
                      <a:pt x="96263" y="3068"/>
                      <a:pt x="63014" y="3068"/>
                    </a:cubicBezTo>
                    <a:close/>
                    <a:moveTo>
                      <a:pt x="63014" y="106345"/>
                    </a:moveTo>
                    <a:cubicBezTo>
                      <a:pt x="36310" y="106345"/>
                      <a:pt x="14581" y="85434"/>
                      <a:pt x="14581" y="59811"/>
                    </a:cubicBezTo>
                    <a:cubicBezTo>
                      <a:pt x="14581" y="34188"/>
                      <a:pt x="36310" y="13276"/>
                      <a:pt x="63014" y="13276"/>
                    </a:cubicBezTo>
                    <a:cubicBezTo>
                      <a:pt x="89718" y="13276"/>
                      <a:pt x="111447" y="34188"/>
                      <a:pt x="111447" y="59811"/>
                    </a:cubicBezTo>
                    <a:cubicBezTo>
                      <a:pt x="111447" y="85434"/>
                      <a:pt x="89572" y="106345"/>
                      <a:pt x="63014" y="106345"/>
                    </a:cubicBezTo>
                    <a:close/>
                    <a:moveTo>
                      <a:pt x="63014" y="16621"/>
                    </a:moveTo>
                    <a:cubicBezTo>
                      <a:pt x="38259" y="16621"/>
                      <a:pt x="18101" y="35962"/>
                      <a:pt x="18101" y="59723"/>
                    </a:cubicBezTo>
                    <a:cubicBezTo>
                      <a:pt x="18101" y="83485"/>
                      <a:pt x="38259" y="102826"/>
                      <a:pt x="63014" y="102826"/>
                    </a:cubicBezTo>
                    <a:cubicBezTo>
                      <a:pt x="87769" y="102826"/>
                      <a:pt x="107927" y="83485"/>
                      <a:pt x="107927" y="59723"/>
                    </a:cubicBezTo>
                    <a:cubicBezTo>
                      <a:pt x="107927" y="35962"/>
                      <a:pt x="87623" y="16621"/>
                      <a:pt x="63014" y="16621"/>
                    </a:cubicBezTo>
                    <a:close/>
                  </a:path>
                </a:pathLst>
              </a:custGeom>
              <a:solidFill>
                <a:srgbClr val="B3B3B3"/>
              </a:solidFill>
              <a:ln w="2907" cap="flat">
                <a:noFill/>
                <a:prstDash val="solid"/>
                <a:miter/>
              </a:ln>
            </p:spPr>
            <p:txBody>
              <a:bodyPr rtlCol="0" anchor="ctr"/>
              <a:lstStyle/>
              <a:p>
                <a:endParaRPr lang="en-US" sz="800"/>
              </a:p>
            </p:txBody>
          </p:sp>
        </p:grpSp>
        <p:sp>
          <p:nvSpPr>
            <p:cNvPr id="6" name="Graphic 38">
              <a:extLst>
                <a:ext uri="{FF2B5EF4-FFF2-40B4-BE49-F238E27FC236}">
                  <a16:creationId xmlns:a16="http://schemas.microsoft.com/office/drawing/2014/main" id="{C30688A6-434D-5F32-FC45-3925174E7E9F}"/>
                </a:ext>
              </a:extLst>
            </p:cNvPr>
            <p:cNvSpPr/>
            <p:nvPr/>
          </p:nvSpPr>
          <p:spPr>
            <a:xfrm>
              <a:off x="6113916" y="4315840"/>
              <a:ext cx="70272" cy="105881"/>
            </a:xfrm>
            <a:custGeom>
              <a:avLst/>
              <a:gdLst>
                <a:gd name="connsiteX0" fmla="*/ 156604 w 216636"/>
                <a:gd name="connsiteY0" fmla="*/ 325876 h 326414"/>
                <a:gd name="connsiteX1" fmla="*/ 76756 w 216636"/>
                <a:gd name="connsiteY1" fmla="*/ 297431 h 326414"/>
                <a:gd name="connsiteX2" fmla="*/ 80246 w 216636"/>
                <a:gd name="connsiteY2" fmla="*/ 202443 h 326414"/>
                <a:gd name="connsiteX3" fmla="*/ 49063 w 216636"/>
                <a:gd name="connsiteY3" fmla="*/ 132031 h 326414"/>
                <a:gd name="connsiteX4" fmla="*/ 456 w 216636"/>
                <a:gd name="connsiteY4" fmla="*/ 86311 h 326414"/>
                <a:gd name="connsiteX5" fmla="*/ -446 w 216636"/>
                <a:gd name="connsiteY5" fmla="*/ 80872 h 326414"/>
                <a:gd name="connsiteX6" fmla="*/ 4499 w 216636"/>
                <a:gd name="connsiteY6" fmla="*/ 78575 h 326414"/>
                <a:gd name="connsiteX7" fmla="*/ 22331 w 216636"/>
                <a:gd name="connsiteY7" fmla="*/ 84130 h 326414"/>
                <a:gd name="connsiteX8" fmla="*/ 57819 w 216636"/>
                <a:gd name="connsiteY8" fmla="*/ 101580 h 326414"/>
                <a:gd name="connsiteX9" fmla="*/ 13400 w 216636"/>
                <a:gd name="connsiteY9" fmla="*/ 31779 h 326414"/>
                <a:gd name="connsiteX10" fmla="*/ 15465 w 216636"/>
                <a:gd name="connsiteY10" fmla="*/ 30732 h 326414"/>
                <a:gd name="connsiteX11" fmla="*/ 85657 w 216636"/>
                <a:gd name="connsiteY11" fmla="*/ 86398 h 326414"/>
                <a:gd name="connsiteX12" fmla="*/ 64364 w 216636"/>
                <a:gd name="connsiteY12" fmla="*/ 1822 h 326414"/>
                <a:gd name="connsiteX13" fmla="*/ 67854 w 216636"/>
                <a:gd name="connsiteY13" fmla="*/ -505 h 326414"/>
                <a:gd name="connsiteX14" fmla="*/ 118440 w 216636"/>
                <a:gd name="connsiteY14" fmla="*/ 80931 h 326414"/>
                <a:gd name="connsiteX15" fmla="*/ 126992 w 216636"/>
                <a:gd name="connsiteY15" fmla="*/ 14037 h 326414"/>
                <a:gd name="connsiteX16" fmla="*/ 131181 w 216636"/>
                <a:gd name="connsiteY16" fmla="*/ 13485 h 326414"/>
                <a:gd name="connsiteX17" fmla="*/ 157361 w 216636"/>
                <a:gd name="connsiteY17" fmla="*/ 111469 h 326414"/>
                <a:gd name="connsiteX18" fmla="*/ 214055 w 216636"/>
                <a:gd name="connsiteY18" fmla="*/ 97188 h 326414"/>
                <a:gd name="connsiteX19" fmla="*/ 215655 w 216636"/>
                <a:gd name="connsiteY19" fmla="*/ 98555 h 326414"/>
                <a:gd name="connsiteX20" fmla="*/ 172342 w 216636"/>
                <a:gd name="connsiteY20" fmla="*/ 152361 h 326414"/>
                <a:gd name="connsiteX21" fmla="*/ 149827 w 216636"/>
                <a:gd name="connsiteY21" fmla="*/ 205206 h 326414"/>
                <a:gd name="connsiteX22" fmla="*/ 81177 w 216636"/>
                <a:gd name="connsiteY22" fmla="*/ 294523 h 326414"/>
                <a:gd name="connsiteX23" fmla="*/ 151951 w 216636"/>
                <a:gd name="connsiteY23" fmla="*/ 319768 h 326414"/>
                <a:gd name="connsiteX24" fmla="*/ 145464 w 216636"/>
                <a:gd name="connsiteY24" fmla="*/ 204537 h 326414"/>
                <a:gd name="connsiteX25" fmla="*/ 168385 w 216636"/>
                <a:gd name="connsiteY25" fmla="*/ 150994 h 326414"/>
                <a:gd name="connsiteX26" fmla="*/ 209604 w 216636"/>
                <a:gd name="connsiteY26" fmla="*/ 99544 h 326414"/>
                <a:gd name="connsiteX27" fmla="*/ 157244 w 216636"/>
                <a:gd name="connsiteY27" fmla="*/ 117663 h 326414"/>
                <a:gd name="connsiteX28" fmla="*/ 154335 w 216636"/>
                <a:gd name="connsiteY28" fmla="*/ 120572 h 326414"/>
                <a:gd name="connsiteX29" fmla="*/ 153725 w 216636"/>
                <a:gd name="connsiteY29" fmla="*/ 116384 h 326414"/>
                <a:gd name="connsiteX30" fmla="*/ 129581 w 216636"/>
                <a:gd name="connsiteY30" fmla="*/ 17731 h 326414"/>
                <a:gd name="connsiteX31" fmla="*/ 122745 w 216636"/>
                <a:gd name="connsiteY31" fmla="*/ 91488 h 326414"/>
                <a:gd name="connsiteX32" fmla="*/ 122949 w 216636"/>
                <a:gd name="connsiteY32" fmla="*/ 102394 h 326414"/>
                <a:gd name="connsiteX33" fmla="*/ 118615 w 216636"/>
                <a:gd name="connsiteY33" fmla="*/ 92360 h 326414"/>
                <a:gd name="connsiteX34" fmla="*/ 68465 w 216636"/>
                <a:gd name="connsiteY34" fmla="*/ 3858 h 326414"/>
                <a:gd name="connsiteX35" fmla="*/ 92842 w 216636"/>
                <a:gd name="connsiteY35" fmla="*/ 93466 h 326414"/>
                <a:gd name="connsiteX36" fmla="*/ 96274 w 216636"/>
                <a:gd name="connsiteY36" fmla="*/ 102191 h 326414"/>
                <a:gd name="connsiteX37" fmla="*/ 89410 w 216636"/>
                <a:gd name="connsiteY37" fmla="*/ 95909 h 326414"/>
                <a:gd name="connsiteX38" fmla="*/ 17415 w 216636"/>
                <a:gd name="connsiteY38" fmla="*/ 35821 h 326414"/>
                <a:gd name="connsiteX39" fmla="*/ 66866 w 216636"/>
                <a:gd name="connsiteY39" fmla="*/ 106699 h 326414"/>
                <a:gd name="connsiteX40" fmla="*/ 72683 w 216636"/>
                <a:gd name="connsiteY40" fmla="*/ 114319 h 326414"/>
                <a:gd name="connsiteX41" fmla="*/ 64102 w 216636"/>
                <a:gd name="connsiteY41" fmla="*/ 109927 h 326414"/>
                <a:gd name="connsiteX42" fmla="*/ 20294 w 216636"/>
                <a:gd name="connsiteY42" fmla="*/ 88143 h 326414"/>
                <a:gd name="connsiteX43" fmla="*/ 3306 w 216636"/>
                <a:gd name="connsiteY43" fmla="*/ 82850 h 326414"/>
                <a:gd name="connsiteX44" fmla="*/ 1677 w 216636"/>
                <a:gd name="connsiteY44" fmla="*/ 84828 h 326414"/>
                <a:gd name="connsiteX45" fmla="*/ 3132 w 216636"/>
                <a:gd name="connsiteY45" fmla="*/ 83257 h 326414"/>
                <a:gd name="connsiteX46" fmla="*/ 52583 w 216636"/>
                <a:gd name="connsiteY46" fmla="*/ 129995 h 326414"/>
                <a:gd name="connsiteX47" fmla="*/ 84377 w 216636"/>
                <a:gd name="connsiteY47" fmla="*/ 201687 h 326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6636" h="326414">
                  <a:moveTo>
                    <a:pt x="156604" y="325876"/>
                  </a:moveTo>
                  <a:lnTo>
                    <a:pt x="76756" y="297431"/>
                  </a:lnTo>
                  <a:lnTo>
                    <a:pt x="80246" y="202443"/>
                  </a:lnTo>
                  <a:lnTo>
                    <a:pt x="49063" y="132031"/>
                  </a:lnTo>
                  <a:lnTo>
                    <a:pt x="456" y="86311"/>
                  </a:lnTo>
                  <a:cubicBezTo>
                    <a:pt x="-1057" y="84915"/>
                    <a:pt x="-1406" y="82676"/>
                    <a:pt x="-446" y="80872"/>
                  </a:cubicBezTo>
                  <a:cubicBezTo>
                    <a:pt x="485" y="79069"/>
                    <a:pt x="2521" y="78109"/>
                    <a:pt x="4499" y="78575"/>
                  </a:cubicBezTo>
                  <a:cubicBezTo>
                    <a:pt x="10608" y="79825"/>
                    <a:pt x="16571" y="81686"/>
                    <a:pt x="22331" y="84130"/>
                  </a:cubicBezTo>
                  <a:cubicBezTo>
                    <a:pt x="29748" y="87474"/>
                    <a:pt x="47260" y="96316"/>
                    <a:pt x="57819" y="101580"/>
                  </a:cubicBezTo>
                  <a:cubicBezTo>
                    <a:pt x="25269" y="59146"/>
                    <a:pt x="10316" y="35676"/>
                    <a:pt x="13400" y="31779"/>
                  </a:cubicBezTo>
                  <a:cubicBezTo>
                    <a:pt x="13923" y="31168"/>
                    <a:pt x="14651" y="30789"/>
                    <a:pt x="15465" y="30732"/>
                  </a:cubicBezTo>
                  <a:cubicBezTo>
                    <a:pt x="23174" y="30732"/>
                    <a:pt x="65120" y="67814"/>
                    <a:pt x="85657" y="86398"/>
                  </a:cubicBezTo>
                  <a:cubicBezTo>
                    <a:pt x="76930" y="63596"/>
                    <a:pt x="58342" y="11885"/>
                    <a:pt x="64364" y="1822"/>
                  </a:cubicBezTo>
                  <a:cubicBezTo>
                    <a:pt x="65091" y="542"/>
                    <a:pt x="66371" y="-330"/>
                    <a:pt x="67854" y="-505"/>
                  </a:cubicBezTo>
                  <a:cubicBezTo>
                    <a:pt x="79927" y="-2104"/>
                    <a:pt x="105961" y="52981"/>
                    <a:pt x="118440" y="80931"/>
                  </a:cubicBezTo>
                  <a:cubicBezTo>
                    <a:pt x="118440" y="59961"/>
                    <a:pt x="119342" y="19563"/>
                    <a:pt x="126992" y="14037"/>
                  </a:cubicBezTo>
                  <a:cubicBezTo>
                    <a:pt x="128184" y="13136"/>
                    <a:pt x="129785" y="12932"/>
                    <a:pt x="131181" y="13485"/>
                  </a:cubicBezTo>
                  <a:cubicBezTo>
                    <a:pt x="142293" y="17673"/>
                    <a:pt x="153987" y="88870"/>
                    <a:pt x="157361" y="111469"/>
                  </a:cubicBezTo>
                  <a:cubicBezTo>
                    <a:pt x="166611" y="103238"/>
                    <a:pt x="194740" y="81163"/>
                    <a:pt x="214055" y="97188"/>
                  </a:cubicBezTo>
                  <a:lnTo>
                    <a:pt x="215655" y="98555"/>
                  </a:lnTo>
                  <a:lnTo>
                    <a:pt x="172342" y="152361"/>
                  </a:lnTo>
                  <a:cubicBezTo>
                    <a:pt x="166262" y="170567"/>
                    <a:pt x="158757" y="188221"/>
                    <a:pt x="149827" y="205206"/>
                  </a:cubicBezTo>
                  <a:close/>
                  <a:moveTo>
                    <a:pt x="81177" y="294523"/>
                  </a:moveTo>
                  <a:lnTo>
                    <a:pt x="151951" y="319768"/>
                  </a:lnTo>
                  <a:lnTo>
                    <a:pt x="145464" y="204537"/>
                  </a:lnTo>
                  <a:cubicBezTo>
                    <a:pt x="154568" y="187349"/>
                    <a:pt x="162248" y="169433"/>
                    <a:pt x="168385" y="150994"/>
                  </a:cubicBezTo>
                  <a:cubicBezTo>
                    <a:pt x="168764" y="150296"/>
                    <a:pt x="209604" y="99544"/>
                    <a:pt x="209604" y="99544"/>
                  </a:cubicBezTo>
                  <a:cubicBezTo>
                    <a:pt x="189533" y="86078"/>
                    <a:pt x="157681" y="117343"/>
                    <a:pt x="157244" y="117663"/>
                  </a:cubicBezTo>
                  <a:lnTo>
                    <a:pt x="154335" y="120572"/>
                  </a:lnTo>
                  <a:lnTo>
                    <a:pt x="153725" y="116384"/>
                  </a:lnTo>
                  <a:cubicBezTo>
                    <a:pt x="146831" y="69849"/>
                    <a:pt x="135923" y="20116"/>
                    <a:pt x="129581" y="17731"/>
                  </a:cubicBezTo>
                  <a:cubicBezTo>
                    <a:pt x="125073" y="18836"/>
                    <a:pt x="121989" y="52632"/>
                    <a:pt x="122745" y="91488"/>
                  </a:cubicBezTo>
                  <a:lnTo>
                    <a:pt x="122949" y="102394"/>
                  </a:lnTo>
                  <a:lnTo>
                    <a:pt x="118615" y="92360"/>
                  </a:lnTo>
                  <a:cubicBezTo>
                    <a:pt x="100114" y="49549"/>
                    <a:pt x="75825" y="3858"/>
                    <a:pt x="68465" y="3858"/>
                  </a:cubicBezTo>
                  <a:cubicBezTo>
                    <a:pt x="63404" y="11769"/>
                    <a:pt x="80799" y="62957"/>
                    <a:pt x="92842" y="93466"/>
                  </a:cubicBezTo>
                  <a:lnTo>
                    <a:pt x="96274" y="102191"/>
                  </a:lnTo>
                  <a:lnTo>
                    <a:pt x="89410" y="95909"/>
                  </a:lnTo>
                  <a:cubicBezTo>
                    <a:pt x="60030" y="69035"/>
                    <a:pt x="26548" y="40416"/>
                    <a:pt x="17415" y="35821"/>
                  </a:cubicBezTo>
                  <a:cubicBezTo>
                    <a:pt x="20934" y="44779"/>
                    <a:pt x="44264" y="77440"/>
                    <a:pt x="66866" y="106699"/>
                  </a:cubicBezTo>
                  <a:lnTo>
                    <a:pt x="72683" y="114319"/>
                  </a:lnTo>
                  <a:lnTo>
                    <a:pt x="64102" y="109927"/>
                  </a:lnTo>
                  <a:cubicBezTo>
                    <a:pt x="63782" y="109753"/>
                    <a:pt x="31115" y="93000"/>
                    <a:pt x="20294" y="88143"/>
                  </a:cubicBezTo>
                  <a:cubicBezTo>
                    <a:pt x="14825" y="85816"/>
                    <a:pt x="9124" y="84042"/>
                    <a:pt x="3306" y="82850"/>
                  </a:cubicBezTo>
                  <a:lnTo>
                    <a:pt x="1677" y="84828"/>
                  </a:lnTo>
                  <a:lnTo>
                    <a:pt x="3132" y="83257"/>
                  </a:lnTo>
                  <a:lnTo>
                    <a:pt x="52583" y="129995"/>
                  </a:lnTo>
                  <a:lnTo>
                    <a:pt x="84377" y="201687"/>
                  </a:lnTo>
                  <a:close/>
                </a:path>
              </a:pathLst>
            </a:custGeom>
            <a:solidFill>
              <a:srgbClr val="FFAD95"/>
            </a:solidFill>
            <a:ln w="2907" cap="flat">
              <a:noFill/>
              <a:prstDash val="solid"/>
              <a:miter/>
            </a:ln>
          </p:spPr>
          <p:txBody>
            <a:bodyPr rtlCol="0" anchor="ctr"/>
            <a:lstStyle/>
            <a:p>
              <a:endParaRPr lang="en-US" sz="800"/>
            </a:p>
          </p:txBody>
        </p:sp>
        <p:sp>
          <p:nvSpPr>
            <p:cNvPr id="7" name="Graphic 38">
              <a:extLst>
                <a:ext uri="{FF2B5EF4-FFF2-40B4-BE49-F238E27FC236}">
                  <a16:creationId xmlns:a16="http://schemas.microsoft.com/office/drawing/2014/main" id="{7CC3320D-23F4-3464-E65F-1BB5E1780493}"/>
                </a:ext>
              </a:extLst>
            </p:cNvPr>
            <p:cNvSpPr/>
            <p:nvPr/>
          </p:nvSpPr>
          <p:spPr>
            <a:xfrm>
              <a:off x="5914223" y="3315386"/>
              <a:ext cx="1115813" cy="1115634"/>
            </a:xfrm>
            <a:custGeom>
              <a:avLst/>
              <a:gdLst>
                <a:gd name="connsiteX0" fmla="*/ 506412 w 3439864"/>
                <a:gd name="connsiteY0" fmla="*/ 2938742 h 3439311"/>
                <a:gd name="connsiteX1" fmla="*/ 2938791 w 3439864"/>
                <a:gd name="connsiteY1" fmla="*/ 2931442 h 3439311"/>
                <a:gd name="connsiteX2" fmla="*/ 2931490 w 3439864"/>
                <a:gd name="connsiteY2" fmla="*/ 499470 h 3439311"/>
                <a:gd name="connsiteX3" fmla="*/ 499111 w 3439864"/>
                <a:gd name="connsiteY3" fmla="*/ 506770 h 3439311"/>
                <a:gd name="connsiteX4" fmla="*/ 506412 w 3439864"/>
                <a:gd name="connsiteY4" fmla="*/ 2938742 h 3439311"/>
                <a:gd name="connsiteX5" fmla="*/ 698893 w 3439864"/>
                <a:gd name="connsiteY5" fmla="*/ 2745130 h 3439311"/>
                <a:gd name="connsiteX6" fmla="*/ 692755 w 3439864"/>
                <a:gd name="connsiteY6" fmla="*/ 699218 h 3439311"/>
                <a:gd name="connsiteX7" fmla="*/ 2739009 w 3439864"/>
                <a:gd name="connsiteY7" fmla="*/ 693053 h 3439311"/>
                <a:gd name="connsiteX8" fmla="*/ 2745176 w 3439864"/>
                <a:gd name="connsiteY8" fmla="*/ 2738994 h 3439311"/>
                <a:gd name="connsiteX9" fmla="*/ 698893 w 3439864"/>
                <a:gd name="connsiteY9" fmla="*/ 2745130 h 3439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39864" h="3439311">
                  <a:moveTo>
                    <a:pt x="506412" y="2938742"/>
                  </a:moveTo>
                  <a:cubicBezTo>
                    <a:pt x="1180109" y="3608285"/>
                    <a:pt x="2269195" y="3605027"/>
                    <a:pt x="2938791" y="2931442"/>
                  </a:cubicBezTo>
                  <a:cubicBezTo>
                    <a:pt x="3608387" y="2257857"/>
                    <a:pt x="3605187" y="1168954"/>
                    <a:pt x="2931490" y="499470"/>
                  </a:cubicBezTo>
                  <a:cubicBezTo>
                    <a:pt x="2257792" y="-170014"/>
                    <a:pt x="1168706" y="-166815"/>
                    <a:pt x="499111" y="506770"/>
                  </a:cubicBezTo>
                  <a:cubicBezTo>
                    <a:pt x="-170485" y="1180355"/>
                    <a:pt x="-167286" y="2269200"/>
                    <a:pt x="506412" y="2938742"/>
                  </a:cubicBezTo>
                  <a:close/>
                  <a:moveTo>
                    <a:pt x="698893" y="2745130"/>
                  </a:moveTo>
                  <a:cubicBezTo>
                    <a:pt x="132126" y="2181861"/>
                    <a:pt x="129362" y="1265862"/>
                    <a:pt x="692755" y="699218"/>
                  </a:cubicBezTo>
                  <a:cubicBezTo>
                    <a:pt x="1256148" y="132575"/>
                    <a:pt x="2172242" y="129783"/>
                    <a:pt x="2739009" y="693053"/>
                  </a:cubicBezTo>
                  <a:cubicBezTo>
                    <a:pt x="3305775" y="1256322"/>
                    <a:pt x="3308510" y="2172321"/>
                    <a:pt x="2745176" y="2738994"/>
                  </a:cubicBezTo>
                  <a:cubicBezTo>
                    <a:pt x="2181842" y="3305666"/>
                    <a:pt x="1265660" y="3308429"/>
                    <a:pt x="698893" y="2745130"/>
                  </a:cubicBezTo>
                  <a:close/>
                </a:path>
              </a:pathLst>
            </a:custGeom>
            <a:solidFill>
              <a:schemeClr val="accent3"/>
            </a:solidFill>
            <a:ln w="2907" cap="flat">
              <a:noFill/>
              <a:prstDash val="solid"/>
              <a:miter/>
            </a:ln>
          </p:spPr>
          <p:txBody>
            <a:bodyPr rtlCol="0" anchor="ctr"/>
            <a:lstStyle/>
            <a:p>
              <a:endParaRPr lang="en-US" sz="800"/>
            </a:p>
          </p:txBody>
        </p:sp>
        <p:sp>
          <p:nvSpPr>
            <p:cNvPr id="8" name="Graphic 38">
              <a:extLst>
                <a:ext uri="{FF2B5EF4-FFF2-40B4-BE49-F238E27FC236}">
                  <a16:creationId xmlns:a16="http://schemas.microsoft.com/office/drawing/2014/main" id="{89B4A2E2-388E-7A40-8AF7-73EE4C0ADDAF}"/>
                </a:ext>
              </a:extLst>
            </p:cNvPr>
            <p:cNvSpPr/>
            <p:nvPr/>
          </p:nvSpPr>
          <p:spPr>
            <a:xfrm>
              <a:off x="5910059" y="3311176"/>
              <a:ext cx="1124150" cy="1123977"/>
            </a:xfrm>
            <a:custGeom>
              <a:avLst/>
              <a:gdLst>
                <a:gd name="connsiteX0" fmla="*/ 509648 w 3465564"/>
                <a:gd name="connsiteY0" fmla="*/ 2961290 h 3465032"/>
                <a:gd name="connsiteX1" fmla="*/ 502289 w 3465564"/>
                <a:gd name="connsiteY1" fmla="*/ 510006 h 3465032"/>
                <a:gd name="connsiteX2" fmla="*/ 2953954 w 3465564"/>
                <a:gd name="connsiteY2" fmla="*/ 502647 h 3465032"/>
                <a:gd name="connsiteX3" fmla="*/ 2961313 w 3465564"/>
                <a:gd name="connsiteY3" fmla="*/ 2953902 h 3465032"/>
                <a:gd name="connsiteX4" fmla="*/ 509648 w 3465564"/>
                <a:gd name="connsiteY4" fmla="*/ 2961290 h 3465032"/>
                <a:gd name="connsiteX5" fmla="*/ 528905 w 3465564"/>
                <a:gd name="connsiteY5" fmla="*/ 2941920 h 3465032"/>
                <a:gd name="connsiteX6" fmla="*/ 2941969 w 3465564"/>
                <a:gd name="connsiteY6" fmla="*/ 2934678 h 3465032"/>
                <a:gd name="connsiteX7" fmla="*/ 2934726 w 3465564"/>
                <a:gd name="connsiteY7" fmla="*/ 522017 h 3465032"/>
                <a:gd name="connsiteX8" fmla="*/ 521662 w 3465564"/>
                <a:gd name="connsiteY8" fmla="*/ 529259 h 3465032"/>
                <a:gd name="connsiteX9" fmla="*/ 528876 w 3465564"/>
                <a:gd name="connsiteY9" fmla="*/ 2942036 h 3465032"/>
                <a:gd name="connsiteX10" fmla="*/ 702129 w 3465564"/>
                <a:gd name="connsiteY10" fmla="*/ 2767678 h 3465032"/>
                <a:gd name="connsiteX11" fmla="*/ 695933 w 3465564"/>
                <a:gd name="connsiteY11" fmla="*/ 702454 h 3465032"/>
                <a:gd name="connsiteX12" fmla="*/ 2761502 w 3465564"/>
                <a:gd name="connsiteY12" fmla="*/ 696259 h 3465032"/>
                <a:gd name="connsiteX13" fmla="*/ 2767698 w 3465564"/>
                <a:gd name="connsiteY13" fmla="*/ 2761483 h 3465032"/>
                <a:gd name="connsiteX14" fmla="*/ 702100 w 3465564"/>
                <a:gd name="connsiteY14" fmla="*/ 2767794 h 3465032"/>
                <a:gd name="connsiteX15" fmla="*/ 721386 w 3465564"/>
                <a:gd name="connsiteY15" fmla="*/ 2748337 h 3465032"/>
                <a:gd name="connsiteX16" fmla="*/ 2748354 w 3465564"/>
                <a:gd name="connsiteY16" fmla="*/ 2742230 h 3465032"/>
                <a:gd name="connsiteX17" fmla="*/ 2742245 w 3465564"/>
                <a:gd name="connsiteY17" fmla="*/ 715600 h 3465032"/>
                <a:gd name="connsiteX18" fmla="*/ 715277 w 3465564"/>
                <a:gd name="connsiteY18" fmla="*/ 721708 h 3465032"/>
                <a:gd name="connsiteX19" fmla="*/ 721357 w 3465564"/>
                <a:gd name="connsiteY19" fmla="*/ 2748453 h 346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65564" h="3465032">
                  <a:moveTo>
                    <a:pt x="509648" y="2961290"/>
                  </a:moveTo>
                  <a:cubicBezTo>
                    <a:pt x="-168296" y="2287501"/>
                    <a:pt x="-171612" y="1187866"/>
                    <a:pt x="502289" y="510006"/>
                  </a:cubicBezTo>
                  <a:cubicBezTo>
                    <a:pt x="1176190" y="-167855"/>
                    <a:pt x="2276009" y="-171112"/>
                    <a:pt x="2953954" y="502647"/>
                  </a:cubicBezTo>
                  <a:cubicBezTo>
                    <a:pt x="3631898" y="1176407"/>
                    <a:pt x="3635214" y="2276072"/>
                    <a:pt x="2961313" y="2953902"/>
                  </a:cubicBezTo>
                  <a:cubicBezTo>
                    <a:pt x="2287412" y="3631734"/>
                    <a:pt x="1187593" y="3635165"/>
                    <a:pt x="509648" y="2961290"/>
                  </a:cubicBezTo>
                  <a:close/>
                  <a:moveTo>
                    <a:pt x="528905" y="2941920"/>
                  </a:moveTo>
                  <a:cubicBezTo>
                    <a:pt x="1196203" y="3605034"/>
                    <a:pt x="2278685" y="3601835"/>
                    <a:pt x="2941969" y="2934678"/>
                  </a:cubicBezTo>
                  <a:cubicBezTo>
                    <a:pt x="3605253" y="2267521"/>
                    <a:pt x="3601995" y="1185190"/>
                    <a:pt x="2934726" y="522017"/>
                  </a:cubicBezTo>
                  <a:cubicBezTo>
                    <a:pt x="2267458" y="-141155"/>
                    <a:pt x="1184945" y="-137898"/>
                    <a:pt x="521662" y="529259"/>
                  </a:cubicBezTo>
                  <a:cubicBezTo>
                    <a:pt x="-141622" y="1196417"/>
                    <a:pt x="-138422" y="2278864"/>
                    <a:pt x="528876" y="2942036"/>
                  </a:cubicBezTo>
                  <a:close/>
                  <a:moveTo>
                    <a:pt x="702129" y="2767678"/>
                  </a:moveTo>
                  <a:cubicBezTo>
                    <a:pt x="130941" y="2200017"/>
                    <a:pt x="128149" y="1273547"/>
                    <a:pt x="695933" y="702454"/>
                  </a:cubicBezTo>
                  <a:cubicBezTo>
                    <a:pt x="1263718" y="131361"/>
                    <a:pt x="2190314" y="128569"/>
                    <a:pt x="2761502" y="696259"/>
                  </a:cubicBezTo>
                  <a:cubicBezTo>
                    <a:pt x="3332690" y="1263949"/>
                    <a:pt x="3335483" y="2190390"/>
                    <a:pt x="2767698" y="2761483"/>
                  </a:cubicBezTo>
                  <a:cubicBezTo>
                    <a:pt x="2199913" y="3332576"/>
                    <a:pt x="1273288" y="3335484"/>
                    <a:pt x="702100" y="2767794"/>
                  </a:cubicBezTo>
                  <a:close/>
                  <a:moveTo>
                    <a:pt x="721386" y="2748337"/>
                  </a:moveTo>
                  <a:cubicBezTo>
                    <a:pt x="1281869" y="3305383"/>
                    <a:pt x="2191187" y="3302648"/>
                    <a:pt x="2748354" y="2742230"/>
                  </a:cubicBezTo>
                  <a:cubicBezTo>
                    <a:pt x="3305521" y="2181810"/>
                    <a:pt x="3302758" y="1272675"/>
                    <a:pt x="2742245" y="715600"/>
                  </a:cubicBezTo>
                  <a:cubicBezTo>
                    <a:pt x="2181733" y="158526"/>
                    <a:pt x="1272445" y="161260"/>
                    <a:pt x="715277" y="721708"/>
                  </a:cubicBezTo>
                  <a:cubicBezTo>
                    <a:pt x="158109" y="1282156"/>
                    <a:pt x="160844" y="2191379"/>
                    <a:pt x="721357" y="2748453"/>
                  </a:cubicBezTo>
                  <a:close/>
                </a:path>
              </a:pathLst>
            </a:custGeom>
            <a:solidFill>
              <a:schemeClr val="accent3"/>
            </a:solidFill>
            <a:ln w="2907" cap="flat">
              <a:noFill/>
              <a:prstDash val="solid"/>
              <a:miter/>
            </a:ln>
          </p:spPr>
          <p:txBody>
            <a:bodyPr rtlCol="0" anchor="ctr"/>
            <a:lstStyle/>
            <a:p>
              <a:endParaRPr lang="en-US" sz="800"/>
            </a:p>
          </p:txBody>
        </p:sp>
        <p:sp>
          <p:nvSpPr>
            <p:cNvPr id="9" name="Graphic 38">
              <a:extLst>
                <a:ext uri="{FF2B5EF4-FFF2-40B4-BE49-F238E27FC236}">
                  <a16:creationId xmlns:a16="http://schemas.microsoft.com/office/drawing/2014/main" id="{0C639DD4-7793-BC50-4876-5FCBC9085550}"/>
                </a:ext>
              </a:extLst>
            </p:cNvPr>
            <p:cNvSpPr/>
            <p:nvPr/>
          </p:nvSpPr>
          <p:spPr>
            <a:xfrm rot="8089800">
              <a:off x="6832781" y="4210830"/>
              <a:ext cx="132836" cy="185938"/>
            </a:xfrm>
            <a:custGeom>
              <a:avLst/>
              <a:gdLst>
                <a:gd name="connsiteX0" fmla="*/ -982 w 409512"/>
                <a:gd name="connsiteY0" fmla="*/ -539 h 573216"/>
                <a:gd name="connsiteX1" fmla="*/ 408531 w 409512"/>
                <a:gd name="connsiteY1" fmla="*/ -539 h 573216"/>
                <a:gd name="connsiteX2" fmla="*/ 408531 w 409512"/>
                <a:gd name="connsiteY2" fmla="*/ 572677 h 573216"/>
                <a:gd name="connsiteX3" fmla="*/ -982 w 409512"/>
                <a:gd name="connsiteY3" fmla="*/ 572677 h 573216"/>
              </a:gdLst>
              <a:ahLst/>
              <a:cxnLst>
                <a:cxn ang="0">
                  <a:pos x="connsiteX0" y="connsiteY0"/>
                </a:cxn>
                <a:cxn ang="0">
                  <a:pos x="connsiteX1" y="connsiteY1"/>
                </a:cxn>
                <a:cxn ang="0">
                  <a:pos x="connsiteX2" y="connsiteY2"/>
                </a:cxn>
                <a:cxn ang="0">
                  <a:pos x="connsiteX3" y="connsiteY3"/>
                </a:cxn>
              </a:cxnLst>
              <a:rect l="l" t="t" r="r" b="b"/>
              <a:pathLst>
                <a:path w="409512" h="573216">
                  <a:moveTo>
                    <a:pt x="-982" y="-539"/>
                  </a:moveTo>
                  <a:lnTo>
                    <a:pt x="408531" y="-539"/>
                  </a:lnTo>
                  <a:lnTo>
                    <a:pt x="408531" y="572677"/>
                  </a:lnTo>
                  <a:lnTo>
                    <a:pt x="-982" y="572677"/>
                  </a:lnTo>
                  <a:close/>
                </a:path>
              </a:pathLst>
            </a:custGeom>
            <a:solidFill>
              <a:schemeClr val="accent3"/>
            </a:solidFill>
            <a:ln w="2907" cap="flat">
              <a:noFill/>
              <a:prstDash val="solid"/>
              <a:miter/>
            </a:ln>
          </p:spPr>
          <p:txBody>
            <a:bodyPr rtlCol="0" anchor="ctr"/>
            <a:lstStyle/>
            <a:p>
              <a:endParaRPr lang="en-US" sz="800"/>
            </a:p>
          </p:txBody>
        </p:sp>
        <p:sp>
          <p:nvSpPr>
            <p:cNvPr id="10" name="Graphic 38">
              <a:extLst>
                <a:ext uri="{FF2B5EF4-FFF2-40B4-BE49-F238E27FC236}">
                  <a16:creationId xmlns:a16="http://schemas.microsoft.com/office/drawing/2014/main" id="{2A700A00-FD0E-836F-D1A4-C416F0EFA557}"/>
                </a:ext>
              </a:extLst>
            </p:cNvPr>
            <p:cNvSpPr/>
            <p:nvPr/>
          </p:nvSpPr>
          <p:spPr>
            <a:xfrm>
              <a:off x="6780207" y="4185018"/>
              <a:ext cx="238064" cy="237854"/>
            </a:xfrm>
            <a:custGeom>
              <a:avLst/>
              <a:gdLst>
                <a:gd name="connsiteX0" fmla="*/ -981 w 733911"/>
                <a:gd name="connsiteY0" fmla="*/ 309206 h 733265"/>
                <a:gd name="connsiteX1" fmla="*/ 306953 w 733911"/>
                <a:gd name="connsiteY1" fmla="*/ -539 h 733265"/>
                <a:gd name="connsiteX2" fmla="*/ 732930 w 733911"/>
                <a:gd name="connsiteY2" fmla="*/ 422837 h 733265"/>
                <a:gd name="connsiteX3" fmla="*/ 424996 w 733911"/>
                <a:gd name="connsiteY3" fmla="*/ 732726 h 733265"/>
                <a:gd name="connsiteX4" fmla="*/ 307070 w 733911"/>
                <a:gd name="connsiteY4" fmla="*/ 38085 h 733265"/>
                <a:gd name="connsiteX5" fmla="*/ 37620 w 733911"/>
                <a:gd name="connsiteY5" fmla="*/ 309118 h 733265"/>
                <a:gd name="connsiteX6" fmla="*/ 424763 w 733911"/>
                <a:gd name="connsiteY6" fmla="*/ 693958 h 733265"/>
                <a:gd name="connsiteX7" fmla="*/ 694213 w 733911"/>
                <a:gd name="connsiteY7" fmla="*/ 422924 h 73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3911" h="733265">
                  <a:moveTo>
                    <a:pt x="-981" y="309206"/>
                  </a:moveTo>
                  <a:lnTo>
                    <a:pt x="306953" y="-539"/>
                  </a:lnTo>
                  <a:lnTo>
                    <a:pt x="732930" y="422837"/>
                  </a:lnTo>
                  <a:lnTo>
                    <a:pt x="424996" y="732726"/>
                  </a:lnTo>
                  <a:close/>
                  <a:moveTo>
                    <a:pt x="307070" y="38085"/>
                  </a:moveTo>
                  <a:lnTo>
                    <a:pt x="37620" y="309118"/>
                  </a:lnTo>
                  <a:lnTo>
                    <a:pt x="424763" y="693958"/>
                  </a:lnTo>
                  <a:lnTo>
                    <a:pt x="694213" y="422924"/>
                  </a:lnTo>
                  <a:close/>
                </a:path>
              </a:pathLst>
            </a:custGeom>
            <a:solidFill>
              <a:schemeClr val="accent3"/>
            </a:solidFill>
            <a:ln w="2907" cap="flat">
              <a:noFill/>
              <a:prstDash val="solid"/>
              <a:miter/>
            </a:ln>
          </p:spPr>
          <p:txBody>
            <a:bodyPr rtlCol="0" anchor="ctr"/>
            <a:lstStyle/>
            <a:p>
              <a:endParaRPr lang="en-US" sz="800"/>
            </a:p>
          </p:txBody>
        </p:sp>
        <p:sp>
          <p:nvSpPr>
            <p:cNvPr id="11" name="Graphic 38">
              <a:extLst>
                <a:ext uri="{FF2B5EF4-FFF2-40B4-BE49-F238E27FC236}">
                  <a16:creationId xmlns:a16="http://schemas.microsoft.com/office/drawing/2014/main" id="{9ECB65ED-CA72-D24F-5474-6D86BE79290F}"/>
                </a:ext>
              </a:extLst>
            </p:cNvPr>
            <p:cNvSpPr/>
            <p:nvPr/>
          </p:nvSpPr>
          <p:spPr>
            <a:xfrm>
              <a:off x="6906118" y="4309898"/>
              <a:ext cx="727365" cy="724555"/>
            </a:xfrm>
            <a:custGeom>
              <a:avLst/>
              <a:gdLst>
                <a:gd name="connsiteX0" fmla="*/ 2049867 w 2242344"/>
                <a:gd name="connsiteY0" fmla="*/ 2136582 h 2233680"/>
                <a:gd name="connsiteX1" fmla="*/ 2146121 w 2242344"/>
                <a:gd name="connsiteY1" fmla="*/ 2039791 h 2233680"/>
                <a:gd name="connsiteX2" fmla="*/ 2144725 w 2242344"/>
                <a:gd name="connsiteY2" fmla="*/ 1576541 h 2233680"/>
                <a:gd name="connsiteX3" fmla="*/ 653806 w 2242344"/>
                <a:gd name="connsiteY3" fmla="*/ 94713 h 2233680"/>
                <a:gd name="connsiteX4" fmla="*/ 190508 w 2242344"/>
                <a:gd name="connsiteY4" fmla="*/ 96080 h 2233680"/>
                <a:gd name="connsiteX5" fmla="*/ 190508 w 2242344"/>
                <a:gd name="connsiteY5" fmla="*/ 96080 h 2233680"/>
                <a:gd name="connsiteX6" fmla="*/ 94283 w 2242344"/>
                <a:gd name="connsiteY6" fmla="*/ 192871 h 2233680"/>
                <a:gd name="connsiteX7" fmla="*/ 95679 w 2242344"/>
                <a:gd name="connsiteY7" fmla="*/ 656121 h 2233680"/>
                <a:gd name="connsiteX8" fmla="*/ 1586569 w 2242344"/>
                <a:gd name="connsiteY8" fmla="*/ 2137833 h 2233680"/>
                <a:gd name="connsiteX9" fmla="*/ 2049867 w 2242344"/>
                <a:gd name="connsiteY9" fmla="*/ 2136582 h 2233680"/>
                <a:gd name="connsiteX10" fmla="*/ 2049867 w 2242344"/>
                <a:gd name="connsiteY10" fmla="*/ 2136582 h 2233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42344" h="2233680">
                  <a:moveTo>
                    <a:pt x="2049867" y="2136582"/>
                  </a:moveTo>
                  <a:lnTo>
                    <a:pt x="2146121" y="2039791"/>
                  </a:lnTo>
                  <a:cubicBezTo>
                    <a:pt x="2273647" y="1911472"/>
                    <a:pt x="2273036" y="1704075"/>
                    <a:pt x="2144725" y="1576541"/>
                  </a:cubicBezTo>
                  <a:lnTo>
                    <a:pt x="653806" y="94713"/>
                  </a:lnTo>
                  <a:cubicBezTo>
                    <a:pt x="525496" y="-32820"/>
                    <a:pt x="318063" y="-32210"/>
                    <a:pt x="190508" y="96080"/>
                  </a:cubicBezTo>
                  <a:cubicBezTo>
                    <a:pt x="190508" y="96080"/>
                    <a:pt x="190508" y="96080"/>
                    <a:pt x="190508" y="96080"/>
                  </a:cubicBezTo>
                  <a:lnTo>
                    <a:pt x="94283" y="192871"/>
                  </a:lnTo>
                  <a:cubicBezTo>
                    <a:pt x="-33272" y="321190"/>
                    <a:pt x="-32661" y="528588"/>
                    <a:pt x="95679" y="656121"/>
                  </a:cubicBezTo>
                  <a:lnTo>
                    <a:pt x="1586569" y="2137833"/>
                  </a:lnTo>
                  <a:cubicBezTo>
                    <a:pt x="1714850" y="2265395"/>
                    <a:pt x="1922283" y="2264842"/>
                    <a:pt x="2049867" y="2136582"/>
                  </a:cubicBezTo>
                  <a:cubicBezTo>
                    <a:pt x="2049867" y="2136582"/>
                    <a:pt x="2049867" y="2136582"/>
                    <a:pt x="2049867" y="2136582"/>
                  </a:cubicBezTo>
                  <a:close/>
                </a:path>
              </a:pathLst>
            </a:custGeom>
            <a:solidFill>
              <a:schemeClr val="accent3"/>
            </a:solidFill>
            <a:ln w="2907" cap="flat">
              <a:noFill/>
              <a:prstDash val="solid"/>
              <a:miter/>
            </a:ln>
          </p:spPr>
          <p:txBody>
            <a:bodyPr rtlCol="0" anchor="ctr"/>
            <a:lstStyle/>
            <a:p>
              <a:endParaRPr lang="en-US" sz="800"/>
            </a:p>
          </p:txBody>
        </p:sp>
        <p:sp>
          <p:nvSpPr>
            <p:cNvPr id="12" name="Graphic 38">
              <a:extLst>
                <a:ext uri="{FF2B5EF4-FFF2-40B4-BE49-F238E27FC236}">
                  <a16:creationId xmlns:a16="http://schemas.microsoft.com/office/drawing/2014/main" id="{460ACB54-4CE8-0712-5D4B-DA9235D96591}"/>
                </a:ext>
              </a:extLst>
            </p:cNvPr>
            <p:cNvSpPr/>
            <p:nvPr/>
          </p:nvSpPr>
          <p:spPr>
            <a:xfrm>
              <a:off x="6901737" y="4305556"/>
              <a:ext cx="736099" cy="733283"/>
            </a:xfrm>
            <a:custGeom>
              <a:avLst/>
              <a:gdLst>
                <a:gd name="connsiteX0" fmla="*/ 1590448 w 2269270"/>
                <a:gd name="connsiteY0" fmla="*/ 2161020 h 2260587"/>
                <a:gd name="connsiteX1" fmla="*/ 99558 w 2269270"/>
                <a:gd name="connsiteY1" fmla="*/ 679308 h 2260587"/>
                <a:gd name="connsiteX2" fmla="*/ 98104 w 2269270"/>
                <a:gd name="connsiteY2" fmla="*/ 196776 h 2260587"/>
                <a:gd name="connsiteX3" fmla="*/ 194330 w 2269270"/>
                <a:gd name="connsiteY3" fmla="*/ 99984 h 2260587"/>
                <a:gd name="connsiteX4" fmla="*/ 676943 w 2269270"/>
                <a:gd name="connsiteY4" fmla="*/ 98530 h 2260587"/>
                <a:gd name="connsiteX5" fmla="*/ 2167774 w 2269270"/>
                <a:gd name="connsiteY5" fmla="*/ 1580242 h 2260587"/>
                <a:gd name="connsiteX6" fmla="*/ 2169200 w 2269270"/>
                <a:gd name="connsiteY6" fmla="*/ 2062804 h 2260587"/>
                <a:gd name="connsiteX7" fmla="*/ 2072974 w 2269270"/>
                <a:gd name="connsiteY7" fmla="*/ 2159595 h 2260587"/>
                <a:gd name="connsiteX8" fmla="*/ 1590448 w 2269270"/>
                <a:gd name="connsiteY8" fmla="*/ 2161020 h 2260587"/>
                <a:gd name="connsiteX9" fmla="*/ 117448 w 2269270"/>
                <a:gd name="connsiteY9" fmla="*/ 216000 h 2260587"/>
                <a:gd name="connsiteX10" fmla="*/ 118787 w 2269270"/>
                <a:gd name="connsiteY10" fmla="*/ 659938 h 2260587"/>
                <a:gd name="connsiteX11" fmla="*/ 1609705 w 2269270"/>
                <a:gd name="connsiteY11" fmla="*/ 2141679 h 2260587"/>
                <a:gd name="connsiteX12" fmla="*/ 2053717 w 2269270"/>
                <a:gd name="connsiteY12" fmla="*/ 2140341 h 2260587"/>
                <a:gd name="connsiteX13" fmla="*/ 2149943 w 2269270"/>
                <a:gd name="connsiteY13" fmla="*/ 2043550 h 2260587"/>
                <a:gd name="connsiteX14" fmla="*/ 2148605 w 2269270"/>
                <a:gd name="connsiteY14" fmla="*/ 1599612 h 2260587"/>
                <a:gd name="connsiteX15" fmla="*/ 657686 w 2269270"/>
                <a:gd name="connsiteY15" fmla="*/ 117871 h 2260587"/>
                <a:gd name="connsiteX16" fmla="*/ 213703 w 2269270"/>
                <a:gd name="connsiteY16" fmla="*/ 119209 h 226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69270" h="2260587">
                  <a:moveTo>
                    <a:pt x="1590448" y="2161020"/>
                  </a:moveTo>
                  <a:lnTo>
                    <a:pt x="99558" y="679308"/>
                  </a:lnTo>
                  <a:cubicBezTo>
                    <a:pt x="-33930" y="546365"/>
                    <a:pt x="-34570" y="330504"/>
                    <a:pt x="98104" y="196776"/>
                  </a:cubicBezTo>
                  <a:lnTo>
                    <a:pt x="194330" y="99984"/>
                  </a:lnTo>
                  <a:cubicBezTo>
                    <a:pt x="327266" y="-33482"/>
                    <a:pt x="543192" y="-34122"/>
                    <a:pt x="676943" y="98530"/>
                  </a:cubicBezTo>
                  <a:lnTo>
                    <a:pt x="2167774" y="1580242"/>
                  </a:lnTo>
                  <a:cubicBezTo>
                    <a:pt x="2301234" y="1713185"/>
                    <a:pt x="2301874" y="1929076"/>
                    <a:pt x="2169200" y="2062804"/>
                  </a:cubicBezTo>
                  <a:lnTo>
                    <a:pt x="2072974" y="2159595"/>
                  </a:lnTo>
                  <a:cubicBezTo>
                    <a:pt x="1940009" y="2292974"/>
                    <a:pt x="1724199" y="2293614"/>
                    <a:pt x="1590448" y="2161020"/>
                  </a:cubicBezTo>
                  <a:close/>
                  <a:moveTo>
                    <a:pt x="117448" y="216000"/>
                  </a:moveTo>
                  <a:cubicBezTo>
                    <a:pt x="-4580" y="339055"/>
                    <a:pt x="-3969" y="537640"/>
                    <a:pt x="118787" y="659938"/>
                  </a:cubicBezTo>
                  <a:lnTo>
                    <a:pt x="1609705" y="2141679"/>
                  </a:lnTo>
                  <a:cubicBezTo>
                    <a:pt x="1732780" y="2263686"/>
                    <a:pt x="1931399" y="2263105"/>
                    <a:pt x="2053717" y="2140341"/>
                  </a:cubicBezTo>
                  <a:lnTo>
                    <a:pt x="2149943" y="2043550"/>
                  </a:lnTo>
                  <a:cubicBezTo>
                    <a:pt x="2272000" y="1920524"/>
                    <a:pt x="2271389" y="1721910"/>
                    <a:pt x="2148605" y="1599612"/>
                  </a:cubicBezTo>
                  <a:lnTo>
                    <a:pt x="657686" y="117871"/>
                  </a:lnTo>
                  <a:cubicBezTo>
                    <a:pt x="534669" y="-4223"/>
                    <a:pt x="335993" y="-3613"/>
                    <a:pt x="213703" y="119209"/>
                  </a:cubicBezTo>
                  <a:close/>
                </a:path>
              </a:pathLst>
            </a:custGeom>
            <a:solidFill>
              <a:schemeClr val="accent3"/>
            </a:solidFill>
            <a:ln w="2907" cap="flat">
              <a:noFill/>
              <a:prstDash val="solid"/>
              <a:miter/>
            </a:ln>
          </p:spPr>
          <p:txBody>
            <a:bodyPr rtlCol="0" anchor="ctr"/>
            <a:lstStyle/>
            <a:p>
              <a:endParaRPr lang="en-US" sz="800"/>
            </a:p>
          </p:txBody>
        </p:sp>
        <p:sp>
          <p:nvSpPr>
            <p:cNvPr id="13" name="Graphic 38">
              <a:extLst>
                <a:ext uri="{FF2B5EF4-FFF2-40B4-BE49-F238E27FC236}">
                  <a16:creationId xmlns:a16="http://schemas.microsoft.com/office/drawing/2014/main" id="{15F78B10-7124-3C90-7A72-90E06E630BEE}"/>
                </a:ext>
              </a:extLst>
            </p:cNvPr>
            <p:cNvSpPr/>
            <p:nvPr/>
          </p:nvSpPr>
          <p:spPr>
            <a:xfrm>
              <a:off x="7029405" y="4310015"/>
              <a:ext cx="604041" cy="724404"/>
            </a:xfrm>
            <a:custGeom>
              <a:avLst/>
              <a:gdLst>
                <a:gd name="connsiteX0" fmla="*/ 1486214 w 1862155"/>
                <a:gd name="connsiteY0" fmla="*/ 2107805 h 2233215"/>
                <a:gd name="connsiteX1" fmla="*/ 1582440 w 1862155"/>
                <a:gd name="connsiteY1" fmla="*/ 2011014 h 2233215"/>
                <a:gd name="connsiteX2" fmla="*/ 1581102 w 1862155"/>
                <a:gd name="connsiteY2" fmla="*/ 1547852 h 2233215"/>
                <a:gd name="connsiteX3" fmla="*/ 1581044 w 1862155"/>
                <a:gd name="connsiteY3" fmla="*/ 1547793 h 2233215"/>
                <a:gd name="connsiteX4" fmla="*/ 90154 w 1862155"/>
                <a:gd name="connsiteY4" fmla="*/ 66052 h 2233215"/>
                <a:gd name="connsiteX5" fmla="*/ -981 w 1862155"/>
                <a:gd name="connsiteY5" fmla="*/ 2475 h 2233215"/>
                <a:gd name="connsiteX6" fmla="*/ 273617 w 1862155"/>
                <a:gd name="connsiteY6" fmla="*/ 94468 h 2233215"/>
                <a:gd name="connsiteX7" fmla="*/ 1764536 w 1862155"/>
                <a:gd name="connsiteY7" fmla="*/ 1576179 h 2233215"/>
                <a:gd name="connsiteX8" fmla="*/ 1765932 w 1862155"/>
                <a:gd name="connsiteY8" fmla="*/ 2039429 h 2233215"/>
                <a:gd name="connsiteX9" fmla="*/ 1669678 w 1862155"/>
                <a:gd name="connsiteY9" fmla="*/ 2136221 h 2233215"/>
                <a:gd name="connsiteX10" fmla="*/ 1297515 w 1862155"/>
                <a:gd name="connsiteY10" fmla="*/ 2201194 h 2233215"/>
                <a:gd name="connsiteX11" fmla="*/ 1486214 w 1862155"/>
                <a:gd name="connsiteY11" fmla="*/ 2107805 h 223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2155" h="2233215">
                  <a:moveTo>
                    <a:pt x="1486214" y="2107805"/>
                  </a:moveTo>
                  <a:lnTo>
                    <a:pt x="1582440" y="2011014"/>
                  </a:lnTo>
                  <a:cubicBezTo>
                    <a:pt x="1709995" y="1882753"/>
                    <a:pt x="1709384" y="1675356"/>
                    <a:pt x="1581102" y="1547852"/>
                  </a:cubicBezTo>
                  <a:cubicBezTo>
                    <a:pt x="1581073" y="1547823"/>
                    <a:pt x="1581073" y="1547823"/>
                    <a:pt x="1581044" y="1547793"/>
                  </a:cubicBezTo>
                  <a:lnTo>
                    <a:pt x="90154" y="66052"/>
                  </a:lnTo>
                  <a:cubicBezTo>
                    <a:pt x="63625" y="39819"/>
                    <a:pt x="32820" y="18296"/>
                    <a:pt x="-981" y="2475"/>
                  </a:cubicBezTo>
                  <a:cubicBezTo>
                    <a:pt x="99899" y="-11311"/>
                    <a:pt x="201419" y="22688"/>
                    <a:pt x="273617" y="94468"/>
                  </a:cubicBezTo>
                  <a:lnTo>
                    <a:pt x="1764536" y="1576179"/>
                  </a:lnTo>
                  <a:cubicBezTo>
                    <a:pt x="1892847" y="1703713"/>
                    <a:pt x="1893458" y="1911110"/>
                    <a:pt x="1765932" y="2039429"/>
                  </a:cubicBezTo>
                  <a:lnTo>
                    <a:pt x="1669678" y="2136221"/>
                  </a:lnTo>
                  <a:cubicBezTo>
                    <a:pt x="1571881" y="2234466"/>
                    <a:pt x="1422830" y="2260496"/>
                    <a:pt x="1297515" y="2201194"/>
                  </a:cubicBezTo>
                  <a:cubicBezTo>
                    <a:pt x="1369015" y="2191800"/>
                    <a:pt x="1435396" y="2158964"/>
                    <a:pt x="1486214" y="2107805"/>
                  </a:cubicBezTo>
                  <a:close/>
                </a:path>
              </a:pathLst>
            </a:custGeom>
            <a:solidFill>
              <a:schemeClr val="accent3">
                <a:lumMod val="75000"/>
              </a:schemeClr>
            </a:solidFill>
            <a:ln w="2907" cap="flat">
              <a:noFill/>
              <a:prstDash val="solid"/>
              <a:miter/>
            </a:ln>
          </p:spPr>
          <p:txBody>
            <a:bodyPr rtlCol="0" anchor="ctr"/>
            <a:lstStyle/>
            <a:p>
              <a:endParaRPr lang="en-US" sz="800"/>
            </a:p>
          </p:txBody>
        </p:sp>
        <p:sp>
          <p:nvSpPr>
            <p:cNvPr id="14" name="Graphic 38">
              <a:extLst>
                <a:ext uri="{FF2B5EF4-FFF2-40B4-BE49-F238E27FC236}">
                  <a16:creationId xmlns:a16="http://schemas.microsoft.com/office/drawing/2014/main" id="{C05BAE6D-7282-B94B-4287-BDB29023FDC8}"/>
                </a:ext>
              </a:extLst>
            </p:cNvPr>
            <p:cNvSpPr/>
            <p:nvPr/>
          </p:nvSpPr>
          <p:spPr>
            <a:xfrm>
              <a:off x="7014015" y="4305557"/>
              <a:ext cx="623821" cy="733232"/>
            </a:xfrm>
            <a:custGeom>
              <a:avLst/>
              <a:gdLst>
                <a:gd name="connsiteX0" fmla="*/ 1339228 w 1923133"/>
                <a:gd name="connsiteY0" fmla="*/ 2227267 h 2260430"/>
                <a:gd name="connsiteX1" fmla="*/ 1297428 w 1923133"/>
                <a:gd name="connsiteY1" fmla="*/ 2207519 h 2260430"/>
                <a:gd name="connsiteX2" fmla="*/ 1343272 w 1923133"/>
                <a:gd name="connsiteY2" fmla="*/ 2201411 h 2260430"/>
                <a:gd name="connsiteX3" fmla="*/ 1524088 w 1923133"/>
                <a:gd name="connsiteY3" fmla="*/ 2111920 h 2260430"/>
                <a:gd name="connsiteX4" fmla="*/ 1620314 w 1923133"/>
                <a:gd name="connsiteY4" fmla="*/ 2015128 h 2260430"/>
                <a:gd name="connsiteX5" fmla="*/ 1618976 w 1923133"/>
                <a:gd name="connsiteY5" fmla="*/ 1571220 h 2260430"/>
                <a:gd name="connsiteX6" fmla="*/ 128086 w 1923133"/>
                <a:gd name="connsiteY6" fmla="*/ 89479 h 2260430"/>
                <a:gd name="connsiteX7" fmla="*/ 40820 w 1923133"/>
                <a:gd name="connsiteY7" fmla="*/ 28548 h 2260430"/>
                <a:gd name="connsiteX8" fmla="*/ -981 w 1923133"/>
                <a:gd name="connsiteY8" fmla="*/ 8800 h 2260430"/>
                <a:gd name="connsiteX9" fmla="*/ 44834 w 1923133"/>
                <a:gd name="connsiteY9" fmla="*/ 2663 h 2260430"/>
                <a:gd name="connsiteX10" fmla="*/ 330893 w 1923133"/>
                <a:gd name="connsiteY10" fmla="*/ 98640 h 2260430"/>
                <a:gd name="connsiteX11" fmla="*/ 1821638 w 1923133"/>
                <a:gd name="connsiteY11" fmla="*/ 1580236 h 2260430"/>
                <a:gd name="connsiteX12" fmla="*/ 1823063 w 1923133"/>
                <a:gd name="connsiteY12" fmla="*/ 2062797 h 2260430"/>
                <a:gd name="connsiteX13" fmla="*/ 1726837 w 1923133"/>
                <a:gd name="connsiteY13" fmla="*/ 2159589 h 2260430"/>
                <a:gd name="connsiteX14" fmla="*/ 1339228 w 1923133"/>
                <a:gd name="connsiteY14" fmla="*/ 2227267 h 2260430"/>
                <a:gd name="connsiteX15" fmla="*/ 147313 w 1923133"/>
                <a:gd name="connsiteY15" fmla="*/ 70109 h 2260430"/>
                <a:gd name="connsiteX16" fmla="*/ 1638378 w 1923133"/>
                <a:gd name="connsiteY16" fmla="*/ 1551850 h 2260430"/>
                <a:gd name="connsiteX17" fmla="*/ 1639833 w 1923133"/>
                <a:gd name="connsiteY17" fmla="*/ 2034382 h 2260430"/>
                <a:gd name="connsiteX18" fmla="*/ 1543607 w 1923133"/>
                <a:gd name="connsiteY18" fmla="*/ 2131174 h 2260430"/>
                <a:gd name="connsiteX19" fmla="*/ 1393538 w 1923133"/>
                <a:gd name="connsiteY19" fmla="*/ 2219007 h 2260430"/>
                <a:gd name="connsiteX20" fmla="*/ 1707697 w 1923133"/>
                <a:gd name="connsiteY20" fmla="*/ 2140335 h 2260430"/>
                <a:gd name="connsiteX21" fmla="*/ 1803922 w 1923133"/>
                <a:gd name="connsiteY21" fmla="*/ 2043543 h 2260430"/>
                <a:gd name="connsiteX22" fmla="*/ 1802584 w 1923133"/>
                <a:gd name="connsiteY22" fmla="*/ 1599606 h 2260430"/>
                <a:gd name="connsiteX23" fmla="*/ 311665 w 1923133"/>
                <a:gd name="connsiteY23" fmla="*/ 117865 h 2260430"/>
                <a:gd name="connsiteX24" fmla="*/ 93849 w 1923133"/>
                <a:gd name="connsiteY24" fmla="*/ 26890 h 2260430"/>
                <a:gd name="connsiteX25" fmla="*/ 147313 w 1923133"/>
                <a:gd name="connsiteY25" fmla="*/ 70109 h 226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23133" h="2260430">
                  <a:moveTo>
                    <a:pt x="1339228" y="2227267"/>
                  </a:moveTo>
                  <a:lnTo>
                    <a:pt x="1297428" y="2207519"/>
                  </a:lnTo>
                  <a:lnTo>
                    <a:pt x="1343272" y="2201411"/>
                  </a:lnTo>
                  <a:cubicBezTo>
                    <a:pt x="1411806" y="2192511"/>
                    <a:pt x="1475452" y="2161014"/>
                    <a:pt x="1524088" y="2111920"/>
                  </a:cubicBezTo>
                  <a:lnTo>
                    <a:pt x="1620314" y="2015128"/>
                  </a:lnTo>
                  <a:cubicBezTo>
                    <a:pt x="1742429" y="1892132"/>
                    <a:pt x="1741818" y="1693489"/>
                    <a:pt x="1618976" y="1571220"/>
                  </a:cubicBezTo>
                  <a:lnTo>
                    <a:pt x="128086" y="89479"/>
                  </a:lnTo>
                  <a:cubicBezTo>
                    <a:pt x="102692" y="64350"/>
                    <a:pt x="73166" y="43730"/>
                    <a:pt x="40820" y="28548"/>
                  </a:cubicBezTo>
                  <a:lnTo>
                    <a:pt x="-981" y="8800"/>
                  </a:lnTo>
                  <a:lnTo>
                    <a:pt x="44834" y="2663"/>
                  </a:lnTo>
                  <a:cubicBezTo>
                    <a:pt x="149961" y="-11879"/>
                    <a:pt x="255815" y="23633"/>
                    <a:pt x="330893" y="98640"/>
                  </a:cubicBezTo>
                  <a:lnTo>
                    <a:pt x="1821638" y="1580236"/>
                  </a:lnTo>
                  <a:cubicBezTo>
                    <a:pt x="1955097" y="1713178"/>
                    <a:pt x="1955738" y="1929069"/>
                    <a:pt x="1823063" y="2062797"/>
                  </a:cubicBezTo>
                  <a:lnTo>
                    <a:pt x="1726837" y="2159589"/>
                  </a:lnTo>
                  <a:cubicBezTo>
                    <a:pt x="1624881" y="2261702"/>
                    <a:pt x="1469750" y="2288780"/>
                    <a:pt x="1339228" y="2227267"/>
                  </a:cubicBezTo>
                  <a:close/>
                  <a:moveTo>
                    <a:pt x="147313" y="70109"/>
                  </a:moveTo>
                  <a:lnTo>
                    <a:pt x="1638378" y="1551850"/>
                  </a:lnTo>
                  <a:cubicBezTo>
                    <a:pt x="1771837" y="1684793"/>
                    <a:pt x="1772478" y="1900654"/>
                    <a:pt x="1639833" y="2034382"/>
                  </a:cubicBezTo>
                  <a:lnTo>
                    <a:pt x="1543607" y="2131174"/>
                  </a:lnTo>
                  <a:cubicBezTo>
                    <a:pt x="1502126" y="2173054"/>
                    <a:pt x="1450377" y="2203360"/>
                    <a:pt x="1393538" y="2219007"/>
                  </a:cubicBezTo>
                  <a:cubicBezTo>
                    <a:pt x="1504744" y="2252861"/>
                    <a:pt x="1625579" y="2222614"/>
                    <a:pt x="1707697" y="2140335"/>
                  </a:cubicBezTo>
                  <a:lnTo>
                    <a:pt x="1803922" y="2043543"/>
                  </a:lnTo>
                  <a:cubicBezTo>
                    <a:pt x="1925980" y="1920518"/>
                    <a:pt x="1925368" y="1721904"/>
                    <a:pt x="1802584" y="1599606"/>
                  </a:cubicBezTo>
                  <a:lnTo>
                    <a:pt x="311665" y="117865"/>
                  </a:lnTo>
                  <a:cubicBezTo>
                    <a:pt x="253837" y="60075"/>
                    <a:pt x="175588" y="27414"/>
                    <a:pt x="93849" y="26890"/>
                  </a:cubicBezTo>
                  <a:cubicBezTo>
                    <a:pt x="113134" y="39396"/>
                    <a:pt x="131024" y="53880"/>
                    <a:pt x="147313" y="70109"/>
                  </a:cubicBezTo>
                  <a:close/>
                </a:path>
              </a:pathLst>
            </a:custGeom>
            <a:solidFill>
              <a:schemeClr val="accent3">
                <a:lumMod val="75000"/>
              </a:schemeClr>
            </a:solidFill>
            <a:ln w="2907" cap="flat">
              <a:noFill/>
              <a:prstDash val="solid"/>
              <a:miter/>
            </a:ln>
          </p:spPr>
          <p:txBody>
            <a:bodyPr rtlCol="0" anchor="ctr"/>
            <a:lstStyle/>
            <a:p>
              <a:endParaRPr lang="en-US" sz="800"/>
            </a:p>
          </p:txBody>
        </p:sp>
        <p:sp>
          <p:nvSpPr>
            <p:cNvPr id="15" name="Graphic 38">
              <a:extLst>
                <a:ext uri="{FF2B5EF4-FFF2-40B4-BE49-F238E27FC236}">
                  <a16:creationId xmlns:a16="http://schemas.microsoft.com/office/drawing/2014/main" id="{433CDF8F-F79C-ED4A-6AD1-21E677B6952C}"/>
                </a:ext>
              </a:extLst>
            </p:cNvPr>
            <p:cNvSpPr/>
            <p:nvPr/>
          </p:nvSpPr>
          <p:spPr>
            <a:xfrm>
              <a:off x="6010419" y="3411878"/>
              <a:ext cx="923420" cy="920021"/>
            </a:xfrm>
            <a:custGeom>
              <a:avLst/>
              <a:gdLst>
                <a:gd name="connsiteX0" fmla="*/ 2846750 w 2846749"/>
                <a:gd name="connsiteY0" fmla="*/ 1418134 h 2836268"/>
                <a:gd name="connsiteX1" fmla="*/ 1423375 w 2846749"/>
                <a:gd name="connsiteY1" fmla="*/ 2836269 h 2836268"/>
                <a:gd name="connsiteX2" fmla="*/ 1 w 2846749"/>
                <a:gd name="connsiteY2" fmla="*/ 1418135 h 2836268"/>
                <a:gd name="connsiteX3" fmla="*/ 1423375 w 2846749"/>
                <a:gd name="connsiteY3" fmla="*/ 0 h 2836268"/>
                <a:gd name="connsiteX4" fmla="*/ 2846750 w 2846749"/>
                <a:gd name="connsiteY4" fmla="*/ 1418134 h 2836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6749" h="2836268">
                  <a:moveTo>
                    <a:pt x="2846750" y="1418134"/>
                  </a:moveTo>
                  <a:cubicBezTo>
                    <a:pt x="2846750" y="2201348"/>
                    <a:pt x="2209483" y="2836269"/>
                    <a:pt x="1423375" y="2836269"/>
                  </a:cubicBezTo>
                  <a:cubicBezTo>
                    <a:pt x="637267" y="2836269"/>
                    <a:pt x="1" y="2201349"/>
                    <a:pt x="1" y="1418135"/>
                  </a:cubicBezTo>
                  <a:cubicBezTo>
                    <a:pt x="1" y="634921"/>
                    <a:pt x="637267" y="0"/>
                    <a:pt x="1423375" y="0"/>
                  </a:cubicBezTo>
                  <a:cubicBezTo>
                    <a:pt x="2209484" y="0"/>
                    <a:pt x="2846750" y="634921"/>
                    <a:pt x="2846750" y="1418134"/>
                  </a:cubicBezTo>
                  <a:close/>
                </a:path>
              </a:pathLst>
            </a:custGeom>
            <a:solidFill>
              <a:srgbClr val="F2F2F2">
                <a:alpha val="73000"/>
              </a:srgbClr>
            </a:solidFill>
            <a:ln w="2907" cap="flat">
              <a:noFill/>
              <a:prstDash val="solid"/>
              <a:miter/>
            </a:ln>
          </p:spPr>
          <p:txBody>
            <a:bodyPr rtlCol="0" anchor="ctr"/>
            <a:lstStyle/>
            <a:p>
              <a:endParaRPr lang="en-US" sz="800"/>
            </a:p>
          </p:txBody>
        </p:sp>
        <p:sp>
          <p:nvSpPr>
            <p:cNvPr id="16" name="Graphic 38">
              <a:extLst>
                <a:ext uri="{FF2B5EF4-FFF2-40B4-BE49-F238E27FC236}">
                  <a16:creationId xmlns:a16="http://schemas.microsoft.com/office/drawing/2014/main" id="{E9B69430-A9BA-D093-EB29-69ACE9777058}"/>
                </a:ext>
              </a:extLst>
            </p:cNvPr>
            <p:cNvSpPr/>
            <p:nvPr/>
          </p:nvSpPr>
          <p:spPr>
            <a:xfrm>
              <a:off x="6066709" y="3706925"/>
              <a:ext cx="401690" cy="547814"/>
            </a:xfrm>
            <a:custGeom>
              <a:avLst/>
              <a:gdLst>
                <a:gd name="connsiteX0" fmla="*/ 79014 w 1238341"/>
                <a:gd name="connsiteY0" fmla="*/ 336835 h 1688818"/>
                <a:gd name="connsiteX1" fmla="*/ 121193 w 1238341"/>
                <a:gd name="connsiteY1" fmla="*/ -539 h 1688818"/>
                <a:gd name="connsiteX2" fmla="*/ -980 w 1238341"/>
                <a:gd name="connsiteY2" fmla="*/ 519337 h 1688818"/>
                <a:gd name="connsiteX3" fmla="*/ 1172259 w 1238341"/>
                <a:gd name="connsiteY3" fmla="*/ 1688280 h 1688818"/>
                <a:gd name="connsiteX4" fmla="*/ 1237360 w 1238341"/>
                <a:gd name="connsiteY4" fmla="*/ 1686477 h 1688818"/>
                <a:gd name="connsiteX5" fmla="*/ 79014 w 1238341"/>
                <a:gd name="connsiteY5" fmla="*/ 336835 h 168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8341" h="1688818">
                  <a:moveTo>
                    <a:pt x="79014" y="336835"/>
                  </a:moveTo>
                  <a:cubicBezTo>
                    <a:pt x="78927" y="223059"/>
                    <a:pt x="93122" y="109719"/>
                    <a:pt x="121193" y="-539"/>
                  </a:cubicBezTo>
                  <a:cubicBezTo>
                    <a:pt x="40616" y="160906"/>
                    <a:pt x="-1213" y="338900"/>
                    <a:pt x="-980" y="519337"/>
                  </a:cubicBezTo>
                  <a:cubicBezTo>
                    <a:pt x="-980" y="1165001"/>
                    <a:pt x="524305" y="1688280"/>
                    <a:pt x="1172259" y="1688280"/>
                  </a:cubicBezTo>
                  <a:cubicBezTo>
                    <a:pt x="1194105" y="1688280"/>
                    <a:pt x="1215805" y="1687669"/>
                    <a:pt x="1237360" y="1686477"/>
                  </a:cubicBezTo>
                  <a:cubicBezTo>
                    <a:pt x="581174" y="1584654"/>
                    <a:pt x="79014" y="1019174"/>
                    <a:pt x="79014" y="336835"/>
                  </a:cubicBezTo>
                  <a:close/>
                </a:path>
              </a:pathLst>
            </a:custGeom>
            <a:solidFill>
              <a:schemeClr val="accent5">
                <a:lumMod val="60000"/>
                <a:lumOff val="40000"/>
              </a:schemeClr>
            </a:solidFill>
            <a:ln w="2907" cap="flat">
              <a:noFill/>
              <a:prstDash val="solid"/>
              <a:miter/>
            </a:ln>
          </p:spPr>
          <p:txBody>
            <a:bodyPr rtlCol="0" anchor="ctr"/>
            <a:lstStyle/>
            <a:p>
              <a:endParaRPr lang="en-US" sz="800"/>
            </a:p>
          </p:txBody>
        </p:sp>
      </p:grpSp>
      <p:sp>
        <p:nvSpPr>
          <p:cNvPr id="1274" name="Rectangle 1273">
            <a:extLst>
              <a:ext uri="{FF2B5EF4-FFF2-40B4-BE49-F238E27FC236}">
                <a16:creationId xmlns:a16="http://schemas.microsoft.com/office/drawing/2014/main" id="{57A65191-AC30-2BCE-F72C-4699BE4AB622}"/>
              </a:ext>
            </a:extLst>
          </p:cNvPr>
          <p:cNvSpPr/>
          <p:nvPr/>
        </p:nvSpPr>
        <p:spPr>
          <a:xfrm>
            <a:off x="1434042" y="5082786"/>
            <a:ext cx="3215166" cy="138499"/>
          </a:xfrm>
          <a:prstGeom prst="rect">
            <a:avLst/>
          </a:prstGeom>
          <a:noFill/>
        </p:spPr>
        <p:txBody>
          <a:bodyPr wrap="square" lIns="0" tIns="0" rIns="0" bIns="0" anchor="ctr" anchorCtr="0">
            <a:spAutoFit/>
          </a:bodyPr>
          <a:lstStyle/>
          <a:p>
            <a:pPr algn="ctr" defTabSz="685800" eaLnBrk="0" hangingPunct="0">
              <a:defRPr/>
            </a:pPr>
            <a:r>
              <a:rPr lang="en-US" sz="900" b="1" kern="0" dirty="0">
                <a:solidFill>
                  <a:schemeClr val="accent2">
                    <a:lumMod val="50000"/>
                  </a:schemeClr>
                </a:solidFill>
                <a:latin typeface="Arial"/>
              </a:rPr>
              <a:t>Process orchestration solution characteristics</a:t>
            </a:r>
          </a:p>
        </p:txBody>
      </p:sp>
      <p:sp>
        <p:nvSpPr>
          <p:cNvPr id="1275" name="TextBox 1274">
            <a:extLst>
              <a:ext uri="{FF2B5EF4-FFF2-40B4-BE49-F238E27FC236}">
                <a16:creationId xmlns:a16="http://schemas.microsoft.com/office/drawing/2014/main" id="{43629D34-641A-D479-D2FE-EDF75D5D9FA9}"/>
              </a:ext>
            </a:extLst>
          </p:cNvPr>
          <p:cNvSpPr txBox="1"/>
          <p:nvPr/>
        </p:nvSpPr>
        <p:spPr>
          <a:xfrm>
            <a:off x="1933933" y="5859807"/>
            <a:ext cx="471904" cy="232165"/>
          </a:xfrm>
          <a:prstGeom prst="rect">
            <a:avLst/>
          </a:prstGeom>
          <a:noFill/>
        </p:spPr>
        <p:txBody>
          <a:bodyPr wrap="square" lIns="0" tIns="0" rIns="0" bIns="108000" rtlCol="0">
            <a:spAutoFit/>
          </a:bodyPr>
          <a:lstStyle/>
          <a:p>
            <a:pPr lvl="0" algn="ctr" defTabSz="893218" fontAlgn="auto">
              <a:spcBef>
                <a:spcPts val="0"/>
              </a:spcBef>
              <a:spcAft>
                <a:spcPts val="0"/>
              </a:spcAft>
              <a:defRPr/>
            </a:pPr>
            <a:r>
              <a:rPr lang="en-US" sz="800">
                <a:solidFill>
                  <a:schemeClr val="bg2"/>
                </a:solidFill>
                <a:latin typeface="Arial"/>
                <a:cs typeface="Arial"/>
              </a:rPr>
              <a:t>Talent</a:t>
            </a:r>
          </a:p>
        </p:txBody>
      </p:sp>
      <p:sp>
        <p:nvSpPr>
          <p:cNvPr id="1276" name="TextBox 1275">
            <a:extLst>
              <a:ext uri="{FF2B5EF4-FFF2-40B4-BE49-F238E27FC236}">
                <a16:creationId xmlns:a16="http://schemas.microsoft.com/office/drawing/2014/main" id="{627C5CAB-1A4B-8FD7-6753-87A88CB5ADF7}"/>
              </a:ext>
            </a:extLst>
          </p:cNvPr>
          <p:cNvSpPr txBox="1"/>
          <p:nvPr/>
        </p:nvSpPr>
        <p:spPr>
          <a:xfrm>
            <a:off x="3630484" y="5859807"/>
            <a:ext cx="778781" cy="355276"/>
          </a:xfrm>
          <a:prstGeom prst="rect">
            <a:avLst/>
          </a:prstGeom>
          <a:noFill/>
        </p:spPr>
        <p:txBody>
          <a:bodyPr wrap="square" lIns="0" tIns="0" rIns="0" bIns="108000" rtlCol="0">
            <a:spAutoFit/>
          </a:bodyPr>
          <a:lstStyle/>
          <a:p>
            <a:pPr lvl="0" algn="ctr" defTabSz="893218" fontAlgn="auto">
              <a:spcBef>
                <a:spcPts val="0"/>
              </a:spcBef>
              <a:spcAft>
                <a:spcPts val="0"/>
              </a:spcAft>
              <a:defRPr/>
            </a:pPr>
            <a:r>
              <a:rPr lang="en-US" sz="800">
                <a:solidFill>
                  <a:schemeClr val="accent6"/>
                </a:solidFill>
                <a:latin typeface="Arial"/>
                <a:cs typeface="Arial"/>
              </a:rPr>
              <a:t>Deployment</a:t>
            </a:r>
          </a:p>
          <a:p>
            <a:pPr lvl="0" algn="ctr" defTabSz="893218" fontAlgn="auto">
              <a:spcBef>
                <a:spcPts val="0"/>
              </a:spcBef>
              <a:spcAft>
                <a:spcPts val="0"/>
              </a:spcAft>
              <a:defRPr/>
            </a:pPr>
            <a:r>
              <a:rPr lang="en-US" sz="800">
                <a:solidFill>
                  <a:schemeClr val="accent6"/>
                </a:solidFill>
                <a:latin typeface="Arial"/>
                <a:cs typeface="Arial"/>
              </a:rPr>
              <a:t>model</a:t>
            </a:r>
          </a:p>
        </p:txBody>
      </p:sp>
      <p:sp>
        <p:nvSpPr>
          <p:cNvPr id="1277" name="TextBox 1276">
            <a:extLst>
              <a:ext uri="{FF2B5EF4-FFF2-40B4-BE49-F238E27FC236}">
                <a16:creationId xmlns:a16="http://schemas.microsoft.com/office/drawing/2014/main" id="{CAE19355-E44D-74BF-FF12-17E286C9CBDE}"/>
              </a:ext>
            </a:extLst>
          </p:cNvPr>
          <p:cNvSpPr txBox="1"/>
          <p:nvPr/>
        </p:nvSpPr>
        <p:spPr>
          <a:xfrm>
            <a:off x="918375" y="5859807"/>
            <a:ext cx="656465" cy="355276"/>
          </a:xfrm>
          <a:prstGeom prst="rect">
            <a:avLst/>
          </a:prstGeom>
          <a:noFill/>
        </p:spPr>
        <p:txBody>
          <a:bodyPr wrap="square" lIns="0" tIns="0" rIns="0" bIns="108000" rtlCol="0">
            <a:spAutoFit/>
          </a:bodyPr>
          <a:lstStyle/>
          <a:p>
            <a:pPr lvl="0" algn="ctr" defTabSz="893218" fontAlgn="auto">
              <a:spcBef>
                <a:spcPts val="0"/>
              </a:spcBef>
              <a:spcAft>
                <a:spcPts val="0"/>
              </a:spcAft>
              <a:defRPr/>
            </a:pPr>
            <a:r>
              <a:rPr lang="en-US" sz="800">
                <a:solidFill>
                  <a:schemeClr val="accent5"/>
                </a:solidFill>
                <a:latin typeface="Arial"/>
                <a:cs typeface="Arial"/>
              </a:rPr>
              <a:t>Training &amp; support</a:t>
            </a:r>
          </a:p>
        </p:txBody>
      </p:sp>
      <p:sp>
        <p:nvSpPr>
          <p:cNvPr id="1278" name="TextBox 1277">
            <a:extLst>
              <a:ext uri="{FF2B5EF4-FFF2-40B4-BE49-F238E27FC236}">
                <a16:creationId xmlns:a16="http://schemas.microsoft.com/office/drawing/2014/main" id="{048483D3-F06D-E679-743C-01FD38722271}"/>
              </a:ext>
            </a:extLst>
          </p:cNvPr>
          <p:cNvSpPr txBox="1"/>
          <p:nvPr/>
        </p:nvSpPr>
        <p:spPr>
          <a:xfrm>
            <a:off x="4646998" y="5859807"/>
            <a:ext cx="585439" cy="355276"/>
          </a:xfrm>
          <a:prstGeom prst="rect">
            <a:avLst/>
          </a:prstGeom>
          <a:noFill/>
        </p:spPr>
        <p:txBody>
          <a:bodyPr wrap="square" lIns="0" tIns="0" rIns="0" bIns="108000" rtlCol="0">
            <a:spAutoFit/>
          </a:bodyPr>
          <a:lstStyle/>
          <a:p>
            <a:pPr lvl="0" algn="ctr" defTabSz="893218" fontAlgn="auto">
              <a:spcBef>
                <a:spcPts val="0"/>
              </a:spcBef>
              <a:spcAft>
                <a:spcPts val="0"/>
              </a:spcAft>
              <a:defRPr/>
            </a:pPr>
            <a:r>
              <a:rPr lang="en-US" sz="800" dirty="0">
                <a:solidFill>
                  <a:schemeClr val="accent1"/>
                </a:solidFill>
                <a:latin typeface="Arial"/>
                <a:cs typeface="Arial"/>
              </a:rPr>
              <a:t>Commercial model</a:t>
            </a:r>
          </a:p>
        </p:txBody>
      </p:sp>
      <p:sp>
        <p:nvSpPr>
          <p:cNvPr id="1279" name="TextBox 1278">
            <a:extLst>
              <a:ext uri="{FF2B5EF4-FFF2-40B4-BE49-F238E27FC236}">
                <a16:creationId xmlns:a16="http://schemas.microsoft.com/office/drawing/2014/main" id="{97C23569-A8BC-4960-C288-F2D2BDC3D24B}"/>
              </a:ext>
            </a:extLst>
          </p:cNvPr>
          <p:cNvSpPr txBox="1"/>
          <p:nvPr/>
        </p:nvSpPr>
        <p:spPr>
          <a:xfrm>
            <a:off x="2779961" y="5859807"/>
            <a:ext cx="626403" cy="355276"/>
          </a:xfrm>
          <a:prstGeom prst="rect">
            <a:avLst/>
          </a:prstGeom>
          <a:noFill/>
        </p:spPr>
        <p:txBody>
          <a:bodyPr wrap="square" lIns="0" tIns="0" rIns="0" bIns="108000" rtlCol="0">
            <a:spAutoFit/>
          </a:bodyPr>
          <a:lstStyle/>
          <a:p>
            <a:pPr lvl="0" algn="ctr" defTabSz="893218" fontAlgn="auto">
              <a:spcBef>
                <a:spcPts val="0"/>
              </a:spcBef>
              <a:spcAft>
                <a:spcPts val="0"/>
              </a:spcAft>
              <a:defRPr/>
            </a:pPr>
            <a:r>
              <a:rPr lang="en-US" sz="800" dirty="0">
                <a:solidFill>
                  <a:schemeClr val="accent2">
                    <a:lumMod val="75000"/>
                  </a:schemeClr>
                </a:solidFill>
                <a:latin typeface="Arial"/>
                <a:cs typeface="Arial"/>
              </a:rPr>
              <a:t>Partner ecosystem</a:t>
            </a:r>
          </a:p>
        </p:txBody>
      </p:sp>
      <p:sp>
        <p:nvSpPr>
          <p:cNvPr id="1280" name="Freeform 1279">
            <a:extLst>
              <a:ext uri="{FF2B5EF4-FFF2-40B4-BE49-F238E27FC236}">
                <a16:creationId xmlns:a16="http://schemas.microsoft.com/office/drawing/2014/main" id="{A206F8D4-A496-1892-C6EE-FBA151E335C9}"/>
              </a:ext>
            </a:extLst>
          </p:cNvPr>
          <p:cNvSpPr/>
          <p:nvPr/>
        </p:nvSpPr>
        <p:spPr bwMode="auto">
          <a:xfrm>
            <a:off x="4939717" y="5283061"/>
            <a:ext cx="0" cy="134779"/>
          </a:xfrm>
          <a:custGeom>
            <a:avLst/>
            <a:gdLst>
              <a:gd name="connsiteX0" fmla="*/ 0 w 0"/>
              <a:gd name="connsiteY0" fmla="*/ 262646 h 262646"/>
              <a:gd name="connsiteX1" fmla="*/ 0 w 0"/>
              <a:gd name="connsiteY1" fmla="*/ 0 h 262646"/>
            </a:gdLst>
            <a:ahLst/>
            <a:cxnLst>
              <a:cxn ang="0">
                <a:pos x="connsiteX0" y="connsiteY0"/>
              </a:cxn>
              <a:cxn ang="0">
                <a:pos x="connsiteX1" y="connsiteY1"/>
              </a:cxn>
            </a:cxnLst>
            <a:rect l="l" t="t" r="r" b="b"/>
            <a:pathLst>
              <a:path h="262646">
                <a:moveTo>
                  <a:pt x="0" y="262646"/>
                </a:moveTo>
                <a:lnTo>
                  <a:pt x="0" y="0"/>
                </a:lnTo>
              </a:path>
            </a:pathLst>
          </a:custGeom>
          <a:noFill/>
          <a:ln w="6350" cap="flat" cmpd="sng" algn="ctr">
            <a:solidFill>
              <a:schemeClr val="bg1">
                <a:lumMod val="65000"/>
              </a:schemeClr>
            </a:solidFill>
            <a:prstDash val="dash"/>
            <a:round/>
            <a:headEnd type="triangl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
        <p:nvSpPr>
          <p:cNvPr id="1281" name="Freeform 1280">
            <a:extLst>
              <a:ext uri="{FF2B5EF4-FFF2-40B4-BE49-F238E27FC236}">
                <a16:creationId xmlns:a16="http://schemas.microsoft.com/office/drawing/2014/main" id="{25792A20-D69D-0F82-CE88-93AE80480085}"/>
              </a:ext>
            </a:extLst>
          </p:cNvPr>
          <p:cNvSpPr/>
          <p:nvPr/>
        </p:nvSpPr>
        <p:spPr bwMode="auto">
          <a:xfrm>
            <a:off x="1246608" y="5278486"/>
            <a:ext cx="0" cy="134779"/>
          </a:xfrm>
          <a:custGeom>
            <a:avLst/>
            <a:gdLst>
              <a:gd name="connsiteX0" fmla="*/ 0 w 0"/>
              <a:gd name="connsiteY0" fmla="*/ 262646 h 262646"/>
              <a:gd name="connsiteX1" fmla="*/ 0 w 0"/>
              <a:gd name="connsiteY1" fmla="*/ 0 h 262646"/>
            </a:gdLst>
            <a:ahLst/>
            <a:cxnLst>
              <a:cxn ang="0">
                <a:pos x="connsiteX0" y="connsiteY0"/>
              </a:cxn>
              <a:cxn ang="0">
                <a:pos x="connsiteX1" y="connsiteY1"/>
              </a:cxn>
            </a:cxnLst>
            <a:rect l="l" t="t" r="r" b="b"/>
            <a:pathLst>
              <a:path h="262646">
                <a:moveTo>
                  <a:pt x="0" y="262646"/>
                </a:moveTo>
                <a:lnTo>
                  <a:pt x="0" y="0"/>
                </a:lnTo>
              </a:path>
            </a:pathLst>
          </a:custGeom>
          <a:noFill/>
          <a:ln w="6350" cap="flat" cmpd="sng" algn="ctr">
            <a:solidFill>
              <a:schemeClr val="bg1">
                <a:lumMod val="65000"/>
              </a:schemeClr>
            </a:solidFill>
            <a:prstDash val="dash"/>
            <a:round/>
            <a:headEnd type="triangl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
        <p:nvSpPr>
          <p:cNvPr id="1282" name="Freeform 1281">
            <a:extLst>
              <a:ext uri="{FF2B5EF4-FFF2-40B4-BE49-F238E27FC236}">
                <a16:creationId xmlns:a16="http://schemas.microsoft.com/office/drawing/2014/main" id="{6F0DD17F-DF1D-2713-A235-CE70BBAC59BD}"/>
              </a:ext>
            </a:extLst>
          </p:cNvPr>
          <p:cNvSpPr/>
          <p:nvPr/>
        </p:nvSpPr>
        <p:spPr bwMode="auto">
          <a:xfrm>
            <a:off x="2169885" y="5283061"/>
            <a:ext cx="0" cy="134779"/>
          </a:xfrm>
          <a:custGeom>
            <a:avLst/>
            <a:gdLst>
              <a:gd name="connsiteX0" fmla="*/ 0 w 0"/>
              <a:gd name="connsiteY0" fmla="*/ 262646 h 262646"/>
              <a:gd name="connsiteX1" fmla="*/ 0 w 0"/>
              <a:gd name="connsiteY1" fmla="*/ 0 h 262646"/>
            </a:gdLst>
            <a:ahLst/>
            <a:cxnLst>
              <a:cxn ang="0">
                <a:pos x="connsiteX0" y="connsiteY0"/>
              </a:cxn>
              <a:cxn ang="0">
                <a:pos x="connsiteX1" y="connsiteY1"/>
              </a:cxn>
            </a:cxnLst>
            <a:rect l="l" t="t" r="r" b="b"/>
            <a:pathLst>
              <a:path h="262646">
                <a:moveTo>
                  <a:pt x="0" y="262646"/>
                </a:moveTo>
                <a:lnTo>
                  <a:pt x="0" y="0"/>
                </a:lnTo>
              </a:path>
            </a:pathLst>
          </a:custGeom>
          <a:noFill/>
          <a:ln w="6350" cap="flat" cmpd="sng" algn="ctr">
            <a:solidFill>
              <a:schemeClr val="bg1">
                <a:lumMod val="65000"/>
              </a:schemeClr>
            </a:solidFill>
            <a:prstDash val="dash"/>
            <a:round/>
            <a:headEnd type="triangl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
        <p:nvSpPr>
          <p:cNvPr id="1283" name="Freeform 1282">
            <a:extLst>
              <a:ext uri="{FF2B5EF4-FFF2-40B4-BE49-F238E27FC236}">
                <a16:creationId xmlns:a16="http://schemas.microsoft.com/office/drawing/2014/main" id="{F46F7BE3-3651-CBE4-7DE5-D8111D74000B}"/>
              </a:ext>
            </a:extLst>
          </p:cNvPr>
          <p:cNvSpPr/>
          <p:nvPr/>
        </p:nvSpPr>
        <p:spPr bwMode="auto">
          <a:xfrm>
            <a:off x="3093163" y="5283061"/>
            <a:ext cx="0" cy="134779"/>
          </a:xfrm>
          <a:custGeom>
            <a:avLst/>
            <a:gdLst>
              <a:gd name="connsiteX0" fmla="*/ 0 w 0"/>
              <a:gd name="connsiteY0" fmla="*/ 262646 h 262646"/>
              <a:gd name="connsiteX1" fmla="*/ 0 w 0"/>
              <a:gd name="connsiteY1" fmla="*/ 0 h 262646"/>
            </a:gdLst>
            <a:ahLst/>
            <a:cxnLst>
              <a:cxn ang="0">
                <a:pos x="connsiteX0" y="connsiteY0"/>
              </a:cxn>
              <a:cxn ang="0">
                <a:pos x="connsiteX1" y="connsiteY1"/>
              </a:cxn>
            </a:cxnLst>
            <a:rect l="l" t="t" r="r" b="b"/>
            <a:pathLst>
              <a:path h="262646">
                <a:moveTo>
                  <a:pt x="0" y="262646"/>
                </a:moveTo>
                <a:lnTo>
                  <a:pt x="0" y="0"/>
                </a:lnTo>
              </a:path>
            </a:pathLst>
          </a:custGeom>
          <a:noFill/>
          <a:ln w="6350" cap="flat" cmpd="sng" algn="ctr">
            <a:solidFill>
              <a:schemeClr val="bg1">
                <a:lumMod val="65000"/>
              </a:schemeClr>
            </a:solidFill>
            <a:prstDash val="dash"/>
            <a:round/>
            <a:headEnd type="triangl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
        <p:nvSpPr>
          <p:cNvPr id="1284" name="Freeform 1283">
            <a:extLst>
              <a:ext uri="{FF2B5EF4-FFF2-40B4-BE49-F238E27FC236}">
                <a16:creationId xmlns:a16="http://schemas.microsoft.com/office/drawing/2014/main" id="{8813C05A-F9E6-B355-66E5-6ADB9C154EE2}"/>
              </a:ext>
            </a:extLst>
          </p:cNvPr>
          <p:cNvSpPr/>
          <p:nvPr/>
        </p:nvSpPr>
        <p:spPr bwMode="auto">
          <a:xfrm>
            <a:off x="4019875" y="5283061"/>
            <a:ext cx="0" cy="134779"/>
          </a:xfrm>
          <a:custGeom>
            <a:avLst/>
            <a:gdLst>
              <a:gd name="connsiteX0" fmla="*/ 0 w 0"/>
              <a:gd name="connsiteY0" fmla="*/ 262646 h 262646"/>
              <a:gd name="connsiteX1" fmla="*/ 0 w 0"/>
              <a:gd name="connsiteY1" fmla="*/ 0 h 262646"/>
            </a:gdLst>
            <a:ahLst/>
            <a:cxnLst>
              <a:cxn ang="0">
                <a:pos x="connsiteX0" y="connsiteY0"/>
              </a:cxn>
              <a:cxn ang="0">
                <a:pos x="connsiteX1" y="connsiteY1"/>
              </a:cxn>
            </a:cxnLst>
            <a:rect l="l" t="t" r="r" b="b"/>
            <a:pathLst>
              <a:path h="262646">
                <a:moveTo>
                  <a:pt x="0" y="262646"/>
                </a:moveTo>
                <a:lnTo>
                  <a:pt x="0" y="0"/>
                </a:lnTo>
              </a:path>
            </a:pathLst>
          </a:custGeom>
          <a:noFill/>
          <a:ln w="6350" cap="flat" cmpd="sng" algn="ctr">
            <a:solidFill>
              <a:schemeClr val="bg1">
                <a:lumMod val="65000"/>
              </a:schemeClr>
            </a:solidFill>
            <a:prstDash val="dash"/>
            <a:round/>
            <a:headEnd type="triangl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cxnSp>
        <p:nvCxnSpPr>
          <p:cNvPr id="1285" name="Straight Connector 1284">
            <a:extLst>
              <a:ext uri="{FF2B5EF4-FFF2-40B4-BE49-F238E27FC236}">
                <a16:creationId xmlns:a16="http://schemas.microsoft.com/office/drawing/2014/main" id="{2A969470-00F3-60EB-CECC-02B9B0BB1796}"/>
              </a:ext>
            </a:extLst>
          </p:cNvPr>
          <p:cNvCxnSpPr>
            <a:cxnSpLocks/>
            <a:stCxn id="1281" idx="1"/>
            <a:endCxn id="1280" idx="1"/>
          </p:cNvCxnSpPr>
          <p:nvPr/>
        </p:nvCxnSpPr>
        <p:spPr bwMode="auto">
          <a:xfrm>
            <a:off x="1246608" y="5278486"/>
            <a:ext cx="3693109" cy="4575"/>
          </a:xfrm>
          <a:prstGeom prst="line">
            <a:avLst/>
          </a:prstGeom>
          <a:noFill/>
          <a:ln w="6350" cap="flat" cmpd="sng" algn="ctr">
            <a:solidFill>
              <a:schemeClr val="bg1">
                <a:lumMod val="65000"/>
              </a:schemeClr>
            </a:solidFill>
            <a:prstDash val="dash"/>
            <a:round/>
            <a:headEnd type="none" w="med" len="med"/>
            <a:tailEnd type="none" w="med" len="med"/>
          </a:ln>
          <a:effectLst/>
        </p:spPr>
      </p:cxnSp>
      <p:grpSp>
        <p:nvGrpSpPr>
          <p:cNvPr id="1286" name="Group 1285">
            <a:extLst>
              <a:ext uri="{FF2B5EF4-FFF2-40B4-BE49-F238E27FC236}">
                <a16:creationId xmlns:a16="http://schemas.microsoft.com/office/drawing/2014/main" id="{3EF802AC-4AE9-F2A1-2155-864E229E83C1}"/>
              </a:ext>
            </a:extLst>
          </p:cNvPr>
          <p:cNvGrpSpPr>
            <a:grpSpLocks/>
          </p:cNvGrpSpPr>
          <p:nvPr/>
        </p:nvGrpSpPr>
        <p:grpSpPr>
          <a:xfrm>
            <a:off x="1099172" y="5526119"/>
            <a:ext cx="294871" cy="287391"/>
            <a:chOff x="3066754" y="3077957"/>
            <a:chExt cx="571501" cy="571500"/>
          </a:xfrm>
          <a:solidFill>
            <a:schemeClr val="accent5"/>
          </a:solidFill>
        </p:grpSpPr>
        <p:sp>
          <p:nvSpPr>
            <p:cNvPr id="1287" name="Graphic 5663">
              <a:extLst>
                <a:ext uri="{FF2B5EF4-FFF2-40B4-BE49-F238E27FC236}">
                  <a16:creationId xmlns:a16="http://schemas.microsoft.com/office/drawing/2014/main" id="{DF2780F3-023F-6DDD-8903-4D25AB0100CD}"/>
                </a:ext>
              </a:extLst>
            </p:cNvPr>
            <p:cNvSpPr/>
            <p:nvPr/>
          </p:nvSpPr>
          <p:spPr>
            <a:xfrm>
              <a:off x="3066754" y="3077957"/>
              <a:ext cx="571500" cy="476250"/>
            </a:xfrm>
            <a:custGeom>
              <a:avLst/>
              <a:gdLst>
                <a:gd name="connsiteX0" fmla="*/ 561975 w 571500"/>
                <a:gd name="connsiteY0" fmla="*/ 0 h 476250"/>
                <a:gd name="connsiteX1" fmla="*/ 104775 w 571500"/>
                <a:gd name="connsiteY1" fmla="*/ 0 h 476250"/>
                <a:gd name="connsiteX2" fmla="*/ 95250 w 571500"/>
                <a:gd name="connsiteY2" fmla="*/ 9525 h 476250"/>
                <a:gd name="connsiteX3" fmla="*/ 95250 w 571500"/>
                <a:gd name="connsiteY3" fmla="*/ 134207 h 476250"/>
                <a:gd name="connsiteX4" fmla="*/ 29375 w 571500"/>
                <a:gd name="connsiteY4" fmla="*/ 180871 h 476250"/>
                <a:gd name="connsiteX5" fmla="*/ 54340 w 571500"/>
                <a:gd name="connsiteY5" fmla="*/ 238211 h 476250"/>
                <a:gd name="connsiteX6" fmla="*/ 0 w 571500"/>
                <a:gd name="connsiteY6" fmla="*/ 294123 h 476250"/>
                <a:gd name="connsiteX7" fmla="*/ 0 w 571500"/>
                <a:gd name="connsiteY7" fmla="*/ 371742 h 476250"/>
                <a:gd name="connsiteX8" fmla="*/ 5363 w 571500"/>
                <a:gd name="connsiteY8" fmla="*/ 380314 h 476250"/>
                <a:gd name="connsiteX9" fmla="*/ 19050 w 571500"/>
                <a:gd name="connsiteY9" fmla="*/ 386982 h 476250"/>
                <a:gd name="connsiteX10" fmla="*/ 19050 w 571500"/>
                <a:gd name="connsiteY10" fmla="*/ 466725 h 476250"/>
                <a:gd name="connsiteX11" fmla="*/ 28575 w 571500"/>
                <a:gd name="connsiteY11" fmla="*/ 476250 h 476250"/>
                <a:gd name="connsiteX12" fmla="*/ 142875 w 571500"/>
                <a:gd name="connsiteY12" fmla="*/ 476250 h 476250"/>
                <a:gd name="connsiteX13" fmla="*/ 152400 w 571500"/>
                <a:gd name="connsiteY13" fmla="*/ 466725 h 476250"/>
                <a:gd name="connsiteX14" fmla="*/ 152400 w 571500"/>
                <a:gd name="connsiteY14" fmla="*/ 386963 h 476250"/>
                <a:gd name="connsiteX15" fmla="*/ 166087 w 571500"/>
                <a:gd name="connsiteY15" fmla="*/ 380295 h 476250"/>
                <a:gd name="connsiteX16" fmla="*/ 171450 w 571500"/>
                <a:gd name="connsiteY16" fmla="*/ 371723 h 476250"/>
                <a:gd name="connsiteX17" fmla="*/ 171450 w 571500"/>
                <a:gd name="connsiteY17" fmla="*/ 323850 h 476250"/>
                <a:gd name="connsiteX18" fmla="*/ 561975 w 571500"/>
                <a:gd name="connsiteY18" fmla="*/ 323850 h 476250"/>
                <a:gd name="connsiteX19" fmla="*/ 571500 w 571500"/>
                <a:gd name="connsiteY19" fmla="*/ 314325 h 476250"/>
                <a:gd name="connsiteX20" fmla="*/ 571500 w 571500"/>
                <a:gd name="connsiteY20" fmla="*/ 9525 h 476250"/>
                <a:gd name="connsiteX21" fmla="*/ 561975 w 571500"/>
                <a:gd name="connsiteY21" fmla="*/ 0 h 476250"/>
                <a:gd name="connsiteX22" fmla="*/ 47625 w 571500"/>
                <a:gd name="connsiteY22" fmla="*/ 190500 h 476250"/>
                <a:gd name="connsiteX23" fmla="*/ 85725 w 571500"/>
                <a:gd name="connsiteY23" fmla="*/ 152400 h 476250"/>
                <a:gd name="connsiteX24" fmla="*/ 123825 w 571500"/>
                <a:gd name="connsiteY24" fmla="*/ 190500 h 476250"/>
                <a:gd name="connsiteX25" fmla="*/ 85725 w 571500"/>
                <a:gd name="connsiteY25" fmla="*/ 228600 h 476250"/>
                <a:gd name="connsiteX26" fmla="*/ 47625 w 571500"/>
                <a:gd name="connsiteY26" fmla="*/ 190500 h 476250"/>
                <a:gd name="connsiteX27" fmla="*/ 157163 w 571500"/>
                <a:gd name="connsiteY27" fmla="*/ 293570 h 476250"/>
                <a:gd name="connsiteX28" fmla="*/ 152400 w 571500"/>
                <a:gd name="connsiteY28" fmla="*/ 301809 h 476250"/>
                <a:gd name="connsiteX29" fmla="*/ 152400 w 571500"/>
                <a:gd name="connsiteY29" fmla="*/ 365760 h 476250"/>
                <a:gd name="connsiteX30" fmla="*/ 138713 w 571500"/>
                <a:gd name="connsiteY30" fmla="*/ 372428 h 476250"/>
                <a:gd name="connsiteX31" fmla="*/ 133350 w 571500"/>
                <a:gd name="connsiteY31" fmla="*/ 381000 h 476250"/>
                <a:gd name="connsiteX32" fmla="*/ 133350 w 571500"/>
                <a:gd name="connsiteY32" fmla="*/ 457200 h 476250"/>
                <a:gd name="connsiteX33" fmla="*/ 38100 w 571500"/>
                <a:gd name="connsiteY33" fmla="*/ 457200 h 476250"/>
                <a:gd name="connsiteX34" fmla="*/ 38100 w 571500"/>
                <a:gd name="connsiteY34" fmla="*/ 381000 h 476250"/>
                <a:gd name="connsiteX35" fmla="*/ 32737 w 571500"/>
                <a:gd name="connsiteY35" fmla="*/ 372428 h 476250"/>
                <a:gd name="connsiteX36" fmla="*/ 19050 w 571500"/>
                <a:gd name="connsiteY36" fmla="*/ 365760 h 476250"/>
                <a:gd name="connsiteX37" fmla="*/ 19050 w 571500"/>
                <a:gd name="connsiteY37" fmla="*/ 294123 h 476250"/>
                <a:gd name="connsiteX38" fmla="*/ 55997 w 571500"/>
                <a:gd name="connsiteY38" fmla="*/ 257175 h 476250"/>
                <a:gd name="connsiteX39" fmla="*/ 152400 w 571500"/>
                <a:gd name="connsiteY39" fmla="*/ 257175 h 476250"/>
                <a:gd name="connsiteX40" fmla="*/ 156343 w 571500"/>
                <a:gd name="connsiteY40" fmla="*/ 256318 h 476250"/>
                <a:gd name="connsiteX41" fmla="*/ 230372 w 571500"/>
                <a:gd name="connsiteY41" fmla="*/ 222666 h 476250"/>
                <a:gd name="connsiteX42" fmla="*/ 246555 w 571500"/>
                <a:gd name="connsiteY42" fmla="*/ 228733 h 476250"/>
                <a:gd name="connsiteX43" fmla="*/ 247650 w 571500"/>
                <a:gd name="connsiteY43" fmla="*/ 233791 h 476250"/>
                <a:gd name="connsiteX44" fmla="*/ 241573 w 571500"/>
                <a:gd name="connsiteY44" fmla="*/ 244345 h 476250"/>
                <a:gd name="connsiteX45" fmla="*/ 552450 w 571500"/>
                <a:gd name="connsiteY45" fmla="*/ 304800 h 476250"/>
                <a:gd name="connsiteX46" fmla="*/ 175698 w 571500"/>
                <a:gd name="connsiteY46" fmla="*/ 304800 h 476250"/>
                <a:gd name="connsiteX47" fmla="*/ 251174 w 571500"/>
                <a:gd name="connsiteY47" fmla="*/ 260814 h 476250"/>
                <a:gd name="connsiteX48" fmla="*/ 262446 w 571500"/>
                <a:gd name="connsiteY48" fmla="*/ 218051 h 476250"/>
                <a:gd name="connsiteX49" fmla="*/ 222485 w 571500"/>
                <a:gd name="connsiteY49" fmla="*/ 205330 h 476250"/>
                <a:gd name="connsiteX50" fmla="*/ 150333 w 571500"/>
                <a:gd name="connsiteY50" fmla="*/ 238125 h 476250"/>
                <a:gd name="connsiteX51" fmla="*/ 117253 w 571500"/>
                <a:gd name="connsiteY51" fmla="*/ 238125 h 476250"/>
                <a:gd name="connsiteX52" fmla="*/ 133437 w 571500"/>
                <a:gd name="connsiteY52" fmla="*/ 159091 h 476250"/>
                <a:gd name="connsiteX53" fmla="*/ 114300 w 571500"/>
                <a:gd name="connsiteY53" fmla="*/ 141084 h 476250"/>
                <a:gd name="connsiteX54" fmla="*/ 114300 w 571500"/>
                <a:gd name="connsiteY54" fmla="*/ 19050 h 476250"/>
                <a:gd name="connsiteX55" fmla="*/ 552450 w 571500"/>
                <a:gd name="connsiteY55" fmla="*/ 1905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71500" h="476250">
                  <a:moveTo>
                    <a:pt x="561975" y="0"/>
                  </a:moveTo>
                  <a:lnTo>
                    <a:pt x="104775" y="0"/>
                  </a:lnTo>
                  <a:cubicBezTo>
                    <a:pt x="99514" y="0"/>
                    <a:pt x="95250" y="4265"/>
                    <a:pt x="95250" y="9525"/>
                  </a:cubicBezTo>
                  <a:lnTo>
                    <a:pt x="95250" y="134207"/>
                  </a:lnTo>
                  <a:cubicBezTo>
                    <a:pt x="64173" y="128902"/>
                    <a:pt x="34680" y="149794"/>
                    <a:pt x="29375" y="180871"/>
                  </a:cubicBezTo>
                  <a:cubicBezTo>
                    <a:pt x="25555" y="203248"/>
                    <a:pt x="35357" y="225762"/>
                    <a:pt x="54340" y="238211"/>
                  </a:cubicBezTo>
                  <a:cubicBezTo>
                    <a:pt x="24102" y="239121"/>
                    <a:pt x="48" y="263871"/>
                    <a:pt x="0" y="294123"/>
                  </a:cubicBezTo>
                  <a:lnTo>
                    <a:pt x="0" y="371742"/>
                  </a:lnTo>
                  <a:cubicBezTo>
                    <a:pt x="-2" y="375391"/>
                    <a:pt x="2081" y="378720"/>
                    <a:pt x="5363" y="380314"/>
                  </a:cubicBezTo>
                  <a:lnTo>
                    <a:pt x="19050" y="386982"/>
                  </a:lnTo>
                  <a:lnTo>
                    <a:pt x="19050" y="466725"/>
                  </a:lnTo>
                  <a:cubicBezTo>
                    <a:pt x="19050" y="471986"/>
                    <a:pt x="23315" y="476250"/>
                    <a:pt x="28575" y="476250"/>
                  </a:cubicBezTo>
                  <a:lnTo>
                    <a:pt x="142875" y="476250"/>
                  </a:lnTo>
                  <a:cubicBezTo>
                    <a:pt x="148136" y="476250"/>
                    <a:pt x="152400" y="471986"/>
                    <a:pt x="152400" y="466725"/>
                  </a:cubicBezTo>
                  <a:lnTo>
                    <a:pt x="152400" y="386963"/>
                  </a:lnTo>
                  <a:lnTo>
                    <a:pt x="166087" y="380295"/>
                  </a:lnTo>
                  <a:cubicBezTo>
                    <a:pt x="169370" y="378701"/>
                    <a:pt x="171452" y="375372"/>
                    <a:pt x="171450" y="371723"/>
                  </a:cubicBezTo>
                  <a:lnTo>
                    <a:pt x="171450" y="323850"/>
                  </a:lnTo>
                  <a:lnTo>
                    <a:pt x="561975" y="323850"/>
                  </a:lnTo>
                  <a:cubicBezTo>
                    <a:pt x="567236" y="323850"/>
                    <a:pt x="571500" y="319586"/>
                    <a:pt x="571500" y="314325"/>
                  </a:cubicBezTo>
                  <a:lnTo>
                    <a:pt x="571500" y="9525"/>
                  </a:lnTo>
                  <a:cubicBezTo>
                    <a:pt x="571500" y="4265"/>
                    <a:pt x="567236" y="0"/>
                    <a:pt x="561975" y="0"/>
                  </a:cubicBezTo>
                  <a:close/>
                  <a:moveTo>
                    <a:pt x="47625" y="190500"/>
                  </a:moveTo>
                  <a:cubicBezTo>
                    <a:pt x="47625" y="169458"/>
                    <a:pt x="64683" y="152400"/>
                    <a:pt x="85725" y="152400"/>
                  </a:cubicBezTo>
                  <a:cubicBezTo>
                    <a:pt x="106767" y="152400"/>
                    <a:pt x="123825" y="169458"/>
                    <a:pt x="123825" y="190500"/>
                  </a:cubicBezTo>
                  <a:cubicBezTo>
                    <a:pt x="123825" y="211542"/>
                    <a:pt x="106767" y="228600"/>
                    <a:pt x="85725" y="228600"/>
                  </a:cubicBezTo>
                  <a:cubicBezTo>
                    <a:pt x="64683" y="228600"/>
                    <a:pt x="47625" y="211542"/>
                    <a:pt x="47625" y="190500"/>
                  </a:cubicBezTo>
                  <a:close/>
                  <a:moveTo>
                    <a:pt x="157163" y="293570"/>
                  </a:moveTo>
                  <a:cubicBezTo>
                    <a:pt x="154218" y="295269"/>
                    <a:pt x="152404" y="298410"/>
                    <a:pt x="152400" y="301809"/>
                  </a:cubicBezTo>
                  <a:lnTo>
                    <a:pt x="152400" y="365760"/>
                  </a:lnTo>
                  <a:lnTo>
                    <a:pt x="138713" y="372428"/>
                  </a:lnTo>
                  <a:cubicBezTo>
                    <a:pt x="135430" y="374022"/>
                    <a:pt x="133348" y="377351"/>
                    <a:pt x="133350" y="381000"/>
                  </a:cubicBezTo>
                  <a:lnTo>
                    <a:pt x="133350" y="457200"/>
                  </a:lnTo>
                  <a:lnTo>
                    <a:pt x="38100" y="457200"/>
                  </a:lnTo>
                  <a:lnTo>
                    <a:pt x="38100" y="381000"/>
                  </a:lnTo>
                  <a:cubicBezTo>
                    <a:pt x="38102" y="377351"/>
                    <a:pt x="36019" y="374022"/>
                    <a:pt x="32737" y="372428"/>
                  </a:cubicBezTo>
                  <a:lnTo>
                    <a:pt x="19050" y="365760"/>
                  </a:lnTo>
                  <a:lnTo>
                    <a:pt x="19050" y="294123"/>
                  </a:lnTo>
                  <a:cubicBezTo>
                    <a:pt x="19071" y="273726"/>
                    <a:pt x="35601" y="257196"/>
                    <a:pt x="55997" y="257175"/>
                  </a:cubicBezTo>
                  <a:lnTo>
                    <a:pt x="152400" y="257175"/>
                  </a:lnTo>
                  <a:cubicBezTo>
                    <a:pt x="153761" y="257179"/>
                    <a:pt x="155107" y="256885"/>
                    <a:pt x="156343" y="256318"/>
                  </a:cubicBezTo>
                  <a:lnTo>
                    <a:pt x="230372" y="222666"/>
                  </a:lnTo>
                  <a:cubicBezTo>
                    <a:pt x="236515" y="219872"/>
                    <a:pt x="243761" y="222589"/>
                    <a:pt x="246555" y="228733"/>
                  </a:cubicBezTo>
                  <a:cubicBezTo>
                    <a:pt x="247277" y="230321"/>
                    <a:pt x="247650" y="232046"/>
                    <a:pt x="247650" y="233791"/>
                  </a:cubicBezTo>
                  <a:cubicBezTo>
                    <a:pt x="247644" y="238139"/>
                    <a:pt x="245331" y="242157"/>
                    <a:pt x="241573" y="244345"/>
                  </a:cubicBezTo>
                  <a:close/>
                  <a:moveTo>
                    <a:pt x="552450" y="304800"/>
                  </a:moveTo>
                  <a:lnTo>
                    <a:pt x="175698" y="304800"/>
                  </a:lnTo>
                  <a:lnTo>
                    <a:pt x="251174" y="260814"/>
                  </a:lnTo>
                  <a:cubicBezTo>
                    <a:pt x="266095" y="252118"/>
                    <a:pt x="271142" y="232972"/>
                    <a:pt x="262446" y="218051"/>
                  </a:cubicBezTo>
                  <a:cubicBezTo>
                    <a:pt x="254365" y="204184"/>
                    <a:pt x="237096" y="198687"/>
                    <a:pt x="222485" y="205330"/>
                  </a:cubicBezTo>
                  <a:lnTo>
                    <a:pt x="150333" y="238125"/>
                  </a:lnTo>
                  <a:lnTo>
                    <a:pt x="117253" y="238125"/>
                  </a:lnTo>
                  <a:cubicBezTo>
                    <a:pt x="143547" y="220770"/>
                    <a:pt x="150792" y="185385"/>
                    <a:pt x="133437" y="159091"/>
                  </a:cubicBezTo>
                  <a:cubicBezTo>
                    <a:pt x="128546" y="151681"/>
                    <a:pt x="121993" y="145515"/>
                    <a:pt x="114300" y="141084"/>
                  </a:cubicBezTo>
                  <a:lnTo>
                    <a:pt x="114300" y="19050"/>
                  </a:lnTo>
                  <a:lnTo>
                    <a:pt x="552450" y="19050"/>
                  </a:lnTo>
                  <a:close/>
                </a:path>
              </a:pathLst>
            </a:custGeom>
            <a:grpFill/>
            <a:ln w="9525" cap="flat">
              <a:noFill/>
              <a:prstDash val="solid"/>
              <a:miter/>
            </a:ln>
          </p:spPr>
          <p:txBody>
            <a:bodyPr rtlCol="0" anchor="ctr"/>
            <a:lstStyle/>
            <a:p>
              <a:endParaRPr lang="en-US" sz="800"/>
            </a:p>
          </p:txBody>
        </p:sp>
        <p:sp>
          <p:nvSpPr>
            <p:cNvPr id="1288" name="Graphic 5663">
              <a:extLst>
                <a:ext uri="{FF2B5EF4-FFF2-40B4-BE49-F238E27FC236}">
                  <a16:creationId xmlns:a16="http://schemas.microsoft.com/office/drawing/2014/main" id="{367F3FDE-8F87-FEBB-8A98-5DDAEA7BF629}"/>
                </a:ext>
              </a:extLst>
            </p:cNvPr>
            <p:cNvSpPr/>
            <p:nvPr/>
          </p:nvSpPr>
          <p:spPr>
            <a:xfrm>
              <a:off x="3428705" y="3144632"/>
              <a:ext cx="171450" cy="19050"/>
            </a:xfrm>
            <a:custGeom>
              <a:avLst/>
              <a:gdLst>
                <a:gd name="connsiteX0" fmla="*/ 0 w 171450"/>
                <a:gd name="connsiteY0" fmla="*/ 0 h 19050"/>
                <a:gd name="connsiteX1" fmla="*/ 171450 w 171450"/>
                <a:gd name="connsiteY1" fmla="*/ 0 h 19050"/>
                <a:gd name="connsiteX2" fmla="*/ 171450 w 171450"/>
                <a:gd name="connsiteY2" fmla="*/ 19050 h 19050"/>
                <a:gd name="connsiteX3" fmla="*/ 0 w 1714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71450" h="19050">
                  <a:moveTo>
                    <a:pt x="0" y="0"/>
                  </a:moveTo>
                  <a:lnTo>
                    <a:pt x="171450" y="0"/>
                  </a:lnTo>
                  <a:lnTo>
                    <a:pt x="171450" y="19050"/>
                  </a:lnTo>
                  <a:lnTo>
                    <a:pt x="0" y="19050"/>
                  </a:lnTo>
                  <a:close/>
                </a:path>
              </a:pathLst>
            </a:custGeom>
            <a:grpFill/>
            <a:ln w="9525" cap="flat">
              <a:noFill/>
              <a:prstDash val="solid"/>
              <a:miter/>
            </a:ln>
          </p:spPr>
          <p:txBody>
            <a:bodyPr rtlCol="0" anchor="ctr"/>
            <a:lstStyle/>
            <a:p>
              <a:endParaRPr lang="en-US" sz="800"/>
            </a:p>
          </p:txBody>
        </p:sp>
        <p:sp>
          <p:nvSpPr>
            <p:cNvPr id="1289" name="Graphic 5663">
              <a:extLst>
                <a:ext uri="{FF2B5EF4-FFF2-40B4-BE49-F238E27FC236}">
                  <a16:creationId xmlns:a16="http://schemas.microsoft.com/office/drawing/2014/main" id="{95125F98-00F7-B3E2-4245-028F391C24D4}"/>
                </a:ext>
              </a:extLst>
            </p:cNvPr>
            <p:cNvSpPr/>
            <p:nvPr/>
          </p:nvSpPr>
          <p:spPr>
            <a:xfrm>
              <a:off x="3352505" y="3201782"/>
              <a:ext cx="247650" cy="19050"/>
            </a:xfrm>
            <a:custGeom>
              <a:avLst/>
              <a:gdLst>
                <a:gd name="connsiteX0" fmla="*/ 0 w 247650"/>
                <a:gd name="connsiteY0" fmla="*/ 0 h 19050"/>
                <a:gd name="connsiteX1" fmla="*/ 247650 w 247650"/>
                <a:gd name="connsiteY1" fmla="*/ 0 h 19050"/>
                <a:gd name="connsiteX2" fmla="*/ 247650 w 247650"/>
                <a:gd name="connsiteY2" fmla="*/ 19050 h 19050"/>
                <a:gd name="connsiteX3" fmla="*/ 0 w 2476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47650" h="19050">
                  <a:moveTo>
                    <a:pt x="0" y="0"/>
                  </a:moveTo>
                  <a:lnTo>
                    <a:pt x="247650" y="0"/>
                  </a:lnTo>
                  <a:lnTo>
                    <a:pt x="247650" y="19050"/>
                  </a:lnTo>
                  <a:lnTo>
                    <a:pt x="0" y="19050"/>
                  </a:lnTo>
                  <a:close/>
                </a:path>
              </a:pathLst>
            </a:custGeom>
            <a:grpFill/>
            <a:ln w="9525" cap="flat">
              <a:noFill/>
              <a:prstDash val="solid"/>
              <a:miter/>
            </a:ln>
          </p:spPr>
          <p:txBody>
            <a:bodyPr rtlCol="0" anchor="ctr"/>
            <a:lstStyle/>
            <a:p>
              <a:endParaRPr lang="en-US" sz="800"/>
            </a:p>
          </p:txBody>
        </p:sp>
        <p:sp>
          <p:nvSpPr>
            <p:cNvPr id="1290" name="Graphic 5663">
              <a:extLst>
                <a:ext uri="{FF2B5EF4-FFF2-40B4-BE49-F238E27FC236}">
                  <a16:creationId xmlns:a16="http://schemas.microsoft.com/office/drawing/2014/main" id="{CF072865-8F27-9600-F5CE-A0E0C609E8DE}"/>
                </a:ext>
              </a:extLst>
            </p:cNvPr>
            <p:cNvSpPr/>
            <p:nvPr/>
          </p:nvSpPr>
          <p:spPr>
            <a:xfrm>
              <a:off x="3352505" y="3268457"/>
              <a:ext cx="247650" cy="19050"/>
            </a:xfrm>
            <a:custGeom>
              <a:avLst/>
              <a:gdLst>
                <a:gd name="connsiteX0" fmla="*/ 0 w 247650"/>
                <a:gd name="connsiteY0" fmla="*/ 0 h 19050"/>
                <a:gd name="connsiteX1" fmla="*/ 247650 w 247650"/>
                <a:gd name="connsiteY1" fmla="*/ 0 h 19050"/>
                <a:gd name="connsiteX2" fmla="*/ 247650 w 247650"/>
                <a:gd name="connsiteY2" fmla="*/ 19050 h 19050"/>
                <a:gd name="connsiteX3" fmla="*/ 0 w 2476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47650" h="19050">
                  <a:moveTo>
                    <a:pt x="0" y="0"/>
                  </a:moveTo>
                  <a:lnTo>
                    <a:pt x="247650" y="0"/>
                  </a:lnTo>
                  <a:lnTo>
                    <a:pt x="247650" y="19050"/>
                  </a:lnTo>
                  <a:lnTo>
                    <a:pt x="0" y="19050"/>
                  </a:lnTo>
                  <a:close/>
                </a:path>
              </a:pathLst>
            </a:custGeom>
            <a:grpFill/>
            <a:ln w="9525" cap="flat">
              <a:noFill/>
              <a:prstDash val="solid"/>
              <a:miter/>
            </a:ln>
          </p:spPr>
          <p:txBody>
            <a:bodyPr rtlCol="0" anchor="ctr"/>
            <a:lstStyle/>
            <a:p>
              <a:endParaRPr lang="en-US" sz="800"/>
            </a:p>
          </p:txBody>
        </p:sp>
        <p:sp>
          <p:nvSpPr>
            <p:cNvPr id="1291" name="Graphic 5663">
              <a:extLst>
                <a:ext uri="{FF2B5EF4-FFF2-40B4-BE49-F238E27FC236}">
                  <a16:creationId xmlns:a16="http://schemas.microsoft.com/office/drawing/2014/main" id="{26C0B0A6-5059-0BA0-4985-4D6828137853}"/>
                </a:ext>
              </a:extLst>
            </p:cNvPr>
            <p:cNvSpPr/>
            <p:nvPr/>
          </p:nvSpPr>
          <p:spPr>
            <a:xfrm>
              <a:off x="3352505" y="3335132"/>
              <a:ext cx="247650" cy="19050"/>
            </a:xfrm>
            <a:custGeom>
              <a:avLst/>
              <a:gdLst>
                <a:gd name="connsiteX0" fmla="*/ 0 w 247650"/>
                <a:gd name="connsiteY0" fmla="*/ 0 h 19050"/>
                <a:gd name="connsiteX1" fmla="*/ 247650 w 247650"/>
                <a:gd name="connsiteY1" fmla="*/ 0 h 19050"/>
                <a:gd name="connsiteX2" fmla="*/ 247650 w 247650"/>
                <a:gd name="connsiteY2" fmla="*/ 19050 h 19050"/>
                <a:gd name="connsiteX3" fmla="*/ 0 w 2476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247650" h="19050">
                  <a:moveTo>
                    <a:pt x="0" y="0"/>
                  </a:moveTo>
                  <a:lnTo>
                    <a:pt x="247650" y="0"/>
                  </a:lnTo>
                  <a:lnTo>
                    <a:pt x="247650" y="19050"/>
                  </a:lnTo>
                  <a:lnTo>
                    <a:pt x="0" y="19050"/>
                  </a:lnTo>
                  <a:close/>
                </a:path>
              </a:pathLst>
            </a:custGeom>
            <a:grpFill/>
            <a:ln w="9525" cap="flat">
              <a:noFill/>
              <a:prstDash val="solid"/>
              <a:miter/>
            </a:ln>
          </p:spPr>
          <p:txBody>
            <a:bodyPr rtlCol="0" anchor="ctr"/>
            <a:lstStyle/>
            <a:p>
              <a:endParaRPr lang="en-US" sz="800"/>
            </a:p>
          </p:txBody>
        </p:sp>
        <p:sp>
          <p:nvSpPr>
            <p:cNvPr id="1292" name="Graphic 5663">
              <a:extLst>
                <a:ext uri="{FF2B5EF4-FFF2-40B4-BE49-F238E27FC236}">
                  <a16:creationId xmlns:a16="http://schemas.microsoft.com/office/drawing/2014/main" id="{C8AE7E08-276C-D0BA-367C-7A9A546FBA33}"/>
                </a:ext>
              </a:extLst>
            </p:cNvPr>
            <p:cNvSpPr/>
            <p:nvPr/>
          </p:nvSpPr>
          <p:spPr>
            <a:xfrm>
              <a:off x="3238205" y="3478007"/>
              <a:ext cx="190500" cy="171450"/>
            </a:xfrm>
            <a:custGeom>
              <a:avLst/>
              <a:gdLst>
                <a:gd name="connsiteX0" fmla="*/ 0 w 190500"/>
                <a:gd name="connsiteY0" fmla="*/ 150495 h 171450"/>
                <a:gd name="connsiteX1" fmla="*/ 0 w 190500"/>
                <a:gd name="connsiteY1" fmla="*/ 161925 h 171450"/>
                <a:gd name="connsiteX2" fmla="*/ 9525 w 190500"/>
                <a:gd name="connsiteY2" fmla="*/ 171450 h 171450"/>
                <a:gd name="connsiteX3" fmla="*/ 180975 w 190500"/>
                <a:gd name="connsiteY3" fmla="*/ 171450 h 171450"/>
                <a:gd name="connsiteX4" fmla="*/ 190500 w 190500"/>
                <a:gd name="connsiteY4" fmla="*/ 161925 h 171450"/>
                <a:gd name="connsiteX5" fmla="*/ 190500 w 190500"/>
                <a:gd name="connsiteY5" fmla="*/ 150495 h 171450"/>
                <a:gd name="connsiteX6" fmla="*/ 131731 w 190500"/>
                <a:gd name="connsiteY6" fmla="*/ 77829 h 171450"/>
                <a:gd name="connsiteX7" fmla="*/ 142875 w 190500"/>
                <a:gd name="connsiteY7" fmla="*/ 47625 h 171450"/>
                <a:gd name="connsiteX8" fmla="*/ 95250 w 190500"/>
                <a:gd name="connsiteY8" fmla="*/ 0 h 171450"/>
                <a:gd name="connsiteX9" fmla="*/ 47625 w 190500"/>
                <a:gd name="connsiteY9" fmla="*/ 47625 h 171450"/>
                <a:gd name="connsiteX10" fmla="*/ 58769 w 190500"/>
                <a:gd name="connsiteY10" fmla="*/ 77867 h 171450"/>
                <a:gd name="connsiteX11" fmla="*/ 0 w 190500"/>
                <a:gd name="connsiteY11" fmla="*/ 150495 h 171450"/>
                <a:gd name="connsiteX12" fmla="*/ 95250 w 190500"/>
                <a:gd name="connsiteY12" fmla="*/ 19050 h 171450"/>
                <a:gd name="connsiteX13" fmla="*/ 123825 w 190500"/>
                <a:gd name="connsiteY13" fmla="*/ 47625 h 171450"/>
                <a:gd name="connsiteX14" fmla="*/ 95250 w 190500"/>
                <a:gd name="connsiteY14" fmla="*/ 76200 h 171450"/>
                <a:gd name="connsiteX15" fmla="*/ 66675 w 190500"/>
                <a:gd name="connsiteY15" fmla="*/ 47625 h 171450"/>
                <a:gd name="connsiteX16" fmla="*/ 95250 w 190500"/>
                <a:gd name="connsiteY16" fmla="*/ 19050 h 171450"/>
                <a:gd name="connsiteX17" fmla="*/ 74295 w 190500"/>
                <a:gd name="connsiteY17" fmla="*/ 95250 h 171450"/>
                <a:gd name="connsiteX18" fmla="*/ 116205 w 190500"/>
                <a:gd name="connsiteY18" fmla="*/ 95250 h 171450"/>
                <a:gd name="connsiteX19" fmla="*/ 171450 w 190500"/>
                <a:gd name="connsiteY19" fmla="*/ 150495 h 171450"/>
                <a:gd name="connsiteX20" fmla="*/ 171450 w 190500"/>
                <a:gd name="connsiteY20" fmla="*/ 152400 h 171450"/>
                <a:gd name="connsiteX21" fmla="*/ 19050 w 190500"/>
                <a:gd name="connsiteY21" fmla="*/ 152400 h 171450"/>
                <a:gd name="connsiteX22" fmla="*/ 19050 w 190500"/>
                <a:gd name="connsiteY22" fmla="*/ 150495 h 171450"/>
                <a:gd name="connsiteX23" fmla="*/ 74295 w 190500"/>
                <a:gd name="connsiteY23" fmla="*/ 952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0500" h="171450">
                  <a:moveTo>
                    <a:pt x="0" y="150495"/>
                  </a:moveTo>
                  <a:lnTo>
                    <a:pt x="0" y="161925"/>
                  </a:lnTo>
                  <a:cubicBezTo>
                    <a:pt x="0" y="167186"/>
                    <a:pt x="4264" y="171450"/>
                    <a:pt x="9525" y="171450"/>
                  </a:cubicBezTo>
                  <a:lnTo>
                    <a:pt x="180975" y="171450"/>
                  </a:lnTo>
                  <a:cubicBezTo>
                    <a:pt x="186236" y="171450"/>
                    <a:pt x="190500" y="167186"/>
                    <a:pt x="190500" y="161925"/>
                  </a:cubicBezTo>
                  <a:lnTo>
                    <a:pt x="190500" y="150495"/>
                  </a:lnTo>
                  <a:cubicBezTo>
                    <a:pt x="190451" y="115461"/>
                    <a:pt x="165980" y="85203"/>
                    <a:pt x="131731" y="77829"/>
                  </a:cubicBezTo>
                  <a:cubicBezTo>
                    <a:pt x="138871" y="69378"/>
                    <a:pt x="142815" y="58688"/>
                    <a:pt x="142875" y="47625"/>
                  </a:cubicBezTo>
                  <a:cubicBezTo>
                    <a:pt x="142875" y="21323"/>
                    <a:pt x="121552" y="0"/>
                    <a:pt x="95250" y="0"/>
                  </a:cubicBezTo>
                  <a:cubicBezTo>
                    <a:pt x="68948" y="0"/>
                    <a:pt x="47625" y="21323"/>
                    <a:pt x="47625" y="47625"/>
                  </a:cubicBezTo>
                  <a:cubicBezTo>
                    <a:pt x="47676" y="58701"/>
                    <a:pt x="51621" y="69406"/>
                    <a:pt x="58769" y="77867"/>
                  </a:cubicBezTo>
                  <a:cubicBezTo>
                    <a:pt x="24534" y="85238"/>
                    <a:pt x="67" y="115475"/>
                    <a:pt x="0" y="150495"/>
                  </a:cubicBezTo>
                  <a:close/>
                  <a:moveTo>
                    <a:pt x="95250" y="19050"/>
                  </a:moveTo>
                  <a:cubicBezTo>
                    <a:pt x="111032" y="19050"/>
                    <a:pt x="123825" y="31843"/>
                    <a:pt x="123825" y="47625"/>
                  </a:cubicBezTo>
                  <a:cubicBezTo>
                    <a:pt x="123825" y="63407"/>
                    <a:pt x="111032" y="76200"/>
                    <a:pt x="95250" y="76200"/>
                  </a:cubicBezTo>
                  <a:cubicBezTo>
                    <a:pt x="79468" y="76200"/>
                    <a:pt x="66675" y="63407"/>
                    <a:pt x="66675" y="47625"/>
                  </a:cubicBezTo>
                  <a:cubicBezTo>
                    <a:pt x="66675" y="31843"/>
                    <a:pt x="79468" y="19050"/>
                    <a:pt x="95250" y="19050"/>
                  </a:cubicBezTo>
                  <a:close/>
                  <a:moveTo>
                    <a:pt x="74295" y="95250"/>
                  </a:moveTo>
                  <a:lnTo>
                    <a:pt x="116205" y="95250"/>
                  </a:lnTo>
                  <a:cubicBezTo>
                    <a:pt x="146692" y="95308"/>
                    <a:pt x="171392" y="120008"/>
                    <a:pt x="171450" y="150495"/>
                  </a:cubicBezTo>
                  <a:lnTo>
                    <a:pt x="171450" y="152400"/>
                  </a:lnTo>
                  <a:lnTo>
                    <a:pt x="19050" y="152400"/>
                  </a:lnTo>
                  <a:lnTo>
                    <a:pt x="19050" y="150495"/>
                  </a:lnTo>
                  <a:cubicBezTo>
                    <a:pt x="19108" y="120008"/>
                    <a:pt x="43808" y="95308"/>
                    <a:pt x="74295" y="95250"/>
                  </a:cubicBezTo>
                  <a:close/>
                </a:path>
              </a:pathLst>
            </a:custGeom>
            <a:grpFill/>
            <a:ln w="9525" cap="flat">
              <a:noFill/>
              <a:prstDash val="solid"/>
              <a:miter/>
            </a:ln>
          </p:spPr>
          <p:txBody>
            <a:bodyPr rtlCol="0" anchor="ctr"/>
            <a:lstStyle/>
            <a:p>
              <a:endParaRPr lang="en-US" sz="800"/>
            </a:p>
          </p:txBody>
        </p:sp>
        <p:sp>
          <p:nvSpPr>
            <p:cNvPr id="1293" name="Graphic 5663">
              <a:extLst>
                <a:ext uri="{FF2B5EF4-FFF2-40B4-BE49-F238E27FC236}">
                  <a16:creationId xmlns:a16="http://schemas.microsoft.com/office/drawing/2014/main" id="{5A7D77BB-221C-D327-4341-BB868C2BA092}"/>
                </a:ext>
              </a:extLst>
            </p:cNvPr>
            <p:cNvSpPr/>
            <p:nvPr/>
          </p:nvSpPr>
          <p:spPr>
            <a:xfrm>
              <a:off x="3447755" y="3478007"/>
              <a:ext cx="190500" cy="171450"/>
            </a:xfrm>
            <a:custGeom>
              <a:avLst/>
              <a:gdLst>
                <a:gd name="connsiteX0" fmla="*/ 131731 w 190500"/>
                <a:gd name="connsiteY0" fmla="*/ 77867 h 171450"/>
                <a:gd name="connsiteX1" fmla="*/ 142875 w 190500"/>
                <a:gd name="connsiteY1" fmla="*/ 47625 h 171450"/>
                <a:gd name="connsiteX2" fmla="*/ 95250 w 190500"/>
                <a:gd name="connsiteY2" fmla="*/ 0 h 171450"/>
                <a:gd name="connsiteX3" fmla="*/ 47625 w 190500"/>
                <a:gd name="connsiteY3" fmla="*/ 47625 h 171450"/>
                <a:gd name="connsiteX4" fmla="*/ 58769 w 190500"/>
                <a:gd name="connsiteY4" fmla="*/ 77867 h 171450"/>
                <a:gd name="connsiteX5" fmla="*/ 0 w 190500"/>
                <a:gd name="connsiteY5" fmla="*/ 150495 h 171450"/>
                <a:gd name="connsiteX6" fmla="*/ 0 w 190500"/>
                <a:gd name="connsiteY6" fmla="*/ 161925 h 171450"/>
                <a:gd name="connsiteX7" fmla="*/ 9525 w 190500"/>
                <a:gd name="connsiteY7" fmla="*/ 171450 h 171450"/>
                <a:gd name="connsiteX8" fmla="*/ 180975 w 190500"/>
                <a:gd name="connsiteY8" fmla="*/ 171450 h 171450"/>
                <a:gd name="connsiteX9" fmla="*/ 190500 w 190500"/>
                <a:gd name="connsiteY9" fmla="*/ 161925 h 171450"/>
                <a:gd name="connsiteX10" fmla="*/ 190500 w 190500"/>
                <a:gd name="connsiteY10" fmla="*/ 150495 h 171450"/>
                <a:gd name="connsiteX11" fmla="*/ 131731 w 190500"/>
                <a:gd name="connsiteY11" fmla="*/ 77867 h 171450"/>
                <a:gd name="connsiteX12" fmla="*/ 95250 w 190500"/>
                <a:gd name="connsiteY12" fmla="*/ 19050 h 171450"/>
                <a:gd name="connsiteX13" fmla="*/ 123825 w 190500"/>
                <a:gd name="connsiteY13" fmla="*/ 47625 h 171450"/>
                <a:gd name="connsiteX14" fmla="*/ 95250 w 190500"/>
                <a:gd name="connsiteY14" fmla="*/ 76200 h 171450"/>
                <a:gd name="connsiteX15" fmla="*/ 66675 w 190500"/>
                <a:gd name="connsiteY15" fmla="*/ 47625 h 171450"/>
                <a:gd name="connsiteX16" fmla="*/ 95250 w 190500"/>
                <a:gd name="connsiteY16" fmla="*/ 19050 h 171450"/>
                <a:gd name="connsiteX17" fmla="*/ 171450 w 190500"/>
                <a:gd name="connsiteY17" fmla="*/ 152400 h 171450"/>
                <a:gd name="connsiteX18" fmla="*/ 19050 w 190500"/>
                <a:gd name="connsiteY18" fmla="*/ 152400 h 171450"/>
                <a:gd name="connsiteX19" fmla="*/ 19050 w 190500"/>
                <a:gd name="connsiteY19" fmla="*/ 150495 h 171450"/>
                <a:gd name="connsiteX20" fmla="*/ 74295 w 190500"/>
                <a:gd name="connsiteY20" fmla="*/ 95250 h 171450"/>
                <a:gd name="connsiteX21" fmla="*/ 116205 w 190500"/>
                <a:gd name="connsiteY21" fmla="*/ 95250 h 171450"/>
                <a:gd name="connsiteX22" fmla="*/ 171450 w 190500"/>
                <a:gd name="connsiteY22" fmla="*/ 15049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0500" h="171450">
                  <a:moveTo>
                    <a:pt x="131731" y="77867"/>
                  </a:moveTo>
                  <a:cubicBezTo>
                    <a:pt x="138879" y="69406"/>
                    <a:pt x="142824" y="58701"/>
                    <a:pt x="142875" y="47625"/>
                  </a:cubicBezTo>
                  <a:cubicBezTo>
                    <a:pt x="142875" y="21323"/>
                    <a:pt x="121552" y="0"/>
                    <a:pt x="95250" y="0"/>
                  </a:cubicBezTo>
                  <a:cubicBezTo>
                    <a:pt x="68948" y="0"/>
                    <a:pt x="47625" y="21323"/>
                    <a:pt x="47625" y="47625"/>
                  </a:cubicBezTo>
                  <a:cubicBezTo>
                    <a:pt x="47676" y="58701"/>
                    <a:pt x="51621" y="69406"/>
                    <a:pt x="58769" y="77867"/>
                  </a:cubicBezTo>
                  <a:cubicBezTo>
                    <a:pt x="24535" y="85238"/>
                    <a:pt x="67" y="115475"/>
                    <a:pt x="0" y="150495"/>
                  </a:cubicBezTo>
                  <a:lnTo>
                    <a:pt x="0" y="161925"/>
                  </a:lnTo>
                  <a:cubicBezTo>
                    <a:pt x="0" y="167186"/>
                    <a:pt x="4264" y="171450"/>
                    <a:pt x="9525" y="171450"/>
                  </a:cubicBezTo>
                  <a:lnTo>
                    <a:pt x="180975" y="171450"/>
                  </a:lnTo>
                  <a:cubicBezTo>
                    <a:pt x="186236" y="171450"/>
                    <a:pt x="190500" y="167186"/>
                    <a:pt x="190500" y="161925"/>
                  </a:cubicBezTo>
                  <a:lnTo>
                    <a:pt x="190500" y="150495"/>
                  </a:lnTo>
                  <a:cubicBezTo>
                    <a:pt x="190433" y="115475"/>
                    <a:pt x="165965" y="85238"/>
                    <a:pt x="131731" y="77867"/>
                  </a:cubicBezTo>
                  <a:close/>
                  <a:moveTo>
                    <a:pt x="95250" y="19050"/>
                  </a:moveTo>
                  <a:cubicBezTo>
                    <a:pt x="111032" y="19050"/>
                    <a:pt x="123825" y="31843"/>
                    <a:pt x="123825" y="47625"/>
                  </a:cubicBezTo>
                  <a:cubicBezTo>
                    <a:pt x="123825" y="63407"/>
                    <a:pt x="111032" y="76200"/>
                    <a:pt x="95250" y="76200"/>
                  </a:cubicBezTo>
                  <a:cubicBezTo>
                    <a:pt x="79468" y="76200"/>
                    <a:pt x="66675" y="63407"/>
                    <a:pt x="66675" y="47625"/>
                  </a:cubicBezTo>
                  <a:cubicBezTo>
                    <a:pt x="66675" y="31843"/>
                    <a:pt x="79468" y="19050"/>
                    <a:pt x="95250" y="19050"/>
                  </a:cubicBezTo>
                  <a:close/>
                  <a:moveTo>
                    <a:pt x="171450" y="152400"/>
                  </a:moveTo>
                  <a:lnTo>
                    <a:pt x="19050" y="152400"/>
                  </a:lnTo>
                  <a:lnTo>
                    <a:pt x="19050" y="150495"/>
                  </a:lnTo>
                  <a:cubicBezTo>
                    <a:pt x="19108" y="120008"/>
                    <a:pt x="43808" y="95308"/>
                    <a:pt x="74295" y="95250"/>
                  </a:cubicBezTo>
                  <a:lnTo>
                    <a:pt x="116205" y="95250"/>
                  </a:lnTo>
                  <a:cubicBezTo>
                    <a:pt x="146692" y="95308"/>
                    <a:pt x="171392" y="120008"/>
                    <a:pt x="171450" y="150495"/>
                  </a:cubicBezTo>
                  <a:close/>
                </a:path>
              </a:pathLst>
            </a:custGeom>
            <a:grpFill/>
            <a:ln w="9525" cap="flat">
              <a:noFill/>
              <a:prstDash val="solid"/>
              <a:miter/>
            </a:ln>
          </p:spPr>
          <p:txBody>
            <a:bodyPr rtlCol="0" anchor="ctr"/>
            <a:lstStyle/>
            <a:p>
              <a:endParaRPr lang="en-US" sz="800"/>
            </a:p>
          </p:txBody>
        </p:sp>
      </p:grpSp>
      <p:sp>
        <p:nvSpPr>
          <p:cNvPr id="1294" name="Graphic 94">
            <a:extLst>
              <a:ext uri="{FF2B5EF4-FFF2-40B4-BE49-F238E27FC236}">
                <a16:creationId xmlns:a16="http://schemas.microsoft.com/office/drawing/2014/main" id="{84275281-79F7-F9DC-2B0C-13C0F460248D}"/>
              </a:ext>
            </a:extLst>
          </p:cNvPr>
          <p:cNvSpPr/>
          <p:nvPr/>
        </p:nvSpPr>
        <p:spPr>
          <a:xfrm>
            <a:off x="2950571" y="5572278"/>
            <a:ext cx="285184" cy="195071"/>
          </a:xfrm>
          <a:custGeom>
            <a:avLst/>
            <a:gdLst>
              <a:gd name="connsiteX0" fmla="*/ 604084 w 616412"/>
              <a:gd name="connsiteY0" fmla="*/ 128 h 421637"/>
              <a:gd name="connsiteX1" fmla="*/ 529591 w 616412"/>
              <a:gd name="connsiteY1" fmla="*/ 128 h 421637"/>
              <a:gd name="connsiteX2" fmla="*/ 517263 w 616412"/>
              <a:gd name="connsiteY2" fmla="*/ 12401 h 421637"/>
              <a:gd name="connsiteX3" fmla="*/ 517263 w 616412"/>
              <a:gd name="connsiteY3" fmla="*/ 31863 h 421637"/>
              <a:gd name="connsiteX4" fmla="*/ 417240 w 616412"/>
              <a:gd name="connsiteY4" fmla="*/ 15314 h 421637"/>
              <a:gd name="connsiteX5" fmla="*/ 255089 w 616412"/>
              <a:gd name="connsiteY5" fmla="*/ 24584 h 421637"/>
              <a:gd name="connsiteX6" fmla="*/ 247911 w 616412"/>
              <a:gd name="connsiteY6" fmla="*/ 31321 h 421637"/>
              <a:gd name="connsiteX7" fmla="*/ 99156 w 616412"/>
              <a:gd name="connsiteY7" fmla="*/ 31321 h 421637"/>
              <a:gd name="connsiteX8" fmla="*/ 99156 w 616412"/>
              <a:gd name="connsiteY8" fmla="*/ 12401 h 421637"/>
              <a:gd name="connsiteX9" fmla="*/ 86828 w 616412"/>
              <a:gd name="connsiteY9" fmla="*/ 128 h 421637"/>
              <a:gd name="connsiteX10" fmla="*/ 12328 w 616412"/>
              <a:gd name="connsiteY10" fmla="*/ 128 h 421637"/>
              <a:gd name="connsiteX11" fmla="*/ 0 w 616412"/>
              <a:gd name="connsiteY11" fmla="*/ 12401 h 421637"/>
              <a:gd name="connsiteX12" fmla="*/ 0 w 616412"/>
              <a:gd name="connsiteY12" fmla="*/ 269658 h 421637"/>
              <a:gd name="connsiteX13" fmla="*/ 12328 w 616412"/>
              <a:gd name="connsiteY13" fmla="*/ 281931 h 421637"/>
              <a:gd name="connsiteX14" fmla="*/ 86828 w 616412"/>
              <a:gd name="connsiteY14" fmla="*/ 281931 h 421637"/>
              <a:gd name="connsiteX15" fmla="*/ 98222 w 616412"/>
              <a:gd name="connsiteY15" fmla="*/ 274265 h 421637"/>
              <a:gd name="connsiteX16" fmla="*/ 240455 w 616412"/>
              <a:gd name="connsiteY16" fmla="*/ 400183 h 421637"/>
              <a:gd name="connsiteX17" fmla="*/ 295197 w 616412"/>
              <a:gd name="connsiteY17" fmla="*/ 421637 h 421637"/>
              <a:gd name="connsiteX18" fmla="*/ 301121 w 616412"/>
              <a:gd name="connsiteY18" fmla="*/ 421398 h 421637"/>
              <a:gd name="connsiteX19" fmla="*/ 334599 w 616412"/>
              <a:gd name="connsiteY19" fmla="*/ 406314 h 421637"/>
              <a:gd name="connsiteX20" fmla="*/ 365947 w 616412"/>
              <a:gd name="connsiteY20" fmla="*/ 417479 h 421637"/>
              <a:gd name="connsiteX21" fmla="*/ 378016 w 616412"/>
              <a:gd name="connsiteY21" fmla="*/ 415902 h 421637"/>
              <a:gd name="connsiteX22" fmla="*/ 403981 w 616412"/>
              <a:gd name="connsiteY22" fmla="*/ 391970 h 421637"/>
              <a:gd name="connsiteX23" fmla="*/ 428576 w 616412"/>
              <a:gd name="connsiteY23" fmla="*/ 400123 h 421637"/>
              <a:gd name="connsiteX24" fmla="*/ 459968 w 616412"/>
              <a:gd name="connsiteY24" fmla="*/ 386010 h 421637"/>
              <a:gd name="connsiteX25" fmla="*/ 470272 w 616412"/>
              <a:gd name="connsiteY25" fmla="*/ 360752 h 421637"/>
              <a:gd name="connsiteX26" fmla="*/ 495110 w 616412"/>
              <a:gd name="connsiteY26" fmla="*/ 349957 h 421637"/>
              <a:gd name="connsiteX27" fmla="*/ 501426 w 616412"/>
              <a:gd name="connsiteY27" fmla="*/ 290028 h 421637"/>
              <a:gd name="connsiteX28" fmla="*/ 500369 w 616412"/>
              <a:gd name="connsiteY28" fmla="*/ 288529 h 421637"/>
              <a:gd name="connsiteX29" fmla="*/ 516077 w 616412"/>
              <a:gd name="connsiteY29" fmla="*/ 271510 h 421637"/>
              <a:gd name="connsiteX30" fmla="*/ 517324 w 616412"/>
              <a:gd name="connsiteY30" fmla="*/ 269962 h 421637"/>
              <a:gd name="connsiteX31" fmla="*/ 529591 w 616412"/>
              <a:gd name="connsiteY31" fmla="*/ 281931 h 421637"/>
              <a:gd name="connsiteX32" fmla="*/ 604084 w 616412"/>
              <a:gd name="connsiteY32" fmla="*/ 281931 h 421637"/>
              <a:gd name="connsiteX33" fmla="*/ 616413 w 616412"/>
              <a:gd name="connsiteY33" fmla="*/ 269658 h 421637"/>
              <a:gd name="connsiteX34" fmla="*/ 616413 w 616412"/>
              <a:gd name="connsiteY34" fmla="*/ 12401 h 421637"/>
              <a:gd name="connsiteX35" fmla="*/ 604084 w 616412"/>
              <a:gd name="connsiteY35" fmla="*/ 128 h 421637"/>
              <a:gd name="connsiteX36" fmla="*/ 74500 w 616412"/>
              <a:gd name="connsiteY36" fmla="*/ 257384 h 421637"/>
              <a:gd name="connsiteX37" fmla="*/ 24657 w 616412"/>
              <a:gd name="connsiteY37" fmla="*/ 257384 h 421637"/>
              <a:gd name="connsiteX38" fmla="*/ 24657 w 616412"/>
              <a:gd name="connsiteY38" fmla="*/ 24675 h 421637"/>
              <a:gd name="connsiteX39" fmla="*/ 74500 w 616412"/>
              <a:gd name="connsiteY39" fmla="*/ 24675 h 421637"/>
              <a:gd name="connsiteX40" fmla="*/ 74500 w 616412"/>
              <a:gd name="connsiteY40" fmla="*/ 257384 h 421637"/>
              <a:gd name="connsiteX41" fmla="*/ 477220 w 616412"/>
              <a:gd name="connsiteY41" fmla="*/ 333062 h 421637"/>
              <a:gd name="connsiteX42" fmla="*/ 463645 w 616412"/>
              <a:gd name="connsiteY42" fmla="*/ 335510 h 421637"/>
              <a:gd name="connsiteX43" fmla="*/ 456741 w 616412"/>
              <a:gd name="connsiteY43" fmla="*/ 327183 h 421637"/>
              <a:gd name="connsiteX44" fmla="*/ 360927 w 616412"/>
              <a:gd name="connsiteY44" fmla="*/ 240946 h 421637"/>
              <a:gd name="connsiteX45" fmla="*/ 343518 w 616412"/>
              <a:gd name="connsiteY45" fmla="*/ 241820 h 421637"/>
              <a:gd name="connsiteX46" fmla="*/ 344396 w 616412"/>
              <a:gd name="connsiteY46" fmla="*/ 259152 h 421637"/>
              <a:gd name="connsiteX47" fmla="*/ 440205 w 616412"/>
              <a:gd name="connsiteY47" fmla="*/ 345390 h 421637"/>
              <a:gd name="connsiteX48" fmla="*/ 441535 w 616412"/>
              <a:gd name="connsiteY48" fmla="*/ 369703 h 421637"/>
              <a:gd name="connsiteX49" fmla="*/ 417433 w 616412"/>
              <a:gd name="connsiteY49" fmla="*/ 371495 h 421637"/>
              <a:gd name="connsiteX50" fmla="*/ 319728 w 616412"/>
              <a:gd name="connsiteY50" fmla="*/ 290363 h 421637"/>
              <a:gd name="connsiteX51" fmla="*/ 302361 w 616412"/>
              <a:gd name="connsiteY51" fmla="*/ 291928 h 421637"/>
              <a:gd name="connsiteX52" fmla="*/ 303932 w 616412"/>
              <a:gd name="connsiteY52" fmla="*/ 309217 h 421637"/>
              <a:gd name="connsiteX53" fmla="*/ 381739 w 616412"/>
              <a:gd name="connsiteY53" fmla="*/ 373826 h 421637"/>
              <a:gd name="connsiteX54" fmla="*/ 371635 w 616412"/>
              <a:gd name="connsiteY54" fmla="*/ 392188 h 421637"/>
              <a:gd name="connsiteX55" fmla="*/ 348309 w 616412"/>
              <a:gd name="connsiteY55" fmla="*/ 385998 h 421637"/>
              <a:gd name="connsiteX56" fmla="*/ 271468 w 616412"/>
              <a:gd name="connsiteY56" fmla="*/ 320364 h 421637"/>
              <a:gd name="connsiteX57" fmla="*/ 254084 w 616412"/>
              <a:gd name="connsiteY57" fmla="*/ 321682 h 421637"/>
              <a:gd name="connsiteX58" fmla="*/ 255408 w 616412"/>
              <a:gd name="connsiteY58" fmla="*/ 338989 h 421637"/>
              <a:gd name="connsiteX59" fmla="*/ 315762 w 616412"/>
              <a:gd name="connsiteY59" fmla="*/ 390544 h 421637"/>
              <a:gd name="connsiteX60" fmla="*/ 299123 w 616412"/>
              <a:gd name="connsiteY60" fmla="*/ 396935 h 421637"/>
              <a:gd name="connsiteX61" fmla="*/ 256841 w 616412"/>
              <a:gd name="connsiteY61" fmla="*/ 381844 h 421637"/>
              <a:gd name="connsiteX62" fmla="*/ 99156 w 616412"/>
              <a:gd name="connsiteY62" fmla="*/ 242250 h 421637"/>
              <a:gd name="connsiteX63" fmla="*/ 99156 w 616412"/>
              <a:gd name="connsiteY63" fmla="*/ 55868 h 421637"/>
              <a:gd name="connsiteX64" fmla="*/ 223308 w 616412"/>
              <a:gd name="connsiteY64" fmla="*/ 55868 h 421637"/>
              <a:gd name="connsiteX65" fmla="*/ 193268 w 616412"/>
              <a:gd name="connsiteY65" fmla="*/ 87437 h 421637"/>
              <a:gd name="connsiteX66" fmla="*/ 193984 w 616412"/>
              <a:gd name="connsiteY66" fmla="*/ 157429 h 421637"/>
              <a:gd name="connsiteX67" fmla="*/ 263654 w 616412"/>
              <a:gd name="connsiteY67" fmla="*/ 160959 h 421637"/>
              <a:gd name="connsiteX68" fmla="*/ 313636 w 616412"/>
              <a:gd name="connsiteY68" fmla="*/ 119014 h 421637"/>
              <a:gd name="connsiteX69" fmla="*/ 480572 w 616412"/>
              <a:gd name="connsiteY69" fmla="*/ 303122 h 421637"/>
              <a:gd name="connsiteX70" fmla="*/ 477220 w 616412"/>
              <a:gd name="connsiteY70" fmla="*/ 333062 h 421637"/>
              <a:gd name="connsiteX71" fmla="*/ 517263 w 616412"/>
              <a:gd name="connsiteY71" fmla="*/ 236248 h 421637"/>
              <a:gd name="connsiteX72" fmla="*/ 496820 w 616412"/>
              <a:gd name="connsiteY72" fmla="*/ 256180 h 421637"/>
              <a:gd name="connsiteX73" fmla="*/ 484519 w 616412"/>
              <a:gd name="connsiteY73" fmla="*/ 269645 h 421637"/>
              <a:gd name="connsiteX74" fmla="*/ 323748 w 616412"/>
              <a:gd name="connsiteY74" fmla="*/ 93742 h 421637"/>
              <a:gd name="connsiteX75" fmla="*/ 306749 w 616412"/>
              <a:gd name="connsiteY75" fmla="*/ 92688 h 421637"/>
              <a:gd name="connsiteX76" fmla="*/ 247763 w 616412"/>
              <a:gd name="connsiteY76" fmla="*/ 142189 h 421637"/>
              <a:gd name="connsiteX77" fmla="*/ 211706 w 616412"/>
              <a:gd name="connsiteY77" fmla="*/ 140360 h 421637"/>
              <a:gd name="connsiteX78" fmla="*/ 211326 w 616412"/>
              <a:gd name="connsiteY78" fmla="*/ 104151 h 421637"/>
              <a:gd name="connsiteX79" fmla="*/ 258759 w 616412"/>
              <a:gd name="connsiteY79" fmla="*/ 55075 h 421637"/>
              <a:gd name="connsiteX80" fmla="*/ 266294 w 616412"/>
              <a:gd name="connsiteY80" fmla="*/ 47794 h 421637"/>
              <a:gd name="connsiteX81" fmla="*/ 271787 w 616412"/>
              <a:gd name="connsiteY81" fmla="*/ 42640 h 421637"/>
              <a:gd name="connsiteX82" fmla="*/ 406989 w 616412"/>
              <a:gd name="connsiteY82" fmla="*/ 37643 h 421637"/>
              <a:gd name="connsiteX83" fmla="*/ 517263 w 616412"/>
              <a:gd name="connsiteY83" fmla="*/ 56448 h 421637"/>
              <a:gd name="connsiteX84" fmla="*/ 517263 w 616412"/>
              <a:gd name="connsiteY84" fmla="*/ 236248 h 421637"/>
              <a:gd name="connsiteX85" fmla="*/ 591756 w 616412"/>
              <a:gd name="connsiteY85" fmla="*/ 257384 h 421637"/>
              <a:gd name="connsiteX86" fmla="*/ 541919 w 616412"/>
              <a:gd name="connsiteY86" fmla="*/ 257384 h 421637"/>
              <a:gd name="connsiteX87" fmla="*/ 541919 w 616412"/>
              <a:gd name="connsiteY87" fmla="*/ 24675 h 421637"/>
              <a:gd name="connsiteX88" fmla="*/ 591756 w 616412"/>
              <a:gd name="connsiteY88" fmla="*/ 24675 h 421637"/>
              <a:gd name="connsiteX89" fmla="*/ 591756 w 616412"/>
              <a:gd name="connsiteY89" fmla="*/ 257384 h 421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16412" h="421637">
                <a:moveTo>
                  <a:pt x="604084" y="128"/>
                </a:moveTo>
                <a:lnTo>
                  <a:pt x="529591" y="128"/>
                </a:lnTo>
                <a:cubicBezTo>
                  <a:pt x="522783" y="128"/>
                  <a:pt x="517263" y="5623"/>
                  <a:pt x="517263" y="12401"/>
                </a:cubicBezTo>
                <a:lnTo>
                  <a:pt x="517263" y="31863"/>
                </a:lnTo>
                <a:cubicBezTo>
                  <a:pt x="496730" y="32325"/>
                  <a:pt x="452141" y="31199"/>
                  <a:pt x="417240" y="15314"/>
                </a:cubicBezTo>
                <a:cubicBezTo>
                  <a:pt x="365026" y="-8443"/>
                  <a:pt x="286223" y="-3954"/>
                  <a:pt x="255089" y="24584"/>
                </a:cubicBezTo>
                <a:cubicBezTo>
                  <a:pt x="252808" y="26674"/>
                  <a:pt x="250404" y="28935"/>
                  <a:pt x="247911" y="31321"/>
                </a:cubicBezTo>
                <a:lnTo>
                  <a:pt x="99156" y="31321"/>
                </a:lnTo>
                <a:lnTo>
                  <a:pt x="99156" y="12401"/>
                </a:lnTo>
                <a:cubicBezTo>
                  <a:pt x="99156" y="5623"/>
                  <a:pt x="93636" y="128"/>
                  <a:pt x="86828" y="128"/>
                </a:cubicBezTo>
                <a:lnTo>
                  <a:pt x="12328" y="128"/>
                </a:lnTo>
                <a:cubicBezTo>
                  <a:pt x="5520" y="128"/>
                  <a:pt x="0" y="5623"/>
                  <a:pt x="0" y="12401"/>
                </a:cubicBezTo>
                <a:lnTo>
                  <a:pt x="0" y="269658"/>
                </a:lnTo>
                <a:cubicBezTo>
                  <a:pt x="0" y="276436"/>
                  <a:pt x="5520" y="281931"/>
                  <a:pt x="12328" y="281931"/>
                </a:cubicBezTo>
                <a:lnTo>
                  <a:pt x="86828" y="281931"/>
                </a:lnTo>
                <a:cubicBezTo>
                  <a:pt x="91993" y="281931"/>
                  <a:pt x="96387" y="278755"/>
                  <a:pt x="98222" y="274265"/>
                </a:cubicBezTo>
                <a:lnTo>
                  <a:pt x="240455" y="400183"/>
                </a:lnTo>
                <a:cubicBezTo>
                  <a:pt x="256052" y="413991"/>
                  <a:pt x="275713" y="421637"/>
                  <a:pt x="295197" y="421637"/>
                </a:cubicBezTo>
                <a:cubicBezTo>
                  <a:pt x="297172" y="421637"/>
                  <a:pt x="299152" y="421560"/>
                  <a:pt x="301121" y="421398"/>
                </a:cubicBezTo>
                <a:cubicBezTo>
                  <a:pt x="317825" y="420049"/>
                  <a:pt x="328131" y="413565"/>
                  <a:pt x="334599" y="406314"/>
                </a:cubicBezTo>
                <a:cubicBezTo>
                  <a:pt x="343921" y="413501"/>
                  <a:pt x="354925" y="417479"/>
                  <a:pt x="365947" y="417479"/>
                </a:cubicBezTo>
                <a:cubicBezTo>
                  <a:pt x="370004" y="417479"/>
                  <a:pt x="374061" y="416964"/>
                  <a:pt x="378016" y="415902"/>
                </a:cubicBezTo>
                <a:cubicBezTo>
                  <a:pt x="385144" y="414008"/>
                  <a:pt x="398489" y="408133"/>
                  <a:pt x="403981" y="391970"/>
                </a:cubicBezTo>
                <a:cubicBezTo>
                  <a:pt x="411406" y="397341"/>
                  <a:pt x="419984" y="400123"/>
                  <a:pt x="428576" y="400123"/>
                </a:cubicBezTo>
                <a:cubicBezTo>
                  <a:pt x="440144" y="400123"/>
                  <a:pt x="451637" y="395346"/>
                  <a:pt x="459968" y="386010"/>
                </a:cubicBezTo>
                <a:cubicBezTo>
                  <a:pt x="466448" y="378749"/>
                  <a:pt x="469732" y="369807"/>
                  <a:pt x="470272" y="360752"/>
                </a:cubicBezTo>
                <a:cubicBezTo>
                  <a:pt x="479178" y="360335"/>
                  <a:pt x="488292" y="357107"/>
                  <a:pt x="495110" y="349957"/>
                </a:cubicBezTo>
                <a:cubicBezTo>
                  <a:pt x="507379" y="337084"/>
                  <a:pt x="516396" y="313664"/>
                  <a:pt x="501426" y="290028"/>
                </a:cubicBezTo>
                <a:cubicBezTo>
                  <a:pt x="501178" y="289638"/>
                  <a:pt x="500790" y="289101"/>
                  <a:pt x="500369" y="288529"/>
                </a:cubicBezTo>
                <a:cubicBezTo>
                  <a:pt x="506340" y="283541"/>
                  <a:pt x="511403" y="277327"/>
                  <a:pt x="516077" y="271510"/>
                </a:cubicBezTo>
                <a:cubicBezTo>
                  <a:pt x="516476" y="271013"/>
                  <a:pt x="516903" y="270485"/>
                  <a:pt x="517324" y="269962"/>
                </a:cubicBezTo>
                <a:cubicBezTo>
                  <a:pt x="517496" y="276591"/>
                  <a:pt x="522892" y="281931"/>
                  <a:pt x="529591" y="281931"/>
                </a:cubicBezTo>
                <a:lnTo>
                  <a:pt x="604084" y="281931"/>
                </a:lnTo>
                <a:cubicBezTo>
                  <a:pt x="610892" y="281931"/>
                  <a:pt x="616413" y="276436"/>
                  <a:pt x="616413" y="269658"/>
                </a:cubicBezTo>
                <a:lnTo>
                  <a:pt x="616413" y="12401"/>
                </a:lnTo>
                <a:cubicBezTo>
                  <a:pt x="616413" y="5623"/>
                  <a:pt x="610892" y="128"/>
                  <a:pt x="604084" y="128"/>
                </a:cubicBezTo>
                <a:close/>
                <a:moveTo>
                  <a:pt x="74500" y="257384"/>
                </a:moveTo>
                <a:lnTo>
                  <a:pt x="24657" y="257384"/>
                </a:lnTo>
                <a:lnTo>
                  <a:pt x="24657" y="24675"/>
                </a:lnTo>
                <a:lnTo>
                  <a:pt x="74500" y="24675"/>
                </a:lnTo>
                <a:lnTo>
                  <a:pt x="74500" y="257384"/>
                </a:lnTo>
                <a:close/>
                <a:moveTo>
                  <a:pt x="477220" y="333062"/>
                </a:moveTo>
                <a:cubicBezTo>
                  <a:pt x="473621" y="336841"/>
                  <a:pt x="467265" y="336770"/>
                  <a:pt x="463645" y="335510"/>
                </a:cubicBezTo>
                <a:cubicBezTo>
                  <a:pt x="461705" y="332526"/>
                  <a:pt x="459506" y="329672"/>
                  <a:pt x="456741" y="327183"/>
                </a:cubicBezTo>
                <a:lnTo>
                  <a:pt x="360927" y="240946"/>
                </a:lnTo>
                <a:cubicBezTo>
                  <a:pt x="355876" y="236403"/>
                  <a:pt x="348075" y="236787"/>
                  <a:pt x="343518" y="241820"/>
                </a:cubicBezTo>
                <a:cubicBezTo>
                  <a:pt x="338949" y="246849"/>
                  <a:pt x="339346" y="254609"/>
                  <a:pt x="344396" y="259152"/>
                </a:cubicBezTo>
                <a:lnTo>
                  <a:pt x="440205" y="345390"/>
                </a:lnTo>
                <a:cubicBezTo>
                  <a:pt x="447248" y="351730"/>
                  <a:pt x="447845" y="362638"/>
                  <a:pt x="441535" y="369703"/>
                </a:cubicBezTo>
                <a:cubicBezTo>
                  <a:pt x="435275" y="376726"/>
                  <a:pt x="424675" y="377524"/>
                  <a:pt x="417433" y="371495"/>
                </a:cubicBezTo>
                <a:lnTo>
                  <a:pt x="319728" y="290363"/>
                </a:lnTo>
                <a:cubicBezTo>
                  <a:pt x="314508" y="286030"/>
                  <a:pt x="306719" y="286719"/>
                  <a:pt x="302361" y="291928"/>
                </a:cubicBezTo>
                <a:cubicBezTo>
                  <a:pt x="298003" y="297135"/>
                  <a:pt x="298707" y="304871"/>
                  <a:pt x="303932" y="309217"/>
                </a:cubicBezTo>
                <a:lnTo>
                  <a:pt x="381739" y="373826"/>
                </a:lnTo>
                <a:cubicBezTo>
                  <a:pt x="382642" y="389077"/>
                  <a:pt x="375371" y="391202"/>
                  <a:pt x="371635" y="392188"/>
                </a:cubicBezTo>
                <a:cubicBezTo>
                  <a:pt x="364045" y="394244"/>
                  <a:pt x="355124" y="391858"/>
                  <a:pt x="348309" y="385998"/>
                </a:cubicBezTo>
                <a:lnTo>
                  <a:pt x="271468" y="320364"/>
                </a:lnTo>
                <a:cubicBezTo>
                  <a:pt x="266298" y="315947"/>
                  <a:pt x="258520" y="316540"/>
                  <a:pt x="254084" y="321682"/>
                </a:cubicBezTo>
                <a:cubicBezTo>
                  <a:pt x="249647" y="326830"/>
                  <a:pt x="250243" y="334579"/>
                  <a:pt x="255408" y="338989"/>
                </a:cubicBezTo>
                <a:lnTo>
                  <a:pt x="315762" y="390544"/>
                </a:lnTo>
                <a:cubicBezTo>
                  <a:pt x="312866" y="393507"/>
                  <a:pt x="308007" y="396215"/>
                  <a:pt x="299123" y="396935"/>
                </a:cubicBezTo>
                <a:cubicBezTo>
                  <a:pt x="284452" y="398109"/>
                  <a:pt x="269018" y="392625"/>
                  <a:pt x="256841" y="381844"/>
                </a:cubicBezTo>
                <a:lnTo>
                  <a:pt x="99156" y="242250"/>
                </a:lnTo>
                <a:lnTo>
                  <a:pt x="99156" y="55868"/>
                </a:lnTo>
                <a:lnTo>
                  <a:pt x="223308" y="55868"/>
                </a:lnTo>
                <a:cubicBezTo>
                  <a:pt x="212709" y="66760"/>
                  <a:pt x="202130" y="77948"/>
                  <a:pt x="193268" y="87437"/>
                </a:cubicBezTo>
                <a:cubicBezTo>
                  <a:pt x="174775" y="107238"/>
                  <a:pt x="175093" y="137982"/>
                  <a:pt x="193984" y="157429"/>
                </a:cubicBezTo>
                <a:cubicBezTo>
                  <a:pt x="212590" y="176582"/>
                  <a:pt x="243201" y="178122"/>
                  <a:pt x="263654" y="160959"/>
                </a:cubicBezTo>
                <a:lnTo>
                  <a:pt x="313636" y="119014"/>
                </a:lnTo>
                <a:cubicBezTo>
                  <a:pt x="377908" y="188310"/>
                  <a:pt x="473940" y="292922"/>
                  <a:pt x="480572" y="303122"/>
                </a:cubicBezTo>
                <a:cubicBezTo>
                  <a:pt x="489645" y="317450"/>
                  <a:pt x="481253" y="328832"/>
                  <a:pt x="477220" y="333062"/>
                </a:cubicBezTo>
                <a:close/>
                <a:moveTo>
                  <a:pt x="517263" y="236248"/>
                </a:moveTo>
                <a:cubicBezTo>
                  <a:pt x="509291" y="240771"/>
                  <a:pt x="502965" y="248534"/>
                  <a:pt x="496820" y="256180"/>
                </a:cubicBezTo>
                <a:cubicBezTo>
                  <a:pt x="492903" y="261054"/>
                  <a:pt x="488650" y="266199"/>
                  <a:pt x="484519" y="269645"/>
                </a:cubicBezTo>
                <a:cubicBezTo>
                  <a:pt x="444318" y="223717"/>
                  <a:pt x="346626" y="118373"/>
                  <a:pt x="323748" y="93742"/>
                </a:cubicBezTo>
                <a:cubicBezTo>
                  <a:pt x="319265" y="88924"/>
                  <a:pt x="311777" y="88445"/>
                  <a:pt x="306749" y="92688"/>
                </a:cubicBezTo>
                <a:lnTo>
                  <a:pt x="247763" y="142189"/>
                </a:lnTo>
                <a:cubicBezTo>
                  <a:pt x="237181" y="151083"/>
                  <a:pt x="221343" y="150279"/>
                  <a:pt x="211706" y="140360"/>
                </a:cubicBezTo>
                <a:cubicBezTo>
                  <a:pt x="201929" y="130299"/>
                  <a:pt x="201760" y="114394"/>
                  <a:pt x="211326" y="104151"/>
                </a:cubicBezTo>
                <a:cubicBezTo>
                  <a:pt x="225179" y="89312"/>
                  <a:pt x="243225" y="70328"/>
                  <a:pt x="258759" y="55075"/>
                </a:cubicBezTo>
                <a:cubicBezTo>
                  <a:pt x="262266" y="53879"/>
                  <a:pt x="265015" y="51249"/>
                  <a:pt x="266294" y="47794"/>
                </a:cubicBezTo>
                <a:cubicBezTo>
                  <a:pt x="268175" y="46007"/>
                  <a:pt x="270044" y="44238"/>
                  <a:pt x="271787" y="42640"/>
                </a:cubicBezTo>
                <a:cubicBezTo>
                  <a:pt x="293163" y="23043"/>
                  <a:pt x="361094" y="16757"/>
                  <a:pt x="406989" y="37643"/>
                </a:cubicBezTo>
                <a:cubicBezTo>
                  <a:pt x="446238" y="55506"/>
                  <a:pt x="494301" y="56954"/>
                  <a:pt x="517263" y="56448"/>
                </a:cubicBezTo>
                <a:lnTo>
                  <a:pt x="517263" y="236248"/>
                </a:lnTo>
                <a:close/>
                <a:moveTo>
                  <a:pt x="591756" y="257384"/>
                </a:moveTo>
                <a:lnTo>
                  <a:pt x="541919" y="257384"/>
                </a:lnTo>
                <a:lnTo>
                  <a:pt x="541919" y="24675"/>
                </a:lnTo>
                <a:lnTo>
                  <a:pt x="591756" y="24675"/>
                </a:lnTo>
                <a:lnTo>
                  <a:pt x="591756" y="257384"/>
                </a:lnTo>
                <a:close/>
              </a:path>
            </a:pathLst>
          </a:custGeom>
          <a:solidFill>
            <a:schemeClr val="accent2">
              <a:lumMod val="75000"/>
            </a:schemeClr>
          </a:solidFill>
          <a:ln w="12224" cap="flat">
            <a:noFill/>
            <a:prstDash val="solid"/>
            <a:miter/>
          </a:ln>
        </p:spPr>
        <p:txBody>
          <a:bodyPr rtlCol="0" anchor="ctr"/>
          <a:lstStyle/>
          <a:p>
            <a:endParaRPr lang="en-US" sz="800"/>
          </a:p>
        </p:txBody>
      </p:sp>
      <p:grpSp>
        <p:nvGrpSpPr>
          <p:cNvPr id="1295" name="Graphic 4">
            <a:extLst>
              <a:ext uri="{FF2B5EF4-FFF2-40B4-BE49-F238E27FC236}">
                <a16:creationId xmlns:a16="http://schemas.microsoft.com/office/drawing/2014/main" id="{B0CB1241-6043-0D49-A9A2-BD85AED01355}"/>
              </a:ext>
            </a:extLst>
          </p:cNvPr>
          <p:cNvGrpSpPr>
            <a:grpSpLocks/>
          </p:cNvGrpSpPr>
          <p:nvPr/>
        </p:nvGrpSpPr>
        <p:grpSpPr>
          <a:xfrm>
            <a:off x="3874384" y="5526117"/>
            <a:ext cx="290982" cy="287393"/>
            <a:chOff x="732092" y="3833859"/>
            <a:chExt cx="754731" cy="752728"/>
          </a:xfrm>
          <a:solidFill>
            <a:schemeClr val="accent6"/>
          </a:solidFill>
        </p:grpSpPr>
        <p:grpSp>
          <p:nvGrpSpPr>
            <p:cNvPr id="1296" name="Graphic 4">
              <a:extLst>
                <a:ext uri="{FF2B5EF4-FFF2-40B4-BE49-F238E27FC236}">
                  <a16:creationId xmlns:a16="http://schemas.microsoft.com/office/drawing/2014/main" id="{9BAAF404-6D83-B4F8-7565-8B86B47BA9E7}"/>
                </a:ext>
              </a:extLst>
            </p:cNvPr>
            <p:cNvGrpSpPr/>
            <p:nvPr/>
          </p:nvGrpSpPr>
          <p:grpSpPr>
            <a:xfrm>
              <a:off x="732092" y="3833859"/>
              <a:ext cx="754731" cy="752728"/>
              <a:chOff x="732092" y="3833859"/>
              <a:chExt cx="754731" cy="752728"/>
            </a:xfrm>
            <a:grpFill/>
          </p:grpSpPr>
          <p:sp>
            <p:nvSpPr>
              <p:cNvPr id="1306" name="Freeform 1305">
                <a:extLst>
                  <a:ext uri="{FF2B5EF4-FFF2-40B4-BE49-F238E27FC236}">
                    <a16:creationId xmlns:a16="http://schemas.microsoft.com/office/drawing/2014/main" id="{251FB539-21D2-8E01-25F0-CD0F7336D75F}"/>
                  </a:ext>
                </a:extLst>
              </p:cNvPr>
              <p:cNvSpPr/>
              <p:nvPr/>
            </p:nvSpPr>
            <p:spPr>
              <a:xfrm>
                <a:off x="1008313" y="4109321"/>
                <a:ext cx="202289" cy="201803"/>
              </a:xfrm>
              <a:custGeom>
                <a:avLst/>
                <a:gdLst>
                  <a:gd name="connsiteX0" fmla="*/ 101145 w 202289"/>
                  <a:gd name="connsiteY0" fmla="*/ 201804 h 201803"/>
                  <a:gd name="connsiteX1" fmla="*/ 0 w 202289"/>
                  <a:gd name="connsiteY1" fmla="*/ 100902 h 201803"/>
                  <a:gd name="connsiteX2" fmla="*/ 101145 w 202289"/>
                  <a:gd name="connsiteY2" fmla="*/ 0 h 201803"/>
                  <a:gd name="connsiteX3" fmla="*/ 202290 w 202289"/>
                  <a:gd name="connsiteY3" fmla="*/ 100902 h 201803"/>
                  <a:gd name="connsiteX4" fmla="*/ 101145 w 202289"/>
                  <a:gd name="connsiteY4" fmla="*/ 201804 h 201803"/>
                  <a:gd name="connsiteX5" fmla="*/ 101145 w 202289"/>
                  <a:gd name="connsiteY5" fmla="*/ 24282 h 201803"/>
                  <a:gd name="connsiteX6" fmla="*/ 24282 w 202289"/>
                  <a:gd name="connsiteY6" fmla="*/ 100902 h 201803"/>
                  <a:gd name="connsiteX7" fmla="*/ 101145 w 202289"/>
                  <a:gd name="connsiteY7" fmla="*/ 177522 h 201803"/>
                  <a:gd name="connsiteX8" fmla="*/ 178008 w 202289"/>
                  <a:gd name="connsiteY8" fmla="*/ 100902 h 201803"/>
                  <a:gd name="connsiteX9" fmla="*/ 101145 w 202289"/>
                  <a:gd name="connsiteY9" fmla="*/ 24282 h 201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289" h="201803">
                    <a:moveTo>
                      <a:pt x="101145" y="201804"/>
                    </a:moveTo>
                    <a:cubicBezTo>
                      <a:pt x="45370" y="201804"/>
                      <a:pt x="0" y="156537"/>
                      <a:pt x="0" y="100902"/>
                    </a:cubicBezTo>
                    <a:cubicBezTo>
                      <a:pt x="0" y="45267"/>
                      <a:pt x="45376" y="0"/>
                      <a:pt x="101145" y="0"/>
                    </a:cubicBezTo>
                    <a:cubicBezTo>
                      <a:pt x="156914" y="0"/>
                      <a:pt x="202290" y="45261"/>
                      <a:pt x="202290" y="100902"/>
                    </a:cubicBezTo>
                    <a:cubicBezTo>
                      <a:pt x="202290" y="156543"/>
                      <a:pt x="156920" y="201804"/>
                      <a:pt x="101145" y="201804"/>
                    </a:cubicBezTo>
                    <a:close/>
                    <a:moveTo>
                      <a:pt x="101145" y="24282"/>
                    </a:moveTo>
                    <a:cubicBezTo>
                      <a:pt x="58761" y="24282"/>
                      <a:pt x="24282" y="58652"/>
                      <a:pt x="24282" y="100902"/>
                    </a:cubicBezTo>
                    <a:cubicBezTo>
                      <a:pt x="24282" y="143152"/>
                      <a:pt x="58761" y="177522"/>
                      <a:pt x="101145" y="177522"/>
                    </a:cubicBezTo>
                    <a:cubicBezTo>
                      <a:pt x="143522" y="177522"/>
                      <a:pt x="178008" y="143152"/>
                      <a:pt x="178008" y="100902"/>
                    </a:cubicBezTo>
                    <a:cubicBezTo>
                      <a:pt x="178008" y="58652"/>
                      <a:pt x="143522" y="24282"/>
                      <a:pt x="101145" y="24282"/>
                    </a:cubicBezTo>
                    <a:close/>
                  </a:path>
                </a:pathLst>
              </a:custGeom>
              <a:grpFill/>
              <a:ln w="6028" cap="flat">
                <a:noFill/>
                <a:prstDash val="solid"/>
                <a:miter/>
              </a:ln>
            </p:spPr>
            <p:txBody>
              <a:bodyPr rtlCol="0" anchor="ctr"/>
              <a:lstStyle/>
              <a:p>
                <a:endParaRPr lang="en-US" sz="800"/>
              </a:p>
            </p:txBody>
          </p:sp>
          <p:sp>
            <p:nvSpPr>
              <p:cNvPr id="1307" name="Freeform 1306">
                <a:extLst>
                  <a:ext uri="{FF2B5EF4-FFF2-40B4-BE49-F238E27FC236}">
                    <a16:creationId xmlns:a16="http://schemas.microsoft.com/office/drawing/2014/main" id="{0959B104-5ADF-1419-529C-A390408F3DD0}"/>
                  </a:ext>
                </a:extLst>
              </p:cNvPr>
              <p:cNvSpPr/>
              <p:nvPr/>
            </p:nvSpPr>
            <p:spPr>
              <a:xfrm>
                <a:off x="1345924" y="4139928"/>
                <a:ext cx="140899" cy="140590"/>
              </a:xfrm>
              <a:custGeom>
                <a:avLst/>
                <a:gdLst>
                  <a:gd name="connsiteX0" fmla="*/ 70447 w 140899"/>
                  <a:gd name="connsiteY0" fmla="*/ 140590 h 140590"/>
                  <a:gd name="connsiteX1" fmla="*/ 0 w 140899"/>
                  <a:gd name="connsiteY1" fmla="*/ 70295 h 140590"/>
                  <a:gd name="connsiteX2" fmla="*/ 70447 w 140899"/>
                  <a:gd name="connsiteY2" fmla="*/ 0 h 140590"/>
                  <a:gd name="connsiteX3" fmla="*/ 140900 w 140899"/>
                  <a:gd name="connsiteY3" fmla="*/ 70295 h 140590"/>
                  <a:gd name="connsiteX4" fmla="*/ 70447 w 140899"/>
                  <a:gd name="connsiteY4" fmla="*/ 140590 h 140590"/>
                  <a:gd name="connsiteX5" fmla="*/ 70447 w 140899"/>
                  <a:gd name="connsiteY5" fmla="*/ 24282 h 140590"/>
                  <a:gd name="connsiteX6" fmla="*/ 24282 w 140899"/>
                  <a:gd name="connsiteY6" fmla="*/ 70295 h 140590"/>
                  <a:gd name="connsiteX7" fmla="*/ 70447 w 140899"/>
                  <a:gd name="connsiteY7" fmla="*/ 116309 h 140590"/>
                  <a:gd name="connsiteX8" fmla="*/ 116618 w 140899"/>
                  <a:gd name="connsiteY8" fmla="*/ 70295 h 140590"/>
                  <a:gd name="connsiteX9" fmla="*/ 70447 w 140899"/>
                  <a:gd name="connsiteY9" fmla="*/ 24282 h 1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899" h="140590">
                    <a:moveTo>
                      <a:pt x="70447" y="140590"/>
                    </a:moveTo>
                    <a:cubicBezTo>
                      <a:pt x="31602" y="140590"/>
                      <a:pt x="0" y="109061"/>
                      <a:pt x="0" y="70295"/>
                    </a:cubicBezTo>
                    <a:cubicBezTo>
                      <a:pt x="0" y="31530"/>
                      <a:pt x="31602" y="0"/>
                      <a:pt x="70447" y="0"/>
                    </a:cubicBezTo>
                    <a:cubicBezTo>
                      <a:pt x="109291" y="0"/>
                      <a:pt x="140900" y="31530"/>
                      <a:pt x="140900" y="70295"/>
                    </a:cubicBezTo>
                    <a:cubicBezTo>
                      <a:pt x="140900" y="109061"/>
                      <a:pt x="109291" y="140590"/>
                      <a:pt x="70447" y="140590"/>
                    </a:cubicBezTo>
                    <a:close/>
                    <a:moveTo>
                      <a:pt x="70447" y="24282"/>
                    </a:moveTo>
                    <a:cubicBezTo>
                      <a:pt x="44994" y="24282"/>
                      <a:pt x="24282" y="44921"/>
                      <a:pt x="24282" y="70295"/>
                    </a:cubicBezTo>
                    <a:cubicBezTo>
                      <a:pt x="24282" y="95669"/>
                      <a:pt x="44994" y="116309"/>
                      <a:pt x="70447" y="116309"/>
                    </a:cubicBezTo>
                    <a:cubicBezTo>
                      <a:pt x="95906" y="116309"/>
                      <a:pt x="116618" y="95669"/>
                      <a:pt x="116618" y="70295"/>
                    </a:cubicBezTo>
                    <a:cubicBezTo>
                      <a:pt x="116618" y="44921"/>
                      <a:pt x="95906" y="24282"/>
                      <a:pt x="70447" y="24282"/>
                    </a:cubicBezTo>
                    <a:close/>
                  </a:path>
                </a:pathLst>
              </a:custGeom>
              <a:grpFill/>
              <a:ln w="6028" cap="flat">
                <a:noFill/>
                <a:prstDash val="solid"/>
                <a:miter/>
              </a:ln>
            </p:spPr>
            <p:txBody>
              <a:bodyPr rtlCol="0" anchor="ctr"/>
              <a:lstStyle/>
              <a:p>
                <a:endParaRPr lang="en-US" sz="800"/>
              </a:p>
            </p:txBody>
          </p:sp>
          <p:sp>
            <p:nvSpPr>
              <p:cNvPr id="1308" name="Freeform 1307">
                <a:extLst>
                  <a:ext uri="{FF2B5EF4-FFF2-40B4-BE49-F238E27FC236}">
                    <a16:creationId xmlns:a16="http://schemas.microsoft.com/office/drawing/2014/main" id="{6841CE83-2D85-C1D9-D5AB-8F66E5BFED1F}"/>
                  </a:ext>
                </a:extLst>
              </p:cNvPr>
              <p:cNvSpPr/>
              <p:nvPr/>
            </p:nvSpPr>
            <p:spPr>
              <a:xfrm>
                <a:off x="732092" y="4139928"/>
                <a:ext cx="140905" cy="140590"/>
              </a:xfrm>
              <a:custGeom>
                <a:avLst/>
                <a:gdLst>
                  <a:gd name="connsiteX0" fmla="*/ 70453 w 140905"/>
                  <a:gd name="connsiteY0" fmla="*/ 140590 h 140590"/>
                  <a:gd name="connsiteX1" fmla="*/ 0 w 140905"/>
                  <a:gd name="connsiteY1" fmla="*/ 70295 h 140590"/>
                  <a:gd name="connsiteX2" fmla="*/ 70453 w 140905"/>
                  <a:gd name="connsiteY2" fmla="*/ 0 h 140590"/>
                  <a:gd name="connsiteX3" fmla="*/ 140906 w 140905"/>
                  <a:gd name="connsiteY3" fmla="*/ 70295 h 140590"/>
                  <a:gd name="connsiteX4" fmla="*/ 70453 w 140905"/>
                  <a:gd name="connsiteY4" fmla="*/ 140590 h 140590"/>
                  <a:gd name="connsiteX5" fmla="*/ 70453 w 140905"/>
                  <a:gd name="connsiteY5" fmla="*/ 24282 h 140590"/>
                  <a:gd name="connsiteX6" fmla="*/ 24282 w 140905"/>
                  <a:gd name="connsiteY6" fmla="*/ 70295 h 140590"/>
                  <a:gd name="connsiteX7" fmla="*/ 70453 w 140905"/>
                  <a:gd name="connsiteY7" fmla="*/ 116309 h 140590"/>
                  <a:gd name="connsiteX8" fmla="*/ 116624 w 140905"/>
                  <a:gd name="connsiteY8" fmla="*/ 70295 h 140590"/>
                  <a:gd name="connsiteX9" fmla="*/ 70453 w 140905"/>
                  <a:gd name="connsiteY9" fmla="*/ 24282 h 1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905" h="140590">
                    <a:moveTo>
                      <a:pt x="70453" y="140590"/>
                    </a:moveTo>
                    <a:cubicBezTo>
                      <a:pt x="31609" y="140590"/>
                      <a:pt x="0" y="109055"/>
                      <a:pt x="0" y="70295"/>
                    </a:cubicBezTo>
                    <a:cubicBezTo>
                      <a:pt x="0" y="31536"/>
                      <a:pt x="31609" y="0"/>
                      <a:pt x="70453" y="0"/>
                    </a:cubicBezTo>
                    <a:cubicBezTo>
                      <a:pt x="109303" y="0"/>
                      <a:pt x="140906" y="31530"/>
                      <a:pt x="140906" y="70295"/>
                    </a:cubicBezTo>
                    <a:cubicBezTo>
                      <a:pt x="140906" y="109061"/>
                      <a:pt x="109303" y="140590"/>
                      <a:pt x="70453" y="140590"/>
                    </a:cubicBezTo>
                    <a:close/>
                    <a:moveTo>
                      <a:pt x="70453" y="24282"/>
                    </a:moveTo>
                    <a:cubicBezTo>
                      <a:pt x="44994" y="24282"/>
                      <a:pt x="24282" y="44921"/>
                      <a:pt x="24282" y="70295"/>
                    </a:cubicBezTo>
                    <a:cubicBezTo>
                      <a:pt x="24282" y="95669"/>
                      <a:pt x="44994" y="116309"/>
                      <a:pt x="70453" y="116309"/>
                    </a:cubicBezTo>
                    <a:cubicBezTo>
                      <a:pt x="95912" y="116309"/>
                      <a:pt x="116624" y="95669"/>
                      <a:pt x="116624" y="70295"/>
                    </a:cubicBezTo>
                    <a:cubicBezTo>
                      <a:pt x="116624" y="44921"/>
                      <a:pt x="95912" y="24282"/>
                      <a:pt x="70453" y="24282"/>
                    </a:cubicBezTo>
                    <a:close/>
                  </a:path>
                </a:pathLst>
              </a:custGeom>
              <a:grpFill/>
              <a:ln w="6028" cap="flat">
                <a:noFill/>
                <a:prstDash val="solid"/>
                <a:miter/>
              </a:ln>
            </p:spPr>
            <p:txBody>
              <a:bodyPr rtlCol="0" anchor="ctr"/>
              <a:lstStyle/>
              <a:p>
                <a:endParaRPr lang="en-US" sz="800"/>
              </a:p>
            </p:txBody>
          </p:sp>
          <p:sp>
            <p:nvSpPr>
              <p:cNvPr id="1309" name="Freeform 1308">
                <a:extLst>
                  <a:ext uri="{FF2B5EF4-FFF2-40B4-BE49-F238E27FC236}">
                    <a16:creationId xmlns:a16="http://schemas.microsoft.com/office/drawing/2014/main" id="{54C987B0-F3E4-9476-A538-A800745DD36A}"/>
                  </a:ext>
                </a:extLst>
              </p:cNvPr>
              <p:cNvSpPr/>
              <p:nvPr/>
            </p:nvSpPr>
            <p:spPr>
              <a:xfrm>
                <a:off x="1039005" y="3833859"/>
                <a:ext cx="140905" cy="140590"/>
              </a:xfrm>
              <a:custGeom>
                <a:avLst/>
                <a:gdLst>
                  <a:gd name="connsiteX0" fmla="*/ 70453 w 140905"/>
                  <a:gd name="connsiteY0" fmla="*/ 140590 h 140590"/>
                  <a:gd name="connsiteX1" fmla="*/ 0 w 140905"/>
                  <a:gd name="connsiteY1" fmla="*/ 70295 h 140590"/>
                  <a:gd name="connsiteX2" fmla="*/ 70453 w 140905"/>
                  <a:gd name="connsiteY2" fmla="*/ 0 h 140590"/>
                  <a:gd name="connsiteX3" fmla="*/ 140906 w 140905"/>
                  <a:gd name="connsiteY3" fmla="*/ 70295 h 140590"/>
                  <a:gd name="connsiteX4" fmla="*/ 70453 w 140905"/>
                  <a:gd name="connsiteY4" fmla="*/ 140590 h 140590"/>
                  <a:gd name="connsiteX5" fmla="*/ 70453 w 140905"/>
                  <a:gd name="connsiteY5" fmla="*/ 24282 h 140590"/>
                  <a:gd name="connsiteX6" fmla="*/ 24282 w 140905"/>
                  <a:gd name="connsiteY6" fmla="*/ 70295 h 140590"/>
                  <a:gd name="connsiteX7" fmla="*/ 70453 w 140905"/>
                  <a:gd name="connsiteY7" fmla="*/ 116309 h 140590"/>
                  <a:gd name="connsiteX8" fmla="*/ 116624 w 140905"/>
                  <a:gd name="connsiteY8" fmla="*/ 70295 h 140590"/>
                  <a:gd name="connsiteX9" fmla="*/ 70453 w 140905"/>
                  <a:gd name="connsiteY9" fmla="*/ 24282 h 1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905" h="140590">
                    <a:moveTo>
                      <a:pt x="70453" y="140590"/>
                    </a:moveTo>
                    <a:cubicBezTo>
                      <a:pt x="31609" y="140590"/>
                      <a:pt x="0" y="109055"/>
                      <a:pt x="0" y="70295"/>
                    </a:cubicBezTo>
                    <a:cubicBezTo>
                      <a:pt x="0" y="31536"/>
                      <a:pt x="31609" y="0"/>
                      <a:pt x="70453" y="0"/>
                    </a:cubicBezTo>
                    <a:cubicBezTo>
                      <a:pt x="109297" y="0"/>
                      <a:pt x="140906" y="31530"/>
                      <a:pt x="140906" y="70295"/>
                    </a:cubicBezTo>
                    <a:cubicBezTo>
                      <a:pt x="140906" y="109061"/>
                      <a:pt x="109297" y="140590"/>
                      <a:pt x="70453" y="140590"/>
                    </a:cubicBezTo>
                    <a:close/>
                    <a:moveTo>
                      <a:pt x="70453" y="24282"/>
                    </a:moveTo>
                    <a:cubicBezTo>
                      <a:pt x="44994" y="24282"/>
                      <a:pt x="24282" y="44921"/>
                      <a:pt x="24282" y="70295"/>
                    </a:cubicBezTo>
                    <a:cubicBezTo>
                      <a:pt x="24282" y="95669"/>
                      <a:pt x="44994" y="116309"/>
                      <a:pt x="70453" y="116309"/>
                    </a:cubicBezTo>
                    <a:cubicBezTo>
                      <a:pt x="95912" y="116309"/>
                      <a:pt x="116624" y="95669"/>
                      <a:pt x="116624" y="70295"/>
                    </a:cubicBezTo>
                    <a:cubicBezTo>
                      <a:pt x="116624" y="44921"/>
                      <a:pt x="95912" y="24282"/>
                      <a:pt x="70453" y="24282"/>
                    </a:cubicBezTo>
                    <a:close/>
                  </a:path>
                </a:pathLst>
              </a:custGeom>
              <a:grpFill/>
              <a:ln w="6028" cap="flat">
                <a:noFill/>
                <a:prstDash val="solid"/>
                <a:miter/>
              </a:ln>
            </p:spPr>
            <p:txBody>
              <a:bodyPr rtlCol="0" anchor="ctr"/>
              <a:lstStyle/>
              <a:p>
                <a:endParaRPr lang="en-US" sz="800"/>
              </a:p>
            </p:txBody>
          </p:sp>
          <p:sp>
            <p:nvSpPr>
              <p:cNvPr id="1310" name="Freeform 1309">
                <a:extLst>
                  <a:ext uri="{FF2B5EF4-FFF2-40B4-BE49-F238E27FC236}">
                    <a16:creationId xmlns:a16="http://schemas.microsoft.com/office/drawing/2014/main" id="{183143E5-2D3E-4CFF-4FB8-9142E67253A6}"/>
                  </a:ext>
                </a:extLst>
              </p:cNvPr>
              <p:cNvSpPr/>
              <p:nvPr/>
            </p:nvSpPr>
            <p:spPr>
              <a:xfrm>
                <a:off x="1039005" y="4445997"/>
                <a:ext cx="140905" cy="140590"/>
              </a:xfrm>
              <a:custGeom>
                <a:avLst/>
                <a:gdLst>
                  <a:gd name="connsiteX0" fmla="*/ 70453 w 140905"/>
                  <a:gd name="connsiteY0" fmla="*/ 140590 h 140590"/>
                  <a:gd name="connsiteX1" fmla="*/ 0 w 140905"/>
                  <a:gd name="connsiteY1" fmla="*/ 70295 h 140590"/>
                  <a:gd name="connsiteX2" fmla="*/ 70453 w 140905"/>
                  <a:gd name="connsiteY2" fmla="*/ 0 h 140590"/>
                  <a:gd name="connsiteX3" fmla="*/ 140906 w 140905"/>
                  <a:gd name="connsiteY3" fmla="*/ 70295 h 140590"/>
                  <a:gd name="connsiteX4" fmla="*/ 70453 w 140905"/>
                  <a:gd name="connsiteY4" fmla="*/ 140590 h 140590"/>
                  <a:gd name="connsiteX5" fmla="*/ 70453 w 140905"/>
                  <a:gd name="connsiteY5" fmla="*/ 24282 h 140590"/>
                  <a:gd name="connsiteX6" fmla="*/ 24282 w 140905"/>
                  <a:gd name="connsiteY6" fmla="*/ 70295 h 140590"/>
                  <a:gd name="connsiteX7" fmla="*/ 70453 w 140905"/>
                  <a:gd name="connsiteY7" fmla="*/ 116309 h 140590"/>
                  <a:gd name="connsiteX8" fmla="*/ 116624 w 140905"/>
                  <a:gd name="connsiteY8" fmla="*/ 70295 h 140590"/>
                  <a:gd name="connsiteX9" fmla="*/ 70453 w 140905"/>
                  <a:gd name="connsiteY9" fmla="*/ 24282 h 1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905" h="140590">
                    <a:moveTo>
                      <a:pt x="70453" y="140590"/>
                    </a:moveTo>
                    <a:cubicBezTo>
                      <a:pt x="31609" y="140590"/>
                      <a:pt x="0" y="109061"/>
                      <a:pt x="0" y="70295"/>
                    </a:cubicBezTo>
                    <a:cubicBezTo>
                      <a:pt x="0" y="31530"/>
                      <a:pt x="31609" y="0"/>
                      <a:pt x="70453" y="0"/>
                    </a:cubicBezTo>
                    <a:cubicBezTo>
                      <a:pt x="109297" y="0"/>
                      <a:pt x="140906" y="31536"/>
                      <a:pt x="140906" y="70295"/>
                    </a:cubicBezTo>
                    <a:cubicBezTo>
                      <a:pt x="140906" y="109055"/>
                      <a:pt x="109297" y="140590"/>
                      <a:pt x="70453" y="140590"/>
                    </a:cubicBezTo>
                    <a:close/>
                    <a:moveTo>
                      <a:pt x="70453" y="24282"/>
                    </a:moveTo>
                    <a:cubicBezTo>
                      <a:pt x="44994" y="24282"/>
                      <a:pt x="24282" y="44921"/>
                      <a:pt x="24282" y="70295"/>
                    </a:cubicBezTo>
                    <a:cubicBezTo>
                      <a:pt x="24282" y="95663"/>
                      <a:pt x="44994" y="116309"/>
                      <a:pt x="70453" y="116309"/>
                    </a:cubicBezTo>
                    <a:cubicBezTo>
                      <a:pt x="95912" y="116309"/>
                      <a:pt x="116624" y="95669"/>
                      <a:pt x="116624" y="70295"/>
                    </a:cubicBezTo>
                    <a:cubicBezTo>
                      <a:pt x="116624" y="44927"/>
                      <a:pt x="95912" y="24282"/>
                      <a:pt x="70453" y="24282"/>
                    </a:cubicBezTo>
                    <a:close/>
                  </a:path>
                </a:pathLst>
              </a:custGeom>
              <a:grpFill/>
              <a:ln w="6028" cap="flat">
                <a:noFill/>
                <a:prstDash val="solid"/>
                <a:miter/>
              </a:ln>
            </p:spPr>
            <p:txBody>
              <a:bodyPr rtlCol="0" anchor="ctr"/>
              <a:lstStyle/>
              <a:p>
                <a:endParaRPr lang="en-US" sz="800"/>
              </a:p>
            </p:txBody>
          </p:sp>
          <p:sp>
            <p:nvSpPr>
              <p:cNvPr id="1311" name="Freeform 1310">
                <a:extLst>
                  <a:ext uri="{FF2B5EF4-FFF2-40B4-BE49-F238E27FC236}">
                    <a16:creationId xmlns:a16="http://schemas.microsoft.com/office/drawing/2014/main" id="{2CF178FB-5106-5F6F-391D-E95AAC9B29B5}"/>
                  </a:ext>
                </a:extLst>
              </p:cNvPr>
              <p:cNvSpPr/>
              <p:nvPr/>
            </p:nvSpPr>
            <p:spPr>
              <a:xfrm>
                <a:off x="1255384" y="3924150"/>
                <a:ext cx="140899" cy="140590"/>
              </a:xfrm>
              <a:custGeom>
                <a:avLst/>
                <a:gdLst>
                  <a:gd name="connsiteX0" fmla="*/ 70447 w 140899"/>
                  <a:gd name="connsiteY0" fmla="*/ 140590 h 140590"/>
                  <a:gd name="connsiteX1" fmla="*/ 0 w 140899"/>
                  <a:gd name="connsiteY1" fmla="*/ 70295 h 140590"/>
                  <a:gd name="connsiteX2" fmla="*/ 70447 w 140899"/>
                  <a:gd name="connsiteY2" fmla="*/ 0 h 140590"/>
                  <a:gd name="connsiteX3" fmla="*/ 140900 w 140899"/>
                  <a:gd name="connsiteY3" fmla="*/ 70295 h 140590"/>
                  <a:gd name="connsiteX4" fmla="*/ 70447 w 140899"/>
                  <a:gd name="connsiteY4" fmla="*/ 140590 h 140590"/>
                  <a:gd name="connsiteX5" fmla="*/ 70447 w 140899"/>
                  <a:gd name="connsiteY5" fmla="*/ 24282 h 140590"/>
                  <a:gd name="connsiteX6" fmla="*/ 24282 w 140899"/>
                  <a:gd name="connsiteY6" fmla="*/ 70295 h 140590"/>
                  <a:gd name="connsiteX7" fmla="*/ 70447 w 140899"/>
                  <a:gd name="connsiteY7" fmla="*/ 116309 h 140590"/>
                  <a:gd name="connsiteX8" fmla="*/ 116618 w 140899"/>
                  <a:gd name="connsiteY8" fmla="*/ 70295 h 140590"/>
                  <a:gd name="connsiteX9" fmla="*/ 70447 w 140899"/>
                  <a:gd name="connsiteY9" fmla="*/ 24282 h 1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899" h="140590">
                    <a:moveTo>
                      <a:pt x="70447" y="140590"/>
                    </a:moveTo>
                    <a:cubicBezTo>
                      <a:pt x="31602" y="140590"/>
                      <a:pt x="0" y="109055"/>
                      <a:pt x="0" y="70295"/>
                    </a:cubicBezTo>
                    <a:cubicBezTo>
                      <a:pt x="0" y="31536"/>
                      <a:pt x="31602" y="0"/>
                      <a:pt x="70447" y="0"/>
                    </a:cubicBezTo>
                    <a:cubicBezTo>
                      <a:pt x="109291" y="0"/>
                      <a:pt x="140900" y="31530"/>
                      <a:pt x="140900" y="70295"/>
                    </a:cubicBezTo>
                    <a:cubicBezTo>
                      <a:pt x="140900" y="109061"/>
                      <a:pt x="109291" y="140590"/>
                      <a:pt x="70447" y="140590"/>
                    </a:cubicBezTo>
                    <a:close/>
                    <a:moveTo>
                      <a:pt x="70447" y="24282"/>
                    </a:moveTo>
                    <a:cubicBezTo>
                      <a:pt x="44994" y="24282"/>
                      <a:pt x="24282" y="44921"/>
                      <a:pt x="24282" y="70295"/>
                    </a:cubicBezTo>
                    <a:cubicBezTo>
                      <a:pt x="24282" y="95669"/>
                      <a:pt x="44994" y="116309"/>
                      <a:pt x="70447" y="116309"/>
                    </a:cubicBezTo>
                    <a:cubicBezTo>
                      <a:pt x="95906" y="116309"/>
                      <a:pt x="116618" y="95669"/>
                      <a:pt x="116618" y="70295"/>
                    </a:cubicBezTo>
                    <a:cubicBezTo>
                      <a:pt x="116618" y="44921"/>
                      <a:pt x="95906" y="24282"/>
                      <a:pt x="70447" y="24282"/>
                    </a:cubicBezTo>
                    <a:close/>
                  </a:path>
                </a:pathLst>
              </a:custGeom>
              <a:grpFill/>
              <a:ln w="6028" cap="flat">
                <a:noFill/>
                <a:prstDash val="solid"/>
                <a:miter/>
              </a:ln>
            </p:spPr>
            <p:txBody>
              <a:bodyPr rtlCol="0" anchor="ctr"/>
              <a:lstStyle/>
              <a:p>
                <a:endParaRPr lang="en-US" sz="800"/>
              </a:p>
            </p:txBody>
          </p:sp>
          <p:sp>
            <p:nvSpPr>
              <p:cNvPr id="1312" name="Freeform 1311">
                <a:extLst>
                  <a:ext uri="{FF2B5EF4-FFF2-40B4-BE49-F238E27FC236}">
                    <a16:creationId xmlns:a16="http://schemas.microsoft.com/office/drawing/2014/main" id="{0822EC5E-EF87-AE20-E492-7961333FC069}"/>
                  </a:ext>
                </a:extLst>
              </p:cNvPr>
              <p:cNvSpPr/>
              <p:nvPr/>
            </p:nvSpPr>
            <p:spPr>
              <a:xfrm>
                <a:off x="822632" y="4355706"/>
                <a:ext cx="140905" cy="140590"/>
              </a:xfrm>
              <a:custGeom>
                <a:avLst/>
                <a:gdLst>
                  <a:gd name="connsiteX0" fmla="*/ 70453 w 140905"/>
                  <a:gd name="connsiteY0" fmla="*/ 140590 h 140590"/>
                  <a:gd name="connsiteX1" fmla="*/ 0 w 140905"/>
                  <a:gd name="connsiteY1" fmla="*/ 70295 h 140590"/>
                  <a:gd name="connsiteX2" fmla="*/ 70453 w 140905"/>
                  <a:gd name="connsiteY2" fmla="*/ 0 h 140590"/>
                  <a:gd name="connsiteX3" fmla="*/ 140906 w 140905"/>
                  <a:gd name="connsiteY3" fmla="*/ 70295 h 140590"/>
                  <a:gd name="connsiteX4" fmla="*/ 70453 w 140905"/>
                  <a:gd name="connsiteY4" fmla="*/ 140590 h 140590"/>
                  <a:gd name="connsiteX5" fmla="*/ 70453 w 140905"/>
                  <a:gd name="connsiteY5" fmla="*/ 24282 h 140590"/>
                  <a:gd name="connsiteX6" fmla="*/ 24282 w 140905"/>
                  <a:gd name="connsiteY6" fmla="*/ 70295 h 140590"/>
                  <a:gd name="connsiteX7" fmla="*/ 70453 w 140905"/>
                  <a:gd name="connsiteY7" fmla="*/ 116309 h 140590"/>
                  <a:gd name="connsiteX8" fmla="*/ 116624 w 140905"/>
                  <a:gd name="connsiteY8" fmla="*/ 70295 h 140590"/>
                  <a:gd name="connsiteX9" fmla="*/ 70453 w 140905"/>
                  <a:gd name="connsiteY9" fmla="*/ 24282 h 1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905" h="140590">
                    <a:moveTo>
                      <a:pt x="70453" y="140590"/>
                    </a:moveTo>
                    <a:cubicBezTo>
                      <a:pt x="31609" y="140590"/>
                      <a:pt x="0" y="109061"/>
                      <a:pt x="0" y="70295"/>
                    </a:cubicBezTo>
                    <a:cubicBezTo>
                      <a:pt x="0" y="31530"/>
                      <a:pt x="31609" y="0"/>
                      <a:pt x="70453" y="0"/>
                    </a:cubicBezTo>
                    <a:cubicBezTo>
                      <a:pt x="109303" y="0"/>
                      <a:pt x="140906" y="31536"/>
                      <a:pt x="140906" y="70295"/>
                    </a:cubicBezTo>
                    <a:cubicBezTo>
                      <a:pt x="140906" y="109054"/>
                      <a:pt x="109303" y="140590"/>
                      <a:pt x="70453" y="140590"/>
                    </a:cubicBezTo>
                    <a:close/>
                    <a:moveTo>
                      <a:pt x="70453" y="24282"/>
                    </a:moveTo>
                    <a:cubicBezTo>
                      <a:pt x="44994" y="24282"/>
                      <a:pt x="24282" y="44921"/>
                      <a:pt x="24282" y="70295"/>
                    </a:cubicBezTo>
                    <a:cubicBezTo>
                      <a:pt x="24282" y="95663"/>
                      <a:pt x="44994" y="116309"/>
                      <a:pt x="70453" y="116309"/>
                    </a:cubicBezTo>
                    <a:cubicBezTo>
                      <a:pt x="95912" y="116309"/>
                      <a:pt x="116624" y="95669"/>
                      <a:pt x="116624" y="70295"/>
                    </a:cubicBezTo>
                    <a:cubicBezTo>
                      <a:pt x="116624" y="44927"/>
                      <a:pt x="95912" y="24282"/>
                      <a:pt x="70453" y="24282"/>
                    </a:cubicBezTo>
                    <a:close/>
                  </a:path>
                </a:pathLst>
              </a:custGeom>
              <a:grpFill/>
              <a:ln w="6028" cap="flat">
                <a:noFill/>
                <a:prstDash val="solid"/>
                <a:miter/>
              </a:ln>
            </p:spPr>
            <p:txBody>
              <a:bodyPr rtlCol="0" anchor="ctr"/>
              <a:lstStyle/>
              <a:p>
                <a:endParaRPr lang="en-US" sz="800"/>
              </a:p>
            </p:txBody>
          </p:sp>
          <p:sp>
            <p:nvSpPr>
              <p:cNvPr id="1313" name="Freeform 1312">
                <a:extLst>
                  <a:ext uri="{FF2B5EF4-FFF2-40B4-BE49-F238E27FC236}">
                    <a16:creationId xmlns:a16="http://schemas.microsoft.com/office/drawing/2014/main" id="{95C22176-C2BC-8592-D2EA-F30521B48B99}"/>
                  </a:ext>
                </a:extLst>
              </p:cNvPr>
              <p:cNvSpPr/>
              <p:nvPr/>
            </p:nvSpPr>
            <p:spPr>
              <a:xfrm>
                <a:off x="822632" y="3924150"/>
                <a:ext cx="140905" cy="140590"/>
              </a:xfrm>
              <a:custGeom>
                <a:avLst/>
                <a:gdLst>
                  <a:gd name="connsiteX0" fmla="*/ 70453 w 140905"/>
                  <a:gd name="connsiteY0" fmla="*/ 140590 h 140590"/>
                  <a:gd name="connsiteX1" fmla="*/ 0 w 140905"/>
                  <a:gd name="connsiteY1" fmla="*/ 70295 h 140590"/>
                  <a:gd name="connsiteX2" fmla="*/ 70453 w 140905"/>
                  <a:gd name="connsiteY2" fmla="*/ 0 h 140590"/>
                  <a:gd name="connsiteX3" fmla="*/ 140906 w 140905"/>
                  <a:gd name="connsiteY3" fmla="*/ 70295 h 140590"/>
                  <a:gd name="connsiteX4" fmla="*/ 70453 w 140905"/>
                  <a:gd name="connsiteY4" fmla="*/ 140590 h 140590"/>
                  <a:gd name="connsiteX5" fmla="*/ 70453 w 140905"/>
                  <a:gd name="connsiteY5" fmla="*/ 24282 h 140590"/>
                  <a:gd name="connsiteX6" fmla="*/ 24282 w 140905"/>
                  <a:gd name="connsiteY6" fmla="*/ 70295 h 140590"/>
                  <a:gd name="connsiteX7" fmla="*/ 70453 w 140905"/>
                  <a:gd name="connsiteY7" fmla="*/ 116309 h 140590"/>
                  <a:gd name="connsiteX8" fmla="*/ 116624 w 140905"/>
                  <a:gd name="connsiteY8" fmla="*/ 70295 h 140590"/>
                  <a:gd name="connsiteX9" fmla="*/ 70453 w 140905"/>
                  <a:gd name="connsiteY9" fmla="*/ 24282 h 1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905" h="140590">
                    <a:moveTo>
                      <a:pt x="70453" y="140590"/>
                    </a:moveTo>
                    <a:cubicBezTo>
                      <a:pt x="31609" y="140590"/>
                      <a:pt x="0" y="109055"/>
                      <a:pt x="0" y="70295"/>
                    </a:cubicBezTo>
                    <a:cubicBezTo>
                      <a:pt x="0" y="31536"/>
                      <a:pt x="31609" y="0"/>
                      <a:pt x="70453" y="0"/>
                    </a:cubicBezTo>
                    <a:cubicBezTo>
                      <a:pt x="109303" y="0"/>
                      <a:pt x="140906" y="31530"/>
                      <a:pt x="140906" y="70295"/>
                    </a:cubicBezTo>
                    <a:cubicBezTo>
                      <a:pt x="140906" y="109061"/>
                      <a:pt x="109303" y="140590"/>
                      <a:pt x="70453" y="140590"/>
                    </a:cubicBezTo>
                    <a:close/>
                    <a:moveTo>
                      <a:pt x="70453" y="24282"/>
                    </a:moveTo>
                    <a:cubicBezTo>
                      <a:pt x="44994" y="24282"/>
                      <a:pt x="24282" y="44921"/>
                      <a:pt x="24282" y="70295"/>
                    </a:cubicBezTo>
                    <a:cubicBezTo>
                      <a:pt x="24282" y="95669"/>
                      <a:pt x="44994" y="116309"/>
                      <a:pt x="70453" y="116309"/>
                    </a:cubicBezTo>
                    <a:cubicBezTo>
                      <a:pt x="95912" y="116309"/>
                      <a:pt x="116624" y="95669"/>
                      <a:pt x="116624" y="70295"/>
                    </a:cubicBezTo>
                    <a:cubicBezTo>
                      <a:pt x="116624" y="44921"/>
                      <a:pt x="95912" y="24282"/>
                      <a:pt x="70453" y="24282"/>
                    </a:cubicBezTo>
                    <a:close/>
                  </a:path>
                </a:pathLst>
              </a:custGeom>
              <a:grpFill/>
              <a:ln w="6028" cap="flat">
                <a:noFill/>
                <a:prstDash val="solid"/>
                <a:miter/>
              </a:ln>
            </p:spPr>
            <p:txBody>
              <a:bodyPr rtlCol="0" anchor="ctr"/>
              <a:lstStyle/>
              <a:p>
                <a:endParaRPr lang="en-US" sz="800"/>
              </a:p>
            </p:txBody>
          </p:sp>
          <p:sp>
            <p:nvSpPr>
              <p:cNvPr id="1314" name="Freeform 1313">
                <a:extLst>
                  <a:ext uri="{FF2B5EF4-FFF2-40B4-BE49-F238E27FC236}">
                    <a16:creationId xmlns:a16="http://schemas.microsoft.com/office/drawing/2014/main" id="{53582CFA-32B9-8F98-3039-6D47513250A1}"/>
                  </a:ext>
                </a:extLst>
              </p:cNvPr>
              <p:cNvSpPr/>
              <p:nvPr/>
            </p:nvSpPr>
            <p:spPr>
              <a:xfrm>
                <a:off x="1255384" y="4355706"/>
                <a:ext cx="140899" cy="140590"/>
              </a:xfrm>
              <a:custGeom>
                <a:avLst/>
                <a:gdLst>
                  <a:gd name="connsiteX0" fmla="*/ 70447 w 140899"/>
                  <a:gd name="connsiteY0" fmla="*/ 140590 h 140590"/>
                  <a:gd name="connsiteX1" fmla="*/ 0 w 140899"/>
                  <a:gd name="connsiteY1" fmla="*/ 70295 h 140590"/>
                  <a:gd name="connsiteX2" fmla="*/ 70447 w 140899"/>
                  <a:gd name="connsiteY2" fmla="*/ 0 h 140590"/>
                  <a:gd name="connsiteX3" fmla="*/ 140900 w 140899"/>
                  <a:gd name="connsiteY3" fmla="*/ 70295 h 140590"/>
                  <a:gd name="connsiteX4" fmla="*/ 70447 w 140899"/>
                  <a:gd name="connsiteY4" fmla="*/ 140590 h 140590"/>
                  <a:gd name="connsiteX5" fmla="*/ 70447 w 140899"/>
                  <a:gd name="connsiteY5" fmla="*/ 24282 h 140590"/>
                  <a:gd name="connsiteX6" fmla="*/ 24282 w 140899"/>
                  <a:gd name="connsiteY6" fmla="*/ 70295 h 140590"/>
                  <a:gd name="connsiteX7" fmla="*/ 70447 w 140899"/>
                  <a:gd name="connsiteY7" fmla="*/ 116309 h 140590"/>
                  <a:gd name="connsiteX8" fmla="*/ 116618 w 140899"/>
                  <a:gd name="connsiteY8" fmla="*/ 70295 h 140590"/>
                  <a:gd name="connsiteX9" fmla="*/ 70447 w 140899"/>
                  <a:gd name="connsiteY9" fmla="*/ 24282 h 14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899" h="140590">
                    <a:moveTo>
                      <a:pt x="70447" y="140590"/>
                    </a:moveTo>
                    <a:cubicBezTo>
                      <a:pt x="31602" y="140590"/>
                      <a:pt x="0" y="109061"/>
                      <a:pt x="0" y="70295"/>
                    </a:cubicBezTo>
                    <a:cubicBezTo>
                      <a:pt x="0" y="31530"/>
                      <a:pt x="31602" y="0"/>
                      <a:pt x="70447" y="0"/>
                    </a:cubicBezTo>
                    <a:cubicBezTo>
                      <a:pt x="109291" y="0"/>
                      <a:pt x="140900" y="31536"/>
                      <a:pt x="140900" y="70295"/>
                    </a:cubicBezTo>
                    <a:cubicBezTo>
                      <a:pt x="140900" y="109054"/>
                      <a:pt x="109291" y="140590"/>
                      <a:pt x="70447" y="140590"/>
                    </a:cubicBezTo>
                    <a:close/>
                    <a:moveTo>
                      <a:pt x="70447" y="24282"/>
                    </a:moveTo>
                    <a:cubicBezTo>
                      <a:pt x="44994" y="24282"/>
                      <a:pt x="24282" y="44921"/>
                      <a:pt x="24282" y="70295"/>
                    </a:cubicBezTo>
                    <a:cubicBezTo>
                      <a:pt x="24282" y="95663"/>
                      <a:pt x="44994" y="116309"/>
                      <a:pt x="70447" y="116309"/>
                    </a:cubicBezTo>
                    <a:cubicBezTo>
                      <a:pt x="95906" y="116309"/>
                      <a:pt x="116618" y="95669"/>
                      <a:pt x="116618" y="70295"/>
                    </a:cubicBezTo>
                    <a:cubicBezTo>
                      <a:pt x="116618" y="44927"/>
                      <a:pt x="95906" y="24282"/>
                      <a:pt x="70447" y="24282"/>
                    </a:cubicBezTo>
                    <a:close/>
                  </a:path>
                </a:pathLst>
              </a:custGeom>
              <a:grpFill/>
              <a:ln w="6028" cap="flat">
                <a:noFill/>
                <a:prstDash val="solid"/>
                <a:miter/>
              </a:ln>
            </p:spPr>
            <p:txBody>
              <a:bodyPr rtlCol="0" anchor="ctr"/>
              <a:lstStyle/>
              <a:p>
                <a:endParaRPr lang="en-US" sz="800"/>
              </a:p>
            </p:txBody>
          </p:sp>
        </p:grpSp>
        <p:grpSp>
          <p:nvGrpSpPr>
            <p:cNvPr id="1297" name="Graphic 4">
              <a:extLst>
                <a:ext uri="{FF2B5EF4-FFF2-40B4-BE49-F238E27FC236}">
                  <a16:creationId xmlns:a16="http://schemas.microsoft.com/office/drawing/2014/main" id="{1234C400-B88C-24F9-D7F8-57C0F66864FD}"/>
                </a:ext>
              </a:extLst>
            </p:cNvPr>
            <p:cNvGrpSpPr/>
            <p:nvPr/>
          </p:nvGrpSpPr>
          <p:grpSpPr>
            <a:xfrm>
              <a:off x="848716" y="3950168"/>
              <a:ext cx="521483" cy="520110"/>
              <a:chOff x="848716" y="3950168"/>
              <a:chExt cx="521483" cy="520110"/>
            </a:xfrm>
            <a:grpFill/>
          </p:grpSpPr>
          <p:sp>
            <p:nvSpPr>
              <p:cNvPr id="1298" name="Freeform 1297">
                <a:extLst>
                  <a:ext uri="{FF2B5EF4-FFF2-40B4-BE49-F238E27FC236}">
                    <a16:creationId xmlns:a16="http://schemas.microsoft.com/office/drawing/2014/main" id="{77C325F2-3A17-EF74-BB0B-B0AFE3887E1A}"/>
                  </a:ext>
                </a:extLst>
              </p:cNvPr>
              <p:cNvSpPr/>
              <p:nvPr/>
            </p:nvSpPr>
            <p:spPr>
              <a:xfrm>
                <a:off x="920846" y="4260825"/>
                <a:ext cx="137831" cy="137531"/>
              </a:xfrm>
              <a:custGeom>
                <a:avLst/>
                <a:gdLst>
                  <a:gd name="connsiteX0" fmla="*/ 12139 w 137831"/>
                  <a:gd name="connsiteY0" fmla="*/ 137531 h 137531"/>
                  <a:gd name="connsiteX1" fmla="*/ 3544 w 137831"/>
                  <a:gd name="connsiteY1" fmla="*/ 133962 h 137531"/>
                  <a:gd name="connsiteX2" fmla="*/ 3568 w 137831"/>
                  <a:gd name="connsiteY2" fmla="*/ 116795 h 137531"/>
                  <a:gd name="connsiteX3" fmla="*/ 117121 w 137831"/>
                  <a:gd name="connsiteY3" fmla="*/ 3546 h 137531"/>
                  <a:gd name="connsiteX4" fmla="*/ 134288 w 137831"/>
                  <a:gd name="connsiteY4" fmla="*/ 3570 h 137531"/>
                  <a:gd name="connsiteX5" fmla="*/ 134263 w 137831"/>
                  <a:gd name="connsiteY5" fmla="*/ 20737 h 137531"/>
                  <a:gd name="connsiteX6" fmla="*/ 20711 w 137831"/>
                  <a:gd name="connsiteY6" fmla="*/ 133986 h 137531"/>
                  <a:gd name="connsiteX7" fmla="*/ 12139 w 137831"/>
                  <a:gd name="connsiteY7" fmla="*/ 137531 h 137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831" h="137531">
                    <a:moveTo>
                      <a:pt x="12139" y="137531"/>
                    </a:moveTo>
                    <a:cubicBezTo>
                      <a:pt x="9025" y="137531"/>
                      <a:pt x="5917" y="136342"/>
                      <a:pt x="3544" y="133962"/>
                    </a:cubicBezTo>
                    <a:cubicBezTo>
                      <a:pt x="-1191" y="129215"/>
                      <a:pt x="-1179" y="121530"/>
                      <a:pt x="3568" y="116795"/>
                    </a:cubicBezTo>
                    <a:lnTo>
                      <a:pt x="117121" y="3546"/>
                    </a:lnTo>
                    <a:cubicBezTo>
                      <a:pt x="121862" y="-1189"/>
                      <a:pt x="129553" y="-1183"/>
                      <a:pt x="134288" y="3570"/>
                    </a:cubicBezTo>
                    <a:cubicBezTo>
                      <a:pt x="139023" y="8317"/>
                      <a:pt x="139010" y="16002"/>
                      <a:pt x="134263" y="20737"/>
                    </a:cubicBezTo>
                    <a:lnTo>
                      <a:pt x="20711" y="133986"/>
                    </a:lnTo>
                    <a:cubicBezTo>
                      <a:pt x="18343" y="136348"/>
                      <a:pt x="15235" y="137531"/>
                      <a:pt x="12139" y="137531"/>
                    </a:cubicBezTo>
                    <a:close/>
                  </a:path>
                </a:pathLst>
              </a:custGeom>
              <a:grpFill/>
              <a:ln w="6028" cap="flat">
                <a:noFill/>
                <a:prstDash val="solid"/>
                <a:miter/>
              </a:ln>
            </p:spPr>
            <p:txBody>
              <a:bodyPr rtlCol="0" anchor="ctr"/>
              <a:lstStyle/>
              <a:p>
                <a:endParaRPr lang="en-US" sz="800"/>
              </a:p>
            </p:txBody>
          </p:sp>
          <p:sp>
            <p:nvSpPr>
              <p:cNvPr id="1299" name="Freeform 1298">
                <a:extLst>
                  <a:ext uri="{FF2B5EF4-FFF2-40B4-BE49-F238E27FC236}">
                    <a16:creationId xmlns:a16="http://schemas.microsoft.com/office/drawing/2014/main" id="{783585C6-44DB-7AAF-4C50-39F35EC70144}"/>
                  </a:ext>
                </a:extLst>
              </p:cNvPr>
              <p:cNvSpPr/>
              <p:nvPr/>
            </p:nvSpPr>
            <p:spPr>
              <a:xfrm>
                <a:off x="1164766" y="4022085"/>
                <a:ext cx="133302" cy="132994"/>
              </a:xfrm>
              <a:custGeom>
                <a:avLst/>
                <a:gdLst>
                  <a:gd name="connsiteX0" fmla="*/ 12139 w 133302"/>
                  <a:gd name="connsiteY0" fmla="*/ 132995 h 132994"/>
                  <a:gd name="connsiteX1" fmla="*/ 3544 w 133302"/>
                  <a:gd name="connsiteY1" fmla="*/ 129425 h 132994"/>
                  <a:gd name="connsiteX2" fmla="*/ 3568 w 133302"/>
                  <a:gd name="connsiteY2" fmla="*/ 112252 h 132994"/>
                  <a:gd name="connsiteX3" fmla="*/ 112592 w 133302"/>
                  <a:gd name="connsiteY3" fmla="*/ 3544 h 132994"/>
                  <a:gd name="connsiteX4" fmla="*/ 129759 w 133302"/>
                  <a:gd name="connsiteY4" fmla="*/ 3568 h 132994"/>
                  <a:gd name="connsiteX5" fmla="*/ 129735 w 133302"/>
                  <a:gd name="connsiteY5" fmla="*/ 20741 h 132994"/>
                  <a:gd name="connsiteX6" fmla="*/ 20711 w 133302"/>
                  <a:gd name="connsiteY6" fmla="*/ 129450 h 132994"/>
                  <a:gd name="connsiteX7" fmla="*/ 12139 w 133302"/>
                  <a:gd name="connsiteY7" fmla="*/ 132995 h 13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02" h="132994">
                    <a:moveTo>
                      <a:pt x="12139" y="132995"/>
                    </a:moveTo>
                    <a:cubicBezTo>
                      <a:pt x="9025" y="132995"/>
                      <a:pt x="5917" y="131805"/>
                      <a:pt x="3544" y="129425"/>
                    </a:cubicBezTo>
                    <a:cubicBezTo>
                      <a:pt x="-1191" y="124678"/>
                      <a:pt x="-1179" y="116993"/>
                      <a:pt x="3568" y="112252"/>
                    </a:cubicBezTo>
                    <a:lnTo>
                      <a:pt x="112592" y="3544"/>
                    </a:lnTo>
                    <a:cubicBezTo>
                      <a:pt x="117345" y="-1191"/>
                      <a:pt x="125030" y="-1179"/>
                      <a:pt x="129759" y="3568"/>
                    </a:cubicBezTo>
                    <a:cubicBezTo>
                      <a:pt x="134494" y="8315"/>
                      <a:pt x="134482" y="16000"/>
                      <a:pt x="129735" y="20741"/>
                    </a:cubicBezTo>
                    <a:lnTo>
                      <a:pt x="20711" y="129450"/>
                    </a:lnTo>
                    <a:cubicBezTo>
                      <a:pt x="18343" y="131817"/>
                      <a:pt x="15241" y="132995"/>
                      <a:pt x="12139" y="132995"/>
                    </a:cubicBezTo>
                    <a:close/>
                  </a:path>
                </a:pathLst>
              </a:custGeom>
              <a:grpFill/>
              <a:ln w="6028" cap="flat">
                <a:noFill/>
                <a:prstDash val="solid"/>
                <a:miter/>
              </a:ln>
            </p:spPr>
            <p:txBody>
              <a:bodyPr rtlCol="0" anchor="ctr"/>
              <a:lstStyle/>
              <a:p>
                <a:endParaRPr lang="en-US" sz="800"/>
              </a:p>
            </p:txBody>
          </p:sp>
          <p:sp>
            <p:nvSpPr>
              <p:cNvPr id="1300" name="Freeform 1299">
                <a:extLst>
                  <a:ext uri="{FF2B5EF4-FFF2-40B4-BE49-F238E27FC236}">
                    <a16:creationId xmlns:a16="http://schemas.microsoft.com/office/drawing/2014/main" id="{6EEFAEAC-C4CE-E4A8-FC1D-2BF3F78427EF}"/>
                  </a:ext>
                </a:extLst>
              </p:cNvPr>
              <p:cNvSpPr/>
              <p:nvPr/>
            </p:nvSpPr>
            <p:spPr>
              <a:xfrm>
                <a:off x="920843" y="4022088"/>
                <a:ext cx="137843" cy="139062"/>
              </a:xfrm>
              <a:custGeom>
                <a:avLst/>
                <a:gdLst>
                  <a:gd name="connsiteX0" fmla="*/ 125695 w 137843"/>
                  <a:gd name="connsiteY0" fmla="*/ 139062 h 139062"/>
                  <a:gd name="connsiteX1" fmla="*/ 117063 w 137843"/>
                  <a:gd name="connsiteY1" fmla="*/ 135462 h 139062"/>
                  <a:gd name="connsiteX2" fmla="*/ 3510 w 137843"/>
                  <a:gd name="connsiteY2" fmla="*/ 20684 h 139062"/>
                  <a:gd name="connsiteX3" fmla="*/ 3601 w 137843"/>
                  <a:gd name="connsiteY3" fmla="*/ 3510 h 139062"/>
                  <a:gd name="connsiteX4" fmla="*/ 20775 w 137843"/>
                  <a:gd name="connsiteY4" fmla="*/ 3601 h 139062"/>
                  <a:gd name="connsiteX5" fmla="*/ 134333 w 137843"/>
                  <a:gd name="connsiteY5" fmla="*/ 118380 h 139062"/>
                  <a:gd name="connsiteX6" fmla="*/ 134242 w 137843"/>
                  <a:gd name="connsiteY6" fmla="*/ 135553 h 139062"/>
                  <a:gd name="connsiteX7" fmla="*/ 125695 w 137843"/>
                  <a:gd name="connsiteY7" fmla="*/ 139062 h 13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843" h="139062">
                    <a:moveTo>
                      <a:pt x="125695" y="139062"/>
                    </a:moveTo>
                    <a:cubicBezTo>
                      <a:pt x="122563" y="139062"/>
                      <a:pt x="119437" y="137860"/>
                      <a:pt x="117063" y="135462"/>
                    </a:cubicBezTo>
                    <a:lnTo>
                      <a:pt x="3510" y="20684"/>
                    </a:lnTo>
                    <a:cubicBezTo>
                      <a:pt x="-1206" y="15918"/>
                      <a:pt x="-1164" y="8227"/>
                      <a:pt x="3601" y="3510"/>
                    </a:cubicBezTo>
                    <a:cubicBezTo>
                      <a:pt x="8373" y="-1206"/>
                      <a:pt x="16058" y="-1164"/>
                      <a:pt x="20775" y="3601"/>
                    </a:cubicBezTo>
                    <a:lnTo>
                      <a:pt x="134333" y="118380"/>
                    </a:lnTo>
                    <a:cubicBezTo>
                      <a:pt x="139050" y="123146"/>
                      <a:pt x="139008" y="130837"/>
                      <a:pt x="134242" y="135553"/>
                    </a:cubicBezTo>
                    <a:cubicBezTo>
                      <a:pt x="131869" y="137897"/>
                      <a:pt x="128785" y="139062"/>
                      <a:pt x="125695" y="139062"/>
                    </a:cubicBezTo>
                    <a:close/>
                  </a:path>
                </a:pathLst>
              </a:custGeom>
              <a:grpFill/>
              <a:ln w="6028" cap="flat">
                <a:noFill/>
                <a:prstDash val="solid"/>
                <a:miter/>
              </a:ln>
            </p:spPr>
            <p:txBody>
              <a:bodyPr rtlCol="0" anchor="ctr"/>
              <a:lstStyle/>
              <a:p>
                <a:endParaRPr lang="en-US" sz="800"/>
              </a:p>
            </p:txBody>
          </p:sp>
          <p:sp>
            <p:nvSpPr>
              <p:cNvPr id="1301" name="Freeform 1300">
                <a:extLst>
                  <a:ext uri="{FF2B5EF4-FFF2-40B4-BE49-F238E27FC236}">
                    <a16:creationId xmlns:a16="http://schemas.microsoft.com/office/drawing/2014/main" id="{7DCCB5BD-29E5-7403-125F-A4240977A950}"/>
                  </a:ext>
                </a:extLst>
              </p:cNvPr>
              <p:cNvSpPr/>
              <p:nvPr/>
            </p:nvSpPr>
            <p:spPr>
              <a:xfrm>
                <a:off x="1158696" y="4260826"/>
                <a:ext cx="139378" cy="137530"/>
              </a:xfrm>
              <a:custGeom>
                <a:avLst/>
                <a:gdLst>
                  <a:gd name="connsiteX0" fmla="*/ 127234 w 139378"/>
                  <a:gd name="connsiteY0" fmla="*/ 137530 h 137530"/>
                  <a:gd name="connsiteX1" fmla="*/ 118723 w 139378"/>
                  <a:gd name="connsiteY1" fmla="*/ 134046 h 137530"/>
                  <a:gd name="connsiteX2" fmla="*/ 3628 w 139378"/>
                  <a:gd name="connsiteY2" fmla="*/ 20797 h 137530"/>
                  <a:gd name="connsiteX3" fmla="*/ 3489 w 139378"/>
                  <a:gd name="connsiteY3" fmla="*/ 3624 h 137530"/>
                  <a:gd name="connsiteX4" fmla="*/ 20656 w 139378"/>
                  <a:gd name="connsiteY4" fmla="*/ 3484 h 137530"/>
                  <a:gd name="connsiteX5" fmla="*/ 135750 w 139378"/>
                  <a:gd name="connsiteY5" fmla="*/ 116733 h 137530"/>
                  <a:gd name="connsiteX6" fmla="*/ 135890 w 139378"/>
                  <a:gd name="connsiteY6" fmla="*/ 133906 h 137530"/>
                  <a:gd name="connsiteX7" fmla="*/ 127234 w 139378"/>
                  <a:gd name="connsiteY7" fmla="*/ 137530 h 13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378" h="137530">
                    <a:moveTo>
                      <a:pt x="127234" y="137530"/>
                    </a:moveTo>
                    <a:cubicBezTo>
                      <a:pt x="124156" y="137530"/>
                      <a:pt x="121078" y="136371"/>
                      <a:pt x="118723" y="134046"/>
                    </a:cubicBezTo>
                    <a:lnTo>
                      <a:pt x="3628" y="20797"/>
                    </a:lnTo>
                    <a:cubicBezTo>
                      <a:pt x="-1155" y="16092"/>
                      <a:pt x="-1216" y="8407"/>
                      <a:pt x="3489" y="3624"/>
                    </a:cubicBezTo>
                    <a:cubicBezTo>
                      <a:pt x="8193" y="-1154"/>
                      <a:pt x="15890" y="-1214"/>
                      <a:pt x="20656" y="3484"/>
                    </a:cubicBezTo>
                    <a:lnTo>
                      <a:pt x="135750" y="116733"/>
                    </a:lnTo>
                    <a:cubicBezTo>
                      <a:pt x="140534" y="121438"/>
                      <a:pt x="140594" y="129123"/>
                      <a:pt x="135890" y="133906"/>
                    </a:cubicBezTo>
                    <a:cubicBezTo>
                      <a:pt x="133510" y="136316"/>
                      <a:pt x="130378" y="137530"/>
                      <a:pt x="127234" y="137530"/>
                    </a:cubicBezTo>
                    <a:close/>
                  </a:path>
                </a:pathLst>
              </a:custGeom>
              <a:grpFill/>
              <a:ln w="6028" cap="flat">
                <a:noFill/>
                <a:prstDash val="solid"/>
                <a:miter/>
              </a:ln>
            </p:spPr>
            <p:txBody>
              <a:bodyPr rtlCol="0" anchor="ctr"/>
              <a:lstStyle/>
              <a:p>
                <a:endParaRPr lang="en-US" sz="800"/>
              </a:p>
            </p:txBody>
          </p:sp>
          <p:sp>
            <p:nvSpPr>
              <p:cNvPr id="1302" name="Freeform 1301">
                <a:extLst>
                  <a:ext uri="{FF2B5EF4-FFF2-40B4-BE49-F238E27FC236}">
                    <a16:creationId xmlns:a16="http://schemas.microsoft.com/office/drawing/2014/main" id="{A4F9DCC7-B1DC-4495-5B98-353DFD99E7DF}"/>
                  </a:ext>
                </a:extLst>
              </p:cNvPr>
              <p:cNvSpPr/>
              <p:nvPr/>
            </p:nvSpPr>
            <p:spPr>
              <a:xfrm>
                <a:off x="1097317" y="3950168"/>
                <a:ext cx="24281" cy="183434"/>
              </a:xfrm>
              <a:custGeom>
                <a:avLst/>
                <a:gdLst>
                  <a:gd name="connsiteX0" fmla="*/ 12141 w 24281"/>
                  <a:gd name="connsiteY0" fmla="*/ 183435 h 183434"/>
                  <a:gd name="connsiteX1" fmla="*/ 0 w 24281"/>
                  <a:gd name="connsiteY1" fmla="*/ 171294 h 183434"/>
                  <a:gd name="connsiteX2" fmla="*/ 0 w 24281"/>
                  <a:gd name="connsiteY2" fmla="*/ 12141 h 183434"/>
                  <a:gd name="connsiteX3" fmla="*/ 12141 w 24281"/>
                  <a:gd name="connsiteY3" fmla="*/ 0 h 183434"/>
                  <a:gd name="connsiteX4" fmla="*/ 24282 w 24281"/>
                  <a:gd name="connsiteY4" fmla="*/ 12141 h 183434"/>
                  <a:gd name="connsiteX5" fmla="*/ 24282 w 24281"/>
                  <a:gd name="connsiteY5" fmla="*/ 171294 h 183434"/>
                  <a:gd name="connsiteX6" fmla="*/ 12141 w 24281"/>
                  <a:gd name="connsiteY6" fmla="*/ 183435 h 18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81" h="183434">
                    <a:moveTo>
                      <a:pt x="12141" y="183435"/>
                    </a:moveTo>
                    <a:cubicBezTo>
                      <a:pt x="5439" y="183435"/>
                      <a:pt x="0" y="177996"/>
                      <a:pt x="0" y="171294"/>
                    </a:cubicBezTo>
                    <a:lnTo>
                      <a:pt x="0" y="12141"/>
                    </a:lnTo>
                    <a:cubicBezTo>
                      <a:pt x="0" y="5439"/>
                      <a:pt x="5439" y="0"/>
                      <a:pt x="12141" y="0"/>
                    </a:cubicBezTo>
                    <a:cubicBezTo>
                      <a:pt x="18842" y="0"/>
                      <a:pt x="24282" y="5439"/>
                      <a:pt x="24282" y="12141"/>
                    </a:cubicBezTo>
                    <a:lnTo>
                      <a:pt x="24282" y="171294"/>
                    </a:lnTo>
                    <a:cubicBezTo>
                      <a:pt x="24282" y="177996"/>
                      <a:pt x="18842" y="183435"/>
                      <a:pt x="12141" y="183435"/>
                    </a:cubicBezTo>
                    <a:close/>
                  </a:path>
                </a:pathLst>
              </a:custGeom>
              <a:grpFill/>
              <a:ln w="6028" cap="flat">
                <a:noFill/>
                <a:prstDash val="solid"/>
                <a:miter/>
              </a:ln>
            </p:spPr>
            <p:txBody>
              <a:bodyPr rtlCol="0" anchor="ctr"/>
              <a:lstStyle/>
              <a:p>
                <a:endParaRPr lang="en-US" sz="800"/>
              </a:p>
            </p:txBody>
          </p:sp>
          <p:sp>
            <p:nvSpPr>
              <p:cNvPr id="1303" name="Freeform 1302">
                <a:extLst>
                  <a:ext uri="{FF2B5EF4-FFF2-40B4-BE49-F238E27FC236}">
                    <a16:creationId xmlns:a16="http://schemas.microsoft.com/office/drawing/2014/main" id="{3166E449-C538-627F-FB49-2296A2483801}"/>
                  </a:ext>
                </a:extLst>
              </p:cNvPr>
              <p:cNvSpPr/>
              <p:nvPr/>
            </p:nvSpPr>
            <p:spPr>
              <a:xfrm>
                <a:off x="1097317" y="4286844"/>
                <a:ext cx="24281" cy="183434"/>
              </a:xfrm>
              <a:custGeom>
                <a:avLst/>
                <a:gdLst>
                  <a:gd name="connsiteX0" fmla="*/ 12141 w 24281"/>
                  <a:gd name="connsiteY0" fmla="*/ 183435 h 183434"/>
                  <a:gd name="connsiteX1" fmla="*/ 0 w 24281"/>
                  <a:gd name="connsiteY1" fmla="*/ 171294 h 183434"/>
                  <a:gd name="connsiteX2" fmla="*/ 0 w 24281"/>
                  <a:gd name="connsiteY2" fmla="*/ 12141 h 183434"/>
                  <a:gd name="connsiteX3" fmla="*/ 12141 w 24281"/>
                  <a:gd name="connsiteY3" fmla="*/ 0 h 183434"/>
                  <a:gd name="connsiteX4" fmla="*/ 24282 w 24281"/>
                  <a:gd name="connsiteY4" fmla="*/ 12141 h 183434"/>
                  <a:gd name="connsiteX5" fmla="*/ 24282 w 24281"/>
                  <a:gd name="connsiteY5" fmla="*/ 171294 h 183434"/>
                  <a:gd name="connsiteX6" fmla="*/ 12141 w 24281"/>
                  <a:gd name="connsiteY6" fmla="*/ 183435 h 18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81" h="183434">
                    <a:moveTo>
                      <a:pt x="12141" y="183435"/>
                    </a:moveTo>
                    <a:cubicBezTo>
                      <a:pt x="5439" y="183435"/>
                      <a:pt x="0" y="177996"/>
                      <a:pt x="0" y="171294"/>
                    </a:cubicBezTo>
                    <a:lnTo>
                      <a:pt x="0" y="12141"/>
                    </a:lnTo>
                    <a:cubicBezTo>
                      <a:pt x="0" y="5439"/>
                      <a:pt x="5439" y="0"/>
                      <a:pt x="12141" y="0"/>
                    </a:cubicBezTo>
                    <a:cubicBezTo>
                      <a:pt x="18842" y="0"/>
                      <a:pt x="24282" y="5439"/>
                      <a:pt x="24282" y="12141"/>
                    </a:cubicBezTo>
                    <a:lnTo>
                      <a:pt x="24282" y="171294"/>
                    </a:lnTo>
                    <a:cubicBezTo>
                      <a:pt x="24282" y="178002"/>
                      <a:pt x="18842" y="183435"/>
                      <a:pt x="12141" y="183435"/>
                    </a:cubicBezTo>
                    <a:close/>
                  </a:path>
                </a:pathLst>
              </a:custGeom>
              <a:grpFill/>
              <a:ln w="6028" cap="flat">
                <a:noFill/>
                <a:prstDash val="solid"/>
                <a:miter/>
              </a:ln>
            </p:spPr>
            <p:txBody>
              <a:bodyPr rtlCol="0" anchor="ctr"/>
              <a:lstStyle/>
              <a:p>
                <a:endParaRPr lang="en-US" sz="800"/>
              </a:p>
            </p:txBody>
          </p:sp>
          <p:sp>
            <p:nvSpPr>
              <p:cNvPr id="1304" name="Freeform 1303">
                <a:extLst>
                  <a:ext uri="{FF2B5EF4-FFF2-40B4-BE49-F238E27FC236}">
                    <a16:creationId xmlns:a16="http://schemas.microsoft.com/office/drawing/2014/main" id="{9AECC2BA-8DA3-18DB-9CD7-595F0C607CA9}"/>
                  </a:ext>
                </a:extLst>
              </p:cNvPr>
              <p:cNvSpPr/>
              <p:nvPr/>
            </p:nvSpPr>
            <p:spPr>
              <a:xfrm>
                <a:off x="1186321" y="4198083"/>
                <a:ext cx="183878" cy="24281"/>
              </a:xfrm>
              <a:custGeom>
                <a:avLst/>
                <a:gdLst>
                  <a:gd name="connsiteX0" fmla="*/ 171737 w 183878"/>
                  <a:gd name="connsiteY0" fmla="*/ 24282 h 24281"/>
                  <a:gd name="connsiteX1" fmla="*/ 12141 w 183878"/>
                  <a:gd name="connsiteY1" fmla="*/ 24282 h 24281"/>
                  <a:gd name="connsiteX2" fmla="*/ 0 w 183878"/>
                  <a:gd name="connsiteY2" fmla="*/ 12141 h 24281"/>
                  <a:gd name="connsiteX3" fmla="*/ 12141 w 183878"/>
                  <a:gd name="connsiteY3" fmla="*/ 0 h 24281"/>
                  <a:gd name="connsiteX4" fmla="*/ 171737 w 183878"/>
                  <a:gd name="connsiteY4" fmla="*/ 0 h 24281"/>
                  <a:gd name="connsiteX5" fmla="*/ 183878 w 183878"/>
                  <a:gd name="connsiteY5" fmla="*/ 12141 h 24281"/>
                  <a:gd name="connsiteX6" fmla="*/ 171737 w 183878"/>
                  <a:gd name="connsiteY6" fmla="*/ 24282 h 2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878" h="24281">
                    <a:moveTo>
                      <a:pt x="171737" y="24282"/>
                    </a:moveTo>
                    <a:lnTo>
                      <a:pt x="12141" y="24282"/>
                    </a:lnTo>
                    <a:cubicBezTo>
                      <a:pt x="5439" y="24282"/>
                      <a:pt x="0" y="18842"/>
                      <a:pt x="0" y="12141"/>
                    </a:cubicBezTo>
                    <a:cubicBezTo>
                      <a:pt x="0" y="5439"/>
                      <a:pt x="5439" y="0"/>
                      <a:pt x="12141" y="0"/>
                    </a:cubicBezTo>
                    <a:lnTo>
                      <a:pt x="171737" y="0"/>
                    </a:lnTo>
                    <a:cubicBezTo>
                      <a:pt x="178439" y="0"/>
                      <a:pt x="183878" y="5439"/>
                      <a:pt x="183878" y="12141"/>
                    </a:cubicBezTo>
                    <a:cubicBezTo>
                      <a:pt x="183878" y="18842"/>
                      <a:pt x="178445" y="24282"/>
                      <a:pt x="171737" y="24282"/>
                    </a:cubicBezTo>
                    <a:close/>
                  </a:path>
                </a:pathLst>
              </a:custGeom>
              <a:grpFill/>
              <a:ln w="6028" cap="flat">
                <a:noFill/>
                <a:prstDash val="solid"/>
                <a:miter/>
              </a:ln>
            </p:spPr>
            <p:txBody>
              <a:bodyPr rtlCol="0" anchor="ctr"/>
              <a:lstStyle/>
              <a:p>
                <a:endParaRPr lang="en-US" sz="800"/>
              </a:p>
            </p:txBody>
          </p:sp>
          <p:sp>
            <p:nvSpPr>
              <p:cNvPr id="1305" name="Freeform 1304">
                <a:extLst>
                  <a:ext uri="{FF2B5EF4-FFF2-40B4-BE49-F238E27FC236}">
                    <a16:creationId xmlns:a16="http://schemas.microsoft.com/office/drawing/2014/main" id="{FD0BEE9E-7163-B585-6919-73F8E5D2B6F1}"/>
                  </a:ext>
                </a:extLst>
              </p:cNvPr>
              <p:cNvSpPr/>
              <p:nvPr/>
            </p:nvSpPr>
            <p:spPr>
              <a:xfrm>
                <a:off x="848716" y="4198083"/>
                <a:ext cx="183878" cy="24281"/>
              </a:xfrm>
              <a:custGeom>
                <a:avLst/>
                <a:gdLst>
                  <a:gd name="connsiteX0" fmla="*/ 171737 w 183878"/>
                  <a:gd name="connsiteY0" fmla="*/ 24282 h 24281"/>
                  <a:gd name="connsiteX1" fmla="*/ 12141 w 183878"/>
                  <a:gd name="connsiteY1" fmla="*/ 24282 h 24281"/>
                  <a:gd name="connsiteX2" fmla="*/ 0 w 183878"/>
                  <a:gd name="connsiteY2" fmla="*/ 12141 h 24281"/>
                  <a:gd name="connsiteX3" fmla="*/ 12141 w 183878"/>
                  <a:gd name="connsiteY3" fmla="*/ 0 h 24281"/>
                  <a:gd name="connsiteX4" fmla="*/ 171737 w 183878"/>
                  <a:gd name="connsiteY4" fmla="*/ 0 h 24281"/>
                  <a:gd name="connsiteX5" fmla="*/ 183878 w 183878"/>
                  <a:gd name="connsiteY5" fmla="*/ 12141 h 24281"/>
                  <a:gd name="connsiteX6" fmla="*/ 171737 w 183878"/>
                  <a:gd name="connsiteY6" fmla="*/ 24282 h 2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878" h="24281">
                    <a:moveTo>
                      <a:pt x="171737" y="24282"/>
                    </a:moveTo>
                    <a:lnTo>
                      <a:pt x="12141" y="24282"/>
                    </a:lnTo>
                    <a:cubicBezTo>
                      <a:pt x="5439" y="24282"/>
                      <a:pt x="0" y="18842"/>
                      <a:pt x="0" y="12141"/>
                    </a:cubicBezTo>
                    <a:cubicBezTo>
                      <a:pt x="0" y="5439"/>
                      <a:pt x="5439" y="0"/>
                      <a:pt x="12141" y="0"/>
                    </a:cubicBezTo>
                    <a:lnTo>
                      <a:pt x="171737" y="0"/>
                    </a:lnTo>
                    <a:cubicBezTo>
                      <a:pt x="178439" y="0"/>
                      <a:pt x="183878" y="5439"/>
                      <a:pt x="183878" y="12141"/>
                    </a:cubicBezTo>
                    <a:cubicBezTo>
                      <a:pt x="183878" y="18842"/>
                      <a:pt x="178439" y="24282"/>
                      <a:pt x="171737" y="24282"/>
                    </a:cubicBezTo>
                    <a:close/>
                  </a:path>
                </a:pathLst>
              </a:custGeom>
              <a:grpFill/>
              <a:ln w="6028" cap="flat">
                <a:noFill/>
                <a:prstDash val="solid"/>
                <a:miter/>
              </a:ln>
            </p:spPr>
            <p:txBody>
              <a:bodyPr rtlCol="0" anchor="ctr"/>
              <a:lstStyle/>
              <a:p>
                <a:endParaRPr lang="en-US" sz="800"/>
              </a:p>
            </p:txBody>
          </p:sp>
        </p:grpSp>
      </p:grpSp>
      <p:grpSp>
        <p:nvGrpSpPr>
          <p:cNvPr id="1315" name="Group 1314">
            <a:extLst>
              <a:ext uri="{FF2B5EF4-FFF2-40B4-BE49-F238E27FC236}">
                <a16:creationId xmlns:a16="http://schemas.microsoft.com/office/drawing/2014/main" id="{BF1CA048-6DEE-D5A2-6EB7-5A05649CDE16}"/>
              </a:ext>
            </a:extLst>
          </p:cNvPr>
          <p:cNvGrpSpPr/>
          <p:nvPr/>
        </p:nvGrpSpPr>
        <p:grpSpPr>
          <a:xfrm>
            <a:off x="2026187" y="5526117"/>
            <a:ext cx="287397" cy="287393"/>
            <a:chOff x="2317455" y="2075363"/>
            <a:chExt cx="571500" cy="571494"/>
          </a:xfrm>
          <a:solidFill>
            <a:schemeClr val="bg2"/>
          </a:solidFill>
        </p:grpSpPr>
        <p:sp>
          <p:nvSpPr>
            <p:cNvPr id="1316" name="Graphic 31">
              <a:extLst>
                <a:ext uri="{FF2B5EF4-FFF2-40B4-BE49-F238E27FC236}">
                  <a16:creationId xmlns:a16="http://schemas.microsoft.com/office/drawing/2014/main" id="{EBA24F15-FFF3-F788-0083-CF5F88C01089}"/>
                </a:ext>
              </a:extLst>
            </p:cNvPr>
            <p:cNvSpPr/>
            <p:nvPr/>
          </p:nvSpPr>
          <p:spPr>
            <a:xfrm>
              <a:off x="2579897" y="2381157"/>
              <a:ext cx="46615" cy="56149"/>
            </a:xfrm>
            <a:custGeom>
              <a:avLst/>
              <a:gdLst>
                <a:gd name="connsiteX0" fmla="*/ 13783 w 46615"/>
                <a:gd name="connsiteY0" fmla="*/ 23936 h 56149"/>
                <a:gd name="connsiteX1" fmla="*/ 13783 w 46615"/>
                <a:gd name="connsiteY1" fmla="*/ 56150 h 56149"/>
                <a:gd name="connsiteX2" fmla="*/ 32833 w 46615"/>
                <a:gd name="connsiteY2" fmla="*/ 56150 h 56149"/>
                <a:gd name="connsiteX3" fmla="*/ 32833 w 46615"/>
                <a:gd name="connsiteY3" fmla="*/ 23936 h 56149"/>
                <a:gd name="connsiteX4" fmla="*/ 46615 w 46615"/>
                <a:gd name="connsiteY4" fmla="*/ 17050 h 56149"/>
                <a:gd name="connsiteX5" fmla="*/ 38100 w 46615"/>
                <a:gd name="connsiteY5" fmla="*/ 0 h 56149"/>
                <a:gd name="connsiteX6" fmla="*/ 23308 w 46615"/>
                <a:gd name="connsiteY6" fmla="*/ 7401 h 56149"/>
                <a:gd name="connsiteX7" fmla="*/ 8515 w 46615"/>
                <a:gd name="connsiteY7" fmla="*/ 0 h 56149"/>
                <a:gd name="connsiteX8" fmla="*/ 0 w 46615"/>
                <a:gd name="connsiteY8" fmla="*/ 17050 h 5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15" h="56149">
                  <a:moveTo>
                    <a:pt x="13783" y="23936"/>
                  </a:moveTo>
                  <a:lnTo>
                    <a:pt x="13783" y="56150"/>
                  </a:lnTo>
                  <a:lnTo>
                    <a:pt x="32833" y="56150"/>
                  </a:lnTo>
                  <a:lnTo>
                    <a:pt x="32833" y="23936"/>
                  </a:lnTo>
                  <a:lnTo>
                    <a:pt x="46615" y="17050"/>
                  </a:lnTo>
                  <a:lnTo>
                    <a:pt x="38100" y="0"/>
                  </a:lnTo>
                  <a:lnTo>
                    <a:pt x="23308" y="7401"/>
                  </a:lnTo>
                  <a:lnTo>
                    <a:pt x="8515" y="0"/>
                  </a:lnTo>
                  <a:lnTo>
                    <a:pt x="0" y="17050"/>
                  </a:lnTo>
                  <a:close/>
                </a:path>
              </a:pathLst>
            </a:custGeom>
            <a:grpFill/>
            <a:ln w="9525" cap="flat">
              <a:noFill/>
              <a:prstDash val="solid"/>
              <a:miter/>
            </a:ln>
          </p:spPr>
          <p:txBody>
            <a:bodyPr rtlCol="0" anchor="ctr"/>
            <a:lstStyle/>
            <a:p>
              <a:endParaRPr lang="en-US" sz="800"/>
            </a:p>
          </p:txBody>
        </p:sp>
        <p:sp>
          <p:nvSpPr>
            <p:cNvPr id="1317" name="Graphic 31">
              <a:extLst>
                <a:ext uri="{FF2B5EF4-FFF2-40B4-BE49-F238E27FC236}">
                  <a16:creationId xmlns:a16="http://schemas.microsoft.com/office/drawing/2014/main" id="{40E69650-C139-4C5F-5C40-70C2B9CAB2A0}"/>
                </a:ext>
              </a:extLst>
            </p:cNvPr>
            <p:cNvSpPr/>
            <p:nvPr/>
          </p:nvSpPr>
          <p:spPr>
            <a:xfrm>
              <a:off x="2384130" y="2075363"/>
              <a:ext cx="438150" cy="571493"/>
            </a:xfrm>
            <a:custGeom>
              <a:avLst/>
              <a:gdLst>
                <a:gd name="connsiteX0" fmla="*/ 85182 w 438150"/>
                <a:gd name="connsiteY0" fmla="*/ 453259 h 571493"/>
                <a:gd name="connsiteX1" fmla="*/ 66675 w 438150"/>
                <a:gd name="connsiteY1" fmla="*/ 485768 h 571493"/>
                <a:gd name="connsiteX2" fmla="*/ 104775 w 438150"/>
                <a:gd name="connsiteY2" fmla="*/ 523868 h 571493"/>
                <a:gd name="connsiteX3" fmla="*/ 104775 w 438150"/>
                <a:gd name="connsiteY3" fmla="*/ 533393 h 571493"/>
                <a:gd name="connsiteX4" fmla="*/ 142875 w 438150"/>
                <a:gd name="connsiteY4" fmla="*/ 571493 h 571493"/>
                <a:gd name="connsiteX5" fmla="*/ 295275 w 438150"/>
                <a:gd name="connsiteY5" fmla="*/ 571493 h 571493"/>
                <a:gd name="connsiteX6" fmla="*/ 333375 w 438150"/>
                <a:gd name="connsiteY6" fmla="*/ 533393 h 571493"/>
                <a:gd name="connsiteX7" fmla="*/ 333375 w 438150"/>
                <a:gd name="connsiteY7" fmla="*/ 523868 h 571493"/>
                <a:gd name="connsiteX8" fmla="*/ 371475 w 438150"/>
                <a:gd name="connsiteY8" fmla="*/ 485768 h 571493"/>
                <a:gd name="connsiteX9" fmla="*/ 352968 w 438150"/>
                <a:gd name="connsiteY9" fmla="*/ 453259 h 571493"/>
                <a:gd name="connsiteX10" fmla="*/ 356216 w 438150"/>
                <a:gd name="connsiteY10" fmla="*/ 426351 h 571493"/>
                <a:gd name="connsiteX11" fmla="*/ 438150 w 438150"/>
                <a:gd name="connsiteY11" fmla="*/ 223364 h 571493"/>
                <a:gd name="connsiteX12" fmla="*/ 438150 w 438150"/>
                <a:gd name="connsiteY12" fmla="*/ 210248 h 571493"/>
                <a:gd name="connsiteX13" fmla="*/ 374533 w 438150"/>
                <a:gd name="connsiteY13" fmla="*/ 62106 h 571493"/>
                <a:gd name="connsiteX14" fmla="*/ 211103 w 438150"/>
                <a:gd name="connsiteY14" fmla="*/ 136 h 571493"/>
                <a:gd name="connsiteX15" fmla="*/ 0 w 438150"/>
                <a:gd name="connsiteY15" fmla="*/ 215049 h 571493"/>
                <a:gd name="connsiteX16" fmla="*/ 0 w 438150"/>
                <a:gd name="connsiteY16" fmla="*/ 223364 h 571493"/>
                <a:gd name="connsiteX17" fmla="*/ 81934 w 438150"/>
                <a:gd name="connsiteY17" fmla="*/ 426361 h 571493"/>
                <a:gd name="connsiteX18" fmla="*/ 85182 w 438150"/>
                <a:gd name="connsiteY18" fmla="*/ 453259 h 571493"/>
                <a:gd name="connsiteX19" fmla="*/ 314325 w 438150"/>
                <a:gd name="connsiteY19" fmla="*/ 533393 h 571493"/>
                <a:gd name="connsiteX20" fmla="*/ 295275 w 438150"/>
                <a:gd name="connsiteY20" fmla="*/ 552443 h 571493"/>
                <a:gd name="connsiteX21" fmla="*/ 142875 w 438150"/>
                <a:gd name="connsiteY21" fmla="*/ 552443 h 571493"/>
                <a:gd name="connsiteX22" fmla="*/ 123825 w 438150"/>
                <a:gd name="connsiteY22" fmla="*/ 533393 h 571493"/>
                <a:gd name="connsiteX23" fmla="*/ 123825 w 438150"/>
                <a:gd name="connsiteY23" fmla="*/ 523868 h 571493"/>
                <a:gd name="connsiteX24" fmla="*/ 314325 w 438150"/>
                <a:gd name="connsiteY24" fmla="*/ 523868 h 571493"/>
                <a:gd name="connsiteX25" fmla="*/ 314325 w 438150"/>
                <a:gd name="connsiteY25" fmla="*/ 533393 h 571493"/>
                <a:gd name="connsiteX26" fmla="*/ 333375 w 438150"/>
                <a:gd name="connsiteY26" fmla="*/ 504818 h 571493"/>
                <a:gd name="connsiteX27" fmla="*/ 104775 w 438150"/>
                <a:gd name="connsiteY27" fmla="*/ 504818 h 571493"/>
                <a:gd name="connsiteX28" fmla="*/ 85725 w 438150"/>
                <a:gd name="connsiteY28" fmla="*/ 485768 h 571493"/>
                <a:gd name="connsiteX29" fmla="*/ 104775 w 438150"/>
                <a:gd name="connsiteY29" fmla="*/ 466718 h 571493"/>
                <a:gd name="connsiteX30" fmla="*/ 161925 w 438150"/>
                <a:gd name="connsiteY30" fmla="*/ 466718 h 571493"/>
                <a:gd name="connsiteX31" fmla="*/ 161925 w 438150"/>
                <a:gd name="connsiteY31" fmla="*/ 476243 h 571493"/>
                <a:gd name="connsiteX32" fmla="*/ 171450 w 438150"/>
                <a:gd name="connsiteY32" fmla="*/ 485768 h 571493"/>
                <a:gd name="connsiteX33" fmla="*/ 266700 w 438150"/>
                <a:gd name="connsiteY33" fmla="*/ 485768 h 571493"/>
                <a:gd name="connsiteX34" fmla="*/ 276225 w 438150"/>
                <a:gd name="connsiteY34" fmla="*/ 476243 h 571493"/>
                <a:gd name="connsiteX35" fmla="*/ 276225 w 438150"/>
                <a:gd name="connsiteY35" fmla="*/ 466718 h 571493"/>
                <a:gd name="connsiteX36" fmla="*/ 333375 w 438150"/>
                <a:gd name="connsiteY36" fmla="*/ 466718 h 571493"/>
                <a:gd name="connsiteX37" fmla="*/ 352425 w 438150"/>
                <a:gd name="connsiteY37" fmla="*/ 485768 h 571493"/>
                <a:gd name="connsiteX38" fmla="*/ 333375 w 438150"/>
                <a:gd name="connsiteY38" fmla="*/ 504818 h 571493"/>
                <a:gd name="connsiteX39" fmla="*/ 200387 w 438150"/>
                <a:gd name="connsiteY39" fmla="*/ 278580 h 571493"/>
                <a:gd name="connsiteX40" fmla="*/ 190500 w 438150"/>
                <a:gd name="connsiteY40" fmla="*/ 257168 h 571493"/>
                <a:gd name="connsiteX41" fmla="*/ 219075 w 438150"/>
                <a:gd name="connsiteY41" fmla="*/ 228593 h 571493"/>
                <a:gd name="connsiteX42" fmla="*/ 247650 w 438150"/>
                <a:gd name="connsiteY42" fmla="*/ 257168 h 571493"/>
                <a:gd name="connsiteX43" fmla="*/ 237763 w 438150"/>
                <a:gd name="connsiteY43" fmla="*/ 278580 h 571493"/>
                <a:gd name="connsiteX44" fmla="*/ 235115 w 438150"/>
                <a:gd name="connsiteY44" fmla="*/ 289096 h 571493"/>
                <a:gd name="connsiteX45" fmla="*/ 244040 w 438150"/>
                <a:gd name="connsiteY45" fmla="*/ 295268 h 571493"/>
                <a:gd name="connsiteX46" fmla="*/ 257175 w 438150"/>
                <a:gd name="connsiteY46" fmla="*/ 295268 h 571493"/>
                <a:gd name="connsiteX47" fmla="*/ 276225 w 438150"/>
                <a:gd name="connsiteY47" fmla="*/ 314318 h 571493"/>
                <a:gd name="connsiteX48" fmla="*/ 276225 w 438150"/>
                <a:gd name="connsiteY48" fmla="*/ 365582 h 571493"/>
                <a:gd name="connsiteX49" fmla="*/ 262442 w 438150"/>
                <a:gd name="connsiteY49" fmla="*/ 372478 h 571493"/>
                <a:gd name="connsiteX50" fmla="*/ 257175 w 438150"/>
                <a:gd name="connsiteY50" fmla="*/ 380993 h 571493"/>
                <a:gd name="connsiteX51" fmla="*/ 257175 w 438150"/>
                <a:gd name="connsiteY51" fmla="*/ 466718 h 571493"/>
                <a:gd name="connsiteX52" fmla="*/ 180975 w 438150"/>
                <a:gd name="connsiteY52" fmla="*/ 466718 h 571493"/>
                <a:gd name="connsiteX53" fmla="*/ 180975 w 438150"/>
                <a:gd name="connsiteY53" fmla="*/ 380993 h 571493"/>
                <a:gd name="connsiteX54" fmla="*/ 175708 w 438150"/>
                <a:gd name="connsiteY54" fmla="*/ 372468 h 571493"/>
                <a:gd name="connsiteX55" fmla="*/ 161925 w 438150"/>
                <a:gd name="connsiteY55" fmla="*/ 365582 h 571493"/>
                <a:gd name="connsiteX56" fmla="*/ 161925 w 438150"/>
                <a:gd name="connsiteY56" fmla="*/ 314318 h 571493"/>
                <a:gd name="connsiteX57" fmla="*/ 180975 w 438150"/>
                <a:gd name="connsiteY57" fmla="*/ 295268 h 571493"/>
                <a:gd name="connsiteX58" fmla="*/ 194110 w 438150"/>
                <a:gd name="connsiteY58" fmla="*/ 295268 h 571493"/>
                <a:gd name="connsiteX59" fmla="*/ 203025 w 438150"/>
                <a:gd name="connsiteY59" fmla="*/ 289096 h 571493"/>
                <a:gd name="connsiteX60" fmla="*/ 200387 w 438150"/>
                <a:gd name="connsiteY60" fmla="*/ 278580 h 571493"/>
                <a:gd name="connsiteX61" fmla="*/ 19050 w 438150"/>
                <a:gd name="connsiteY61" fmla="*/ 215049 h 571493"/>
                <a:gd name="connsiteX62" fmla="*/ 211760 w 438150"/>
                <a:gd name="connsiteY62" fmla="*/ 19167 h 571493"/>
                <a:gd name="connsiteX63" fmla="*/ 361302 w 438150"/>
                <a:gd name="connsiteY63" fmla="*/ 75793 h 571493"/>
                <a:gd name="connsiteX64" fmla="*/ 419100 w 438150"/>
                <a:gd name="connsiteY64" fmla="*/ 210238 h 571493"/>
                <a:gd name="connsiteX65" fmla="*/ 419100 w 438150"/>
                <a:gd name="connsiteY65" fmla="*/ 223354 h 571493"/>
                <a:gd name="connsiteX66" fmla="*/ 340233 w 438150"/>
                <a:gd name="connsiteY66" fmla="*/ 415540 h 571493"/>
                <a:gd name="connsiteX67" fmla="*/ 337680 w 438150"/>
                <a:gd name="connsiteY67" fmla="*/ 420960 h 571493"/>
                <a:gd name="connsiteX68" fmla="*/ 334451 w 438150"/>
                <a:gd name="connsiteY68" fmla="*/ 447763 h 571493"/>
                <a:gd name="connsiteX69" fmla="*/ 333375 w 438150"/>
                <a:gd name="connsiteY69" fmla="*/ 447668 h 571493"/>
                <a:gd name="connsiteX70" fmla="*/ 276225 w 438150"/>
                <a:gd name="connsiteY70" fmla="*/ 447668 h 571493"/>
                <a:gd name="connsiteX71" fmla="*/ 276225 w 438150"/>
                <a:gd name="connsiteY71" fmla="*/ 386880 h 571493"/>
                <a:gd name="connsiteX72" fmla="*/ 290008 w 438150"/>
                <a:gd name="connsiteY72" fmla="*/ 379984 h 571493"/>
                <a:gd name="connsiteX73" fmla="*/ 295275 w 438150"/>
                <a:gd name="connsiteY73" fmla="*/ 371468 h 571493"/>
                <a:gd name="connsiteX74" fmla="*/ 295275 w 438150"/>
                <a:gd name="connsiteY74" fmla="*/ 314318 h 571493"/>
                <a:gd name="connsiteX75" fmla="*/ 262471 w 438150"/>
                <a:gd name="connsiteY75" fmla="*/ 276590 h 571493"/>
                <a:gd name="connsiteX76" fmla="*/ 266700 w 438150"/>
                <a:gd name="connsiteY76" fmla="*/ 257168 h 571493"/>
                <a:gd name="connsiteX77" fmla="*/ 219075 w 438150"/>
                <a:gd name="connsiteY77" fmla="*/ 209543 h 571493"/>
                <a:gd name="connsiteX78" fmla="*/ 171450 w 438150"/>
                <a:gd name="connsiteY78" fmla="*/ 257168 h 571493"/>
                <a:gd name="connsiteX79" fmla="*/ 175679 w 438150"/>
                <a:gd name="connsiteY79" fmla="*/ 276590 h 571493"/>
                <a:gd name="connsiteX80" fmla="*/ 142875 w 438150"/>
                <a:gd name="connsiteY80" fmla="*/ 314318 h 571493"/>
                <a:gd name="connsiteX81" fmla="*/ 142875 w 438150"/>
                <a:gd name="connsiteY81" fmla="*/ 371468 h 571493"/>
                <a:gd name="connsiteX82" fmla="*/ 148142 w 438150"/>
                <a:gd name="connsiteY82" fmla="*/ 379993 h 571493"/>
                <a:gd name="connsiteX83" fmla="*/ 161925 w 438150"/>
                <a:gd name="connsiteY83" fmla="*/ 386880 h 571493"/>
                <a:gd name="connsiteX84" fmla="*/ 161925 w 438150"/>
                <a:gd name="connsiteY84" fmla="*/ 447668 h 571493"/>
                <a:gd name="connsiteX85" fmla="*/ 104775 w 438150"/>
                <a:gd name="connsiteY85" fmla="*/ 447668 h 571493"/>
                <a:gd name="connsiteX86" fmla="*/ 103708 w 438150"/>
                <a:gd name="connsiteY86" fmla="*/ 447773 h 571493"/>
                <a:gd name="connsiteX87" fmla="*/ 100479 w 438150"/>
                <a:gd name="connsiteY87" fmla="*/ 420970 h 571493"/>
                <a:gd name="connsiteX88" fmla="*/ 97927 w 438150"/>
                <a:gd name="connsiteY88" fmla="*/ 415550 h 571493"/>
                <a:gd name="connsiteX89" fmla="*/ 19050 w 438150"/>
                <a:gd name="connsiteY89" fmla="*/ 223364 h 571493"/>
                <a:gd name="connsiteX90" fmla="*/ 19050 w 438150"/>
                <a:gd name="connsiteY90" fmla="*/ 215049 h 571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38150" h="571493">
                  <a:moveTo>
                    <a:pt x="85182" y="453259"/>
                  </a:moveTo>
                  <a:cubicBezTo>
                    <a:pt x="74143" y="459946"/>
                    <a:pt x="66675" y="471947"/>
                    <a:pt x="66675" y="485768"/>
                  </a:cubicBezTo>
                  <a:cubicBezTo>
                    <a:pt x="66675" y="506780"/>
                    <a:pt x="83763" y="523868"/>
                    <a:pt x="104775" y="523868"/>
                  </a:cubicBezTo>
                  <a:lnTo>
                    <a:pt x="104775" y="533393"/>
                  </a:lnTo>
                  <a:cubicBezTo>
                    <a:pt x="104775" y="554405"/>
                    <a:pt x="121863" y="571493"/>
                    <a:pt x="142875" y="571493"/>
                  </a:cubicBezTo>
                  <a:lnTo>
                    <a:pt x="295275" y="571493"/>
                  </a:lnTo>
                  <a:cubicBezTo>
                    <a:pt x="316287" y="571493"/>
                    <a:pt x="333375" y="554405"/>
                    <a:pt x="333375" y="533393"/>
                  </a:cubicBezTo>
                  <a:lnTo>
                    <a:pt x="333375" y="523868"/>
                  </a:lnTo>
                  <a:cubicBezTo>
                    <a:pt x="354387" y="523868"/>
                    <a:pt x="371475" y="506780"/>
                    <a:pt x="371475" y="485768"/>
                  </a:cubicBezTo>
                  <a:cubicBezTo>
                    <a:pt x="371475" y="471947"/>
                    <a:pt x="364007" y="459946"/>
                    <a:pt x="352968" y="453259"/>
                  </a:cubicBezTo>
                  <a:lnTo>
                    <a:pt x="356216" y="426351"/>
                  </a:lnTo>
                  <a:cubicBezTo>
                    <a:pt x="405317" y="373345"/>
                    <a:pt x="438150" y="292220"/>
                    <a:pt x="438150" y="223364"/>
                  </a:cubicBezTo>
                  <a:lnTo>
                    <a:pt x="438150" y="210248"/>
                  </a:lnTo>
                  <a:cubicBezTo>
                    <a:pt x="438150" y="154365"/>
                    <a:pt x="415557" y="101758"/>
                    <a:pt x="374533" y="62106"/>
                  </a:cubicBezTo>
                  <a:cubicBezTo>
                    <a:pt x="331641" y="20643"/>
                    <a:pt x="272148" y="-1979"/>
                    <a:pt x="211103" y="136"/>
                  </a:cubicBezTo>
                  <a:cubicBezTo>
                    <a:pt x="94698" y="4089"/>
                    <a:pt x="0" y="100501"/>
                    <a:pt x="0" y="215049"/>
                  </a:cubicBezTo>
                  <a:lnTo>
                    <a:pt x="0" y="223364"/>
                  </a:lnTo>
                  <a:cubicBezTo>
                    <a:pt x="0" y="292220"/>
                    <a:pt x="32833" y="373354"/>
                    <a:pt x="81934" y="426361"/>
                  </a:cubicBezTo>
                  <a:lnTo>
                    <a:pt x="85182" y="453259"/>
                  </a:lnTo>
                  <a:close/>
                  <a:moveTo>
                    <a:pt x="314325" y="533393"/>
                  </a:moveTo>
                  <a:cubicBezTo>
                    <a:pt x="314325" y="543899"/>
                    <a:pt x="305781" y="552443"/>
                    <a:pt x="295275" y="552443"/>
                  </a:cubicBezTo>
                  <a:lnTo>
                    <a:pt x="142875" y="552443"/>
                  </a:lnTo>
                  <a:cubicBezTo>
                    <a:pt x="132369" y="552443"/>
                    <a:pt x="123825" y="543899"/>
                    <a:pt x="123825" y="533393"/>
                  </a:cubicBezTo>
                  <a:lnTo>
                    <a:pt x="123825" y="523868"/>
                  </a:lnTo>
                  <a:lnTo>
                    <a:pt x="314325" y="523868"/>
                  </a:lnTo>
                  <a:lnTo>
                    <a:pt x="314325" y="533393"/>
                  </a:lnTo>
                  <a:close/>
                  <a:moveTo>
                    <a:pt x="333375" y="504818"/>
                  </a:moveTo>
                  <a:lnTo>
                    <a:pt x="104775" y="504818"/>
                  </a:lnTo>
                  <a:cubicBezTo>
                    <a:pt x="94269" y="504818"/>
                    <a:pt x="85725" y="496274"/>
                    <a:pt x="85725" y="485768"/>
                  </a:cubicBezTo>
                  <a:cubicBezTo>
                    <a:pt x="85725" y="475262"/>
                    <a:pt x="94269" y="466718"/>
                    <a:pt x="104775" y="466718"/>
                  </a:cubicBezTo>
                  <a:lnTo>
                    <a:pt x="161925" y="466718"/>
                  </a:lnTo>
                  <a:lnTo>
                    <a:pt x="161925" y="476243"/>
                  </a:lnTo>
                  <a:cubicBezTo>
                    <a:pt x="161925" y="481501"/>
                    <a:pt x="166192" y="485768"/>
                    <a:pt x="171450" y="485768"/>
                  </a:cubicBezTo>
                  <a:lnTo>
                    <a:pt x="266700" y="485768"/>
                  </a:lnTo>
                  <a:cubicBezTo>
                    <a:pt x="271958" y="485768"/>
                    <a:pt x="276225" y="481501"/>
                    <a:pt x="276225" y="476243"/>
                  </a:cubicBezTo>
                  <a:lnTo>
                    <a:pt x="276225" y="466718"/>
                  </a:lnTo>
                  <a:lnTo>
                    <a:pt x="333375" y="466718"/>
                  </a:lnTo>
                  <a:cubicBezTo>
                    <a:pt x="343881" y="466718"/>
                    <a:pt x="352425" y="475262"/>
                    <a:pt x="352425" y="485768"/>
                  </a:cubicBezTo>
                  <a:cubicBezTo>
                    <a:pt x="352425" y="496274"/>
                    <a:pt x="343881" y="504818"/>
                    <a:pt x="333375" y="504818"/>
                  </a:cubicBezTo>
                  <a:close/>
                  <a:moveTo>
                    <a:pt x="200387" y="278580"/>
                  </a:moveTo>
                  <a:cubicBezTo>
                    <a:pt x="194015" y="272999"/>
                    <a:pt x="190500" y="265398"/>
                    <a:pt x="190500" y="257168"/>
                  </a:cubicBezTo>
                  <a:cubicBezTo>
                    <a:pt x="190500" y="241414"/>
                    <a:pt x="203321" y="228593"/>
                    <a:pt x="219075" y="228593"/>
                  </a:cubicBezTo>
                  <a:cubicBezTo>
                    <a:pt x="234829" y="228593"/>
                    <a:pt x="247650" y="241414"/>
                    <a:pt x="247650" y="257168"/>
                  </a:cubicBezTo>
                  <a:cubicBezTo>
                    <a:pt x="247650" y="265398"/>
                    <a:pt x="244135" y="272999"/>
                    <a:pt x="237763" y="278580"/>
                  </a:cubicBezTo>
                  <a:cubicBezTo>
                    <a:pt x="234772" y="281190"/>
                    <a:pt x="233724" y="285381"/>
                    <a:pt x="235115" y="289096"/>
                  </a:cubicBezTo>
                  <a:cubicBezTo>
                    <a:pt x="236506" y="292811"/>
                    <a:pt x="240068" y="295268"/>
                    <a:pt x="244040" y="295268"/>
                  </a:cubicBezTo>
                  <a:lnTo>
                    <a:pt x="257175" y="295268"/>
                  </a:lnTo>
                  <a:cubicBezTo>
                    <a:pt x="267681" y="295268"/>
                    <a:pt x="276225" y="303812"/>
                    <a:pt x="276225" y="314318"/>
                  </a:cubicBezTo>
                  <a:lnTo>
                    <a:pt x="276225" y="365582"/>
                  </a:lnTo>
                  <a:lnTo>
                    <a:pt x="262442" y="372478"/>
                  </a:lnTo>
                  <a:cubicBezTo>
                    <a:pt x="259213" y="374088"/>
                    <a:pt x="257175" y="377383"/>
                    <a:pt x="257175" y="380993"/>
                  </a:cubicBezTo>
                  <a:lnTo>
                    <a:pt x="257175" y="466718"/>
                  </a:lnTo>
                  <a:lnTo>
                    <a:pt x="180975" y="466718"/>
                  </a:lnTo>
                  <a:lnTo>
                    <a:pt x="180975" y="380993"/>
                  </a:lnTo>
                  <a:cubicBezTo>
                    <a:pt x="180975" y="377383"/>
                    <a:pt x="178937" y="374088"/>
                    <a:pt x="175708" y="372468"/>
                  </a:cubicBezTo>
                  <a:lnTo>
                    <a:pt x="161925" y="365582"/>
                  </a:lnTo>
                  <a:lnTo>
                    <a:pt x="161925" y="314318"/>
                  </a:lnTo>
                  <a:cubicBezTo>
                    <a:pt x="161925" y="303812"/>
                    <a:pt x="170469" y="295268"/>
                    <a:pt x="180975" y="295268"/>
                  </a:cubicBezTo>
                  <a:lnTo>
                    <a:pt x="194110" y="295268"/>
                  </a:lnTo>
                  <a:cubicBezTo>
                    <a:pt x="198082" y="295268"/>
                    <a:pt x="201635" y="292811"/>
                    <a:pt x="203025" y="289096"/>
                  </a:cubicBezTo>
                  <a:cubicBezTo>
                    <a:pt x="204416" y="285381"/>
                    <a:pt x="203378" y="281181"/>
                    <a:pt x="200387" y="278580"/>
                  </a:cubicBezTo>
                  <a:close/>
                  <a:moveTo>
                    <a:pt x="19050" y="215049"/>
                  </a:moveTo>
                  <a:cubicBezTo>
                    <a:pt x="19050" y="110655"/>
                    <a:pt x="105499" y="22777"/>
                    <a:pt x="211760" y="19167"/>
                  </a:cubicBezTo>
                  <a:cubicBezTo>
                    <a:pt x="268415" y="17262"/>
                    <a:pt x="321516" y="37350"/>
                    <a:pt x="361302" y="75793"/>
                  </a:cubicBezTo>
                  <a:cubicBezTo>
                    <a:pt x="398574" y="111826"/>
                    <a:pt x="419100" y="159565"/>
                    <a:pt x="419100" y="210238"/>
                  </a:cubicBezTo>
                  <a:lnTo>
                    <a:pt x="419100" y="223354"/>
                  </a:lnTo>
                  <a:cubicBezTo>
                    <a:pt x="419100" y="287648"/>
                    <a:pt x="386667" y="366677"/>
                    <a:pt x="340233" y="415540"/>
                  </a:cubicBezTo>
                  <a:cubicBezTo>
                    <a:pt x="338823" y="417026"/>
                    <a:pt x="337928" y="418922"/>
                    <a:pt x="337680" y="420960"/>
                  </a:cubicBezTo>
                  <a:lnTo>
                    <a:pt x="334451" y="447763"/>
                  </a:lnTo>
                  <a:cubicBezTo>
                    <a:pt x="334080" y="447763"/>
                    <a:pt x="333737" y="447668"/>
                    <a:pt x="333375" y="447668"/>
                  </a:cubicBezTo>
                  <a:lnTo>
                    <a:pt x="276225" y="447668"/>
                  </a:lnTo>
                  <a:lnTo>
                    <a:pt x="276225" y="386880"/>
                  </a:lnTo>
                  <a:lnTo>
                    <a:pt x="290008" y="379984"/>
                  </a:lnTo>
                  <a:cubicBezTo>
                    <a:pt x="293237" y="378374"/>
                    <a:pt x="295275" y="375078"/>
                    <a:pt x="295275" y="371468"/>
                  </a:cubicBezTo>
                  <a:lnTo>
                    <a:pt x="295275" y="314318"/>
                  </a:lnTo>
                  <a:cubicBezTo>
                    <a:pt x="295275" y="295106"/>
                    <a:pt x="280988" y="279171"/>
                    <a:pt x="262471" y="276590"/>
                  </a:cubicBezTo>
                  <a:cubicBezTo>
                    <a:pt x="265233" y="270522"/>
                    <a:pt x="266700" y="263912"/>
                    <a:pt x="266700" y="257168"/>
                  </a:cubicBezTo>
                  <a:cubicBezTo>
                    <a:pt x="266700" y="230908"/>
                    <a:pt x="245335" y="209543"/>
                    <a:pt x="219075" y="209543"/>
                  </a:cubicBezTo>
                  <a:cubicBezTo>
                    <a:pt x="192815" y="209543"/>
                    <a:pt x="171450" y="230908"/>
                    <a:pt x="171450" y="257168"/>
                  </a:cubicBezTo>
                  <a:cubicBezTo>
                    <a:pt x="171450" y="263912"/>
                    <a:pt x="172917" y="270522"/>
                    <a:pt x="175679" y="276590"/>
                  </a:cubicBezTo>
                  <a:cubicBezTo>
                    <a:pt x="157163" y="279171"/>
                    <a:pt x="142875" y="295106"/>
                    <a:pt x="142875" y="314318"/>
                  </a:cubicBezTo>
                  <a:lnTo>
                    <a:pt x="142875" y="371468"/>
                  </a:lnTo>
                  <a:cubicBezTo>
                    <a:pt x="142875" y="375078"/>
                    <a:pt x="144913" y="378374"/>
                    <a:pt x="148142" y="379993"/>
                  </a:cubicBezTo>
                  <a:lnTo>
                    <a:pt x="161925" y="386880"/>
                  </a:lnTo>
                  <a:lnTo>
                    <a:pt x="161925" y="447668"/>
                  </a:lnTo>
                  <a:lnTo>
                    <a:pt x="104775" y="447668"/>
                  </a:lnTo>
                  <a:cubicBezTo>
                    <a:pt x="104413" y="447668"/>
                    <a:pt x="104070" y="447763"/>
                    <a:pt x="103708" y="447773"/>
                  </a:cubicBezTo>
                  <a:lnTo>
                    <a:pt x="100479" y="420970"/>
                  </a:lnTo>
                  <a:cubicBezTo>
                    <a:pt x="100232" y="418931"/>
                    <a:pt x="99336" y="417026"/>
                    <a:pt x="97927" y="415550"/>
                  </a:cubicBezTo>
                  <a:cubicBezTo>
                    <a:pt x="51483" y="366687"/>
                    <a:pt x="19050" y="287658"/>
                    <a:pt x="19050" y="223364"/>
                  </a:cubicBezTo>
                  <a:lnTo>
                    <a:pt x="19050" y="215049"/>
                  </a:lnTo>
                  <a:close/>
                </a:path>
              </a:pathLst>
            </a:custGeom>
            <a:grpFill/>
            <a:ln w="9525" cap="flat">
              <a:noFill/>
              <a:prstDash val="solid"/>
              <a:miter/>
            </a:ln>
          </p:spPr>
          <p:txBody>
            <a:bodyPr rtlCol="0" anchor="ctr"/>
            <a:lstStyle/>
            <a:p>
              <a:endParaRPr lang="en-US" sz="800"/>
            </a:p>
          </p:txBody>
        </p:sp>
        <p:sp>
          <p:nvSpPr>
            <p:cNvPr id="1318" name="Graphic 31">
              <a:extLst>
                <a:ext uri="{FF2B5EF4-FFF2-40B4-BE49-F238E27FC236}">
                  <a16:creationId xmlns:a16="http://schemas.microsoft.com/office/drawing/2014/main" id="{ED959010-D621-C56B-2C97-1E6F5A087AB9}"/>
                </a:ext>
              </a:extLst>
            </p:cNvPr>
            <p:cNvSpPr/>
            <p:nvPr/>
          </p:nvSpPr>
          <p:spPr>
            <a:xfrm>
              <a:off x="2517484" y="2113457"/>
              <a:ext cx="171437" cy="171457"/>
            </a:xfrm>
            <a:custGeom>
              <a:avLst/>
              <a:gdLst>
                <a:gd name="connsiteX0" fmla="*/ 45554 w 171437"/>
                <a:gd name="connsiteY0" fmla="*/ 107252 h 171457"/>
                <a:gd name="connsiteX1" fmla="*/ 29523 w 171437"/>
                <a:gd name="connsiteY1" fmla="*/ 159115 h 171457"/>
                <a:gd name="connsiteX2" fmla="*/ 33171 w 171437"/>
                <a:gd name="connsiteY2" fmla="*/ 169745 h 171457"/>
                <a:gd name="connsiteX3" fmla="*/ 44401 w 171437"/>
                <a:gd name="connsiteY3" fmla="*/ 169507 h 171457"/>
                <a:gd name="connsiteX4" fmla="*/ 85721 w 171437"/>
                <a:gd name="connsiteY4" fmla="*/ 137932 h 171457"/>
                <a:gd name="connsiteX5" fmla="*/ 127031 w 171437"/>
                <a:gd name="connsiteY5" fmla="*/ 169488 h 171457"/>
                <a:gd name="connsiteX6" fmla="*/ 132812 w 171437"/>
                <a:gd name="connsiteY6" fmla="*/ 171450 h 171457"/>
                <a:gd name="connsiteX7" fmla="*/ 138261 w 171437"/>
                <a:gd name="connsiteY7" fmla="*/ 169736 h 171457"/>
                <a:gd name="connsiteX8" fmla="*/ 141909 w 171437"/>
                <a:gd name="connsiteY8" fmla="*/ 159106 h 171457"/>
                <a:gd name="connsiteX9" fmla="*/ 125878 w 171437"/>
                <a:gd name="connsiteY9" fmla="*/ 107242 h 171457"/>
                <a:gd name="connsiteX10" fmla="*/ 167693 w 171437"/>
                <a:gd name="connsiteY10" fmla="*/ 75295 h 171457"/>
                <a:gd name="connsiteX11" fmla="*/ 170931 w 171437"/>
                <a:gd name="connsiteY11" fmla="*/ 64675 h 171457"/>
                <a:gd name="connsiteX12" fmla="*/ 161911 w 171437"/>
                <a:gd name="connsiteY12" fmla="*/ 58198 h 171457"/>
                <a:gd name="connsiteX13" fmla="*/ 110724 w 171437"/>
                <a:gd name="connsiteY13" fmla="*/ 58198 h 171457"/>
                <a:gd name="connsiteX14" fmla="*/ 94807 w 171437"/>
                <a:gd name="connsiteY14" fmla="*/ 6696 h 171457"/>
                <a:gd name="connsiteX15" fmla="*/ 85721 w 171437"/>
                <a:gd name="connsiteY15" fmla="*/ 0 h 171457"/>
                <a:gd name="connsiteX16" fmla="*/ 76615 w 171437"/>
                <a:gd name="connsiteY16" fmla="*/ 6715 h 171457"/>
                <a:gd name="connsiteX17" fmla="*/ 60698 w 171437"/>
                <a:gd name="connsiteY17" fmla="*/ 58217 h 171457"/>
                <a:gd name="connsiteX18" fmla="*/ 9521 w 171437"/>
                <a:gd name="connsiteY18" fmla="*/ 58217 h 171457"/>
                <a:gd name="connsiteX19" fmla="*/ 500 w 171437"/>
                <a:gd name="connsiteY19" fmla="*/ 64694 h 171457"/>
                <a:gd name="connsiteX20" fmla="*/ 3739 w 171437"/>
                <a:gd name="connsiteY20" fmla="*/ 75314 h 171457"/>
                <a:gd name="connsiteX21" fmla="*/ 45554 w 171437"/>
                <a:gd name="connsiteY21" fmla="*/ 107252 h 171457"/>
                <a:gd name="connsiteX22" fmla="*/ 67728 w 171437"/>
                <a:gd name="connsiteY22" fmla="*/ 77257 h 171457"/>
                <a:gd name="connsiteX23" fmla="*/ 76834 w 171437"/>
                <a:gd name="connsiteY23" fmla="*/ 70542 h 171457"/>
                <a:gd name="connsiteX24" fmla="*/ 85721 w 171437"/>
                <a:gd name="connsiteY24" fmla="*/ 41786 h 171457"/>
                <a:gd name="connsiteX25" fmla="*/ 94607 w 171437"/>
                <a:gd name="connsiteY25" fmla="*/ 70552 h 171457"/>
                <a:gd name="connsiteX26" fmla="*/ 103713 w 171437"/>
                <a:gd name="connsiteY26" fmla="*/ 77267 h 171457"/>
                <a:gd name="connsiteX27" fmla="*/ 133765 w 171437"/>
                <a:gd name="connsiteY27" fmla="*/ 77267 h 171457"/>
                <a:gd name="connsiteX28" fmla="*/ 109047 w 171437"/>
                <a:gd name="connsiteY28" fmla="*/ 96155 h 171457"/>
                <a:gd name="connsiteX29" fmla="*/ 105723 w 171437"/>
                <a:gd name="connsiteY29" fmla="*/ 106537 h 171457"/>
                <a:gd name="connsiteX30" fmla="*/ 114915 w 171437"/>
                <a:gd name="connsiteY30" fmla="*/ 136274 h 171457"/>
                <a:gd name="connsiteX31" fmla="*/ 91502 w 171437"/>
                <a:gd name="connsiteY31" fmla="*/ 118396 h 171457"/>
                <a:gd name="connsiteX32" fmla="*/ 85721 w 171437"/>
                <a:gd name="connsiteY32" fmla="*/ 116434 h 171457"/>
                <a:gd name="connsiteX33" fmla="*/ 79939 w 171437"/>
                <a:gd name="connsiteY33" fmla="*/ 118396 h 171457"/>
                <a:gd name="connsiteX34" fmla="*/ 56527 w 171437"/>
                <a:gd name="connsiteY34" fmla="*/ 136274 h 171457"/>
                <a:gd name="connsiteX35" fmla="*/ 65718 w 171437"/>
                <a:gd name="connsiteY35" fmla="*/ 106537 h 171457"/>
                <a:gd name="connsiteX36" fmla="*/ 62394 w 171437"/>
                <a:gd name="connsiteY36" fmla="*/ 96155 h 171457"/>
                <a:gd name="connsiteX37" fmla="*/ 37677 w 171437"/>
                <a:gd name="connsiteY37" fmla="*/ 77267 h 171457"/>
                <a:gd name="connsiteX38" fmla="*/ 67728 w 171437"/>
                <a:gd name="connsiteY38" fmla="*/ 77267 h 17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71437" h="171457">
                  <a:moveTo>
                    <a:pt x="45554" y="107252"/>
                  </a:moveTo>
                  <a:lnTo>
                    <a:pt x="29523" y="159115"/>
                  </a:lnTo>
                  <a:cubicBezTo>
                    <a:pt x="28304" y="163078"/>
                    <a:pt x="29780" y="167373"/>
                    <a:pt x="33171" y="169745"/>
                  </a:cubicBezTo>
                  <a:cubicBezTo>
                    <a:pt x="36562" y="172117"/>
                    <a:pt x="41115" y="172012"/>
                    <a:pt x="44401" y="169507"/>
                  </a:cubicBezTo>
                  <a:lnTo>
                    <a:pt x="85721" y="137932"/>
                  </a:lnTo>
                  <a:lnTo>
                    <a:pt x="127031" y="169488"/>
                  </a:lnTo>
                  <a:cubicBezTo>
                    <a:pt x="128736" y="170793"/>
                    <a:pt x="130774" y="171450"/>
                    <a:pt x="132812" y="171450"/>
                  </a:cubicBezTo>
                  <a:cubicBezTo>
                    <a:pt x="134717" y="171450"/>
                    <a:pt x="136622" y="170879"/>
                    <a:pt x="138261" y="169736"/>
                  </a:cubicBezTo>
                  <a:cubicBezTo>
                    <a:pt x="141651" y="167364"/>
                    <a:pt x="143137" y="163068"/>
                    <a:pt x="141909" y="159106"/>
                  </a:cubicBezTo>
                  <a:lnTo>
                    <a:pt x="125878" y="107242"/>
                  </a:lnTo>
                  <a:lnTo>
                    <a:pt x="167693" y="75295"/>
                  </a:lnTo>
                  <a:cubicBezTo>
                    <a:pt x="170941" y="72819"/>
                    <a:pt x="172246" y="68551"/>
                    <a:pt x="170931" y="64675"/>
                  </a:cubicBezTo>
                  <a:cubicBezTo>
                    <a:pt x="169617" y="60798"/>
                    <a:pt x="165988" y="58198"/>
                    <a:pt x="161911" y="58198"/>
                  </a:cubicBezTo>
                  <a:lnTo>
                    <a:pt x="110724" y="58198"/>
                  </a:lnTo>
                  <a:lnTo>
                    <a:pt x="94807" y="6696"/>
                  </a:lnTo>
                  <a:cubicBezTo>
                    <a:pt x="93588" y="2724"/>
                    <a:pt x="89893" y="0"/>
                    <a:pt x="85721" y="0"/>
                  </a:cubicBezTo>
                  <a:cubicBezTo>
                    <a:pt x="81549" y="0"/>
                    <a:pt x="77853" y="2724"/>
                    <a:pt x="76615" y="6715"/>
                  </a:cubicBezTo>
                  <a:lnTo>
                    <a:pt x="60698" y="58217"/>
                  </a:lnTo>
                  <a:lnTo>
                    <a:pt x="9521" y="58217"/>
                  </a:lnTo>
                  <a:cubicBezTo>
                    <a:pt x="5434" y="58217"/>
                    <a:pt x="1805" y="60817"/>
                    <a:pt x="500" y="64694"/>
                  </a:cubicBezTo>
                  <a:cubicBezTo>
                    <a:pt x="-804" y="68570"/>
                    <a:pt x="500" y="72828"/>
                    <a:pt x="3739" y="75314"/>
                  </a:cubicBezTo>
                  <a:lnTo>
                    <a:pt x="45554" y="107252"/>
                  </a:lnTo>
                  <a:close/>
                  <a:moveTo>
                    <a:pt x="67728" y="77257"/>
                  </a:moveTo>
                  <a:cubicBezTo>
                    <a:pt x="71900" y="77257"/>
                    <a:pt x="75596" y="74533"/>
                    <a:pt x="76834" y="70542"/>
                  </a:cubicBezTo>
                  <a:lnTo>
                    <a:pt x="85721" y="41786"/>
                  </a:lnTo>
                  <a:lnTo>
                    <a:pt x="94607" y="70552"/>
                  </a:lnTo>
                  <a:cubicBezTo>
                    <a:pt x="95846" y="74543"/>
                    <a:pt x="99532" y="77267"/>
                    <a:pt x="103713" y="77267"/>
                  </a:cubicBezTo>
                  <a:lnTo>
                    <a:pt x="133765" y="77267"/>
                  </a:lnTo>
                  <a:lnTo>
                    <a:pt x="109047" y="96155"/>
                  </a:lnTo>
                  <a:cubicBezTo>
                    <a:pt x="105876" y="98574"/>
                    <a:pt x="104552" y="102718"/>
                    <a:pt x="105723" y="106537"/>
                  </a:cubicBezTo>
                  <a:lnTo>
                    <a:pt x="114915" y="136274"/>
                  </a:lnTo>
                  <a:lnTo>
                    <a:pt x="91502" y="118396"/>
                  </a:lnTo>
                  <a:cubicBezTo>
                    <a:pt x="89797" y="117091"/>
                    <a:pt x="87759" y="116434"/>
                    <a:pt x="85721" y="116434"/>
                  </a:cubicBezTo>
                  <a:cubicBezTo>
                    <a:pt x="83682" y="116434"/>
                    <a:pt x="81644" y="117081"/>
                    <a:pt x="79939" y="118396"/>
                  </a:cubicBezTo>
                  <a:lnTo>
                    <a:pt x="56527" y="136274"/>
                  </a:lnTo>
                  <a:lnTo>
                    <a:pt x="65718" y="106537"/>
                  </a:lnTo>
                  <a:cubicBezTo>
                    <a:pt x="66899" y="102727"/>
                    <a:pt x="65566" y="98584"/>
                    <a:pt x="62394" y="96155"/>
                  </a:cubicBezTo>
                  <a:lnTo>
                    <a:pt x="37677" y="77267"/>
                  </a:lnTo>
                  <a:lnTo>
                    <a:pt x="67728" y="77267"/>
                  </a:lnTo>
                  <a:close/>
                </a:path>
              </a:pathLst>
            </a:custGeom>
            <a:grpFill/>
            <a:ln w="9525" cap="flat">
              <a:noFill/>
              <a:prstDash val="solid"/>
              <a:miter/>
            </a:ln>
          </p:spPr>
          <p:txBody>
            <a:bodyPr rtlCol="0" anchor="ctr"/>
            <a:lstStyle/>
            <a:p>
              <a:endParaRPr lang="en-US" sz="800"/>
            </a:p>
          </p:txBody>
        </p:sp>
        <p:sp>
          <p:nvSpPr>
            <p:cNvPr id="1319" name="Graphic 31">
              <a:extLst>
                <a:ext uri="{FF2B5EF4-FFF2-40B4-BE49-F238E27FC236}">
                  <a16:creationId xmlns:a16="http://schemas.microsoft.com/office/drawing/2014/main" id="{DD532521-B2C4-0401-B2CC-5F318F71394A}"/>
                </a:ext>
              </a:extLst>
            </p:cNvPr>
            <p:cNvSpPr/>
            <p:nvPr/>
          </p:nvSpPr>
          <p:spPr>
            <a:xfrm>
              <a:off x="2850855" y="25897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sz="800"/>
            </a:p>
          </p:txBody>
        </p:sp>
        <p:sp>
          <p:nvSpPr>
            <p:cNvPr id="1320" name="Graphic 31">
              <a:extLst>
                <a:ext uri="{FF2B5EF4-FFF2-40B4-BE49-F238E27FC236}">
                  <a16:creationId xmlns:a16="http://schemas.microsoft.com/office/drawing/2014/main" id="{B2D541C9-1E26-F705-9E49-4D2427651362}"/>
                </a:ext>
              </a:extLst>
            </p:cNvPr>
            <p:cNvSpPr/>
            <p:nvPr/>
          </p:nvSpPr>
          <p:spPr>
            <a:xfrm>
              <a:off x="2850855" y="26278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sz="800"/>
            </a:p>
          </p:txBody>
        </p:sp>
        <p:sp>
          <p:nvSpPr>
            <p:cNvPr id="1321" name="Graphic 31">
              <a:extLst>
                <a:ext uri="{FF2B5EF4-FFF2-40B4-BE49-F238E27FC236}">
                  <a16:creationId xmlns:a16="http://schemas.microsoft.com/office/drawing/2014/main" id="{EF2D9E81-BE3E-8432-6353-DCFB1D151471}"/>
                </a:ext>
              </a:extLst>
            </p:cNvPr>
            <p:cNvSpPr/>
            <p:nvPr/>
          </p:nvSpPr>
          <p:spPr>
            <a:xfrm>
              <a:off x="2869905" y="26087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sz="800"/>
            </a:p>
          </p:txBody>
        </p:sp>
        <p:sp>
          <p:nvSpPr>
            <p:cNvPr id="1322" name="Graphic 31">
              <a:extLst>
                <a:ext uri="{FF2B5EF4-FFF2-40B4-BE49-F238E27FC236}">
                  <a16:creationId xmlns:a16="http://schemas.microsoft.com/office/drawing/2014/main" id="{A0B47DB7-2350-DFF8-5274-FAACC37801ED}"/>
                </a:ext>
              </a:extLst>
            </p:cNvPr>
            <p:cNvSpPr/>
            <p:nvPr/>
          </p:nvSpPr>
          <p:spPr>
            <a:xfrm>
              <a:off x="2831805" y="26087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sz="800"/>
            </a:p>
          </p:txBody>
        </p:sp>
        <p:sp>
          <p:nvSpPr>
            <p:cNvPr id="1323" name="Graphic 31">
              <a:extLst>
                <a:ext uri="{FF2B5EF4-FFF2-40B4-BE49-F238E27FC236}">
                  <a16:creationId xmlns:a16="http://schemas.microsoft.com/office/drawing/2014/main" id="{1610A4DF-DC56-ECDD-04DB-BCCBC1864CA8}"/>
                </a:ext>
              </a:extLst>
            </p:cNvPr>
            <p:cNvSpPr/>
            <p:nvPr/>
          </p:nvSpPr>
          <p:spPr>
            <a:xfrm>
              <a:off x="2336505" y="25897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sz="800"/>
            </a:p>
          </p:txBody>
        </p:sp>
        <p:sp>
          <p:nvSpPr>
            <p:cNvPr id="1324" name="Graphic 31">
              <a:extLst>
                <a:ext uri="{FF2B5EF4-FFF2-40B4-BE49-F238E27FC236}">
                  <a16:creationId xmlns:a16="http://schemas.microsoft.com/office/drawing/2014/main" id="{10B37CA5-B2C5-D308-8834-A315261F4D12}"/>
                </a:ext>
              </a:extLst>
            </p:cNvPr>
            <p:cNvSpPr/>
            <p:nvPr/>
          </p:nvSpPr>
          <p:spPr>
            <a:xfrm>
              <a:off x="2336505" y="262780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sz="800"/>
            </a:p>
          </p:txBody>
        </p:sp>
        <p:sp>
          <p:nvSpPr>
            <p:cNvPr id="1325" name="Graphic 31">
              <a:extLst>
                <a:ext uri="{FF2B5EF4-FFF2-40B4-BE49-F238E27FC236}">
                  <a16:creationId xmlns:a16="http://schemas.microsoft.com/office/drawing/2014/main" id="{F24C6928-A972-DD90-ED02-55C646F8A078}"/>
                </a:ext>
              </a:extLst>
            </p:cNvPr>
            <p:cNvSpPr/>
            <p:nvPr/>
          </p:nvSpPr>
          <p:spPr>
            <a:xfrm>
              <a:off x="2355555" y="26087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sz="800"/>
            </a:p>
          </p:txBody>
        </p:sp>
        <p:sp>
          <p:nvSpPr>
            <p:cNvPr id="1326" name="Graphic 31">
              <a:extLst>
                <a:ext uri="{FF2B5EF4-FFF2-40B4-BE49-F238E27FC236}">
                  <a16:creationId xmlns:a16="http://schemas.microsoft.com/office/drawing/2014/main" id="{5A3BBDFB-891D-2C5E-360C-7D90AB764698}"/>
                </a:ext>
              </a:extLst>
            </p:cNvPr>
            <p:cNvSpPr/>
            <p:nvPr/>
          </p:nvSpPr>
          <p:spPr>
            <a:xfrm>
              <a:off x="2317455" y="2608757"/>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en-US" sz="800"/>
            </a:p>
          </p:txBody>
        </p:sp>
        <p:sp>
          <p:nvSpPr>
            <p:cNvPr id="1327" name="Graphic 31">
              <a:extLst>
                <a:ext uri="{FF2B5EF4-FFF2-40B4-BE49-F238E27FC236}">
                  <a16:creationId xmlns:a16="http://schemas.microsoft.com/office/drawing/2014/main" id="{74138E7E-717F-4644-7A5B-8E9063940F8E}"/>
                </a:ext>
              </a:extLst>
            </p:cNvPr>
            <p:cNvSpPr/>
            <p:nvPr/>
          </p:nvSpPr>
          <p:spPr>
            <a:xfrm>
              <a:off x="2841330" y="2275382"/>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grpFill/>
            <a:ln w="9525" cap="flat">
              <a:noFill/>
              <a:prstDash val="solid"/>
              <a:miter/>
            </a:ln>
          </p:spPr>
          <p:txBody>
            <a:bodyPr rtlCol="0" anchor="ctr"/>
            <a:lstStyle/>
            <a:p>
              <a:endParaRPr lang="en-US" sz="800"/>
            </a:p>
          </p:txBody>
        </p:sp>
        <p:sp>
          <p:nvSpPr>
            <p:cNvPr id="1328" name="Graphic 31">
              <a:extLst>
                <a:ext uri="{FF2B5EF4-FFF2-40B4-BE49-F238E27FC236}">
                  <a16:creationId xmlns:a16="http://schemas.microsoft.com/office/drawing/2014/main" id="{AA62D5CE-6124-2847-F2BC-091563331164}"/>
                </a:ext>
              </a:extLst>
            </p:cNvPr>
            <p:cNvSpPr/>
            <p:nvPr/>
          </p:nvSpPr>
          <p:spPr>
            <a:xfrm>
              <a:off x="2326980" y="2275382"/>
              <a:ext cx="38100" cy="19050"/>
            </a:xfrm>
            <a:custGeom>
              <a:avLst/>
              <a:gdLst>
                <a:gd name="connsiteX0" fmla="*/ 0 w 38100"/>
                <a:gd name="connsiteY0" fmla="*/ 0 h 19050"/>
                <a:gd name="connsiteX1" fmla="*/ 38100 w 38100"/>
                <a:gd name="connsiteY1" fmla="*/ 0 h 19050"/>
                <a:gd name="connsiteX2" fmla="*/ 38100 w 38100"/>
                <a:gd name="connsiteY2" fmla="*/ 19050 h 19050"/>
                <a:gd name="connsiteX3" fmla="*/ 0 w 3810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8100" h="19050">
                  <a:moveTo>
                    <a:pt x="0" y="0"/>
                  </a:moveTo>
                  <a:lnTo>
                    <a:pt x="38100" y="0"/>
                  </a:lnTo>
                  <a:lnTo>
                    <a:pt x="38100" y="19050"/>
                  </a:lnTo>
                  <a:lnTo>
                    <a:pt x="0" y="19050"/>
                  </a:lnTo>
                  <a:close/>
                </a:path>
              </a:pathLst>
            </a:custGeom>
            <a:grpFill/>
            <a:ln w="9525" cap="flat">
              <a:noFill/>
              <a:prstDash val="solid"/>
              <a:miter/>
            </a:ln>
          </p:spPr>
          <p:txBody>
            <a:bodyPr rtlCol="0" anchor="ctr"/>
            <a:lstStyle/>
            <a:p>
              <a:endParaRPr lang="en-US" sz="800"/>
            </a:p>
          </p:txBody>
        </p:sp>
        <p:sp>
          <p:nvSpPr>
            <p:cNvPr id="1329" name="Graphic 31">
              <a:extLst>
                <a:ext uri="{FF2B5EF4-FFF2-40B4-BE49-F238E27FC236}">
                  <a16:creationId xmlns:a16="http://schemas.microsoft.com/office/drawing/2014/main" id="{221B8446-537E-53D2-569D-F142A2CF993B}"/>
                </a:ext>
              </a:extLst>
            </p:cNvPr>
            <p:cNvSpPr/>
            <p:nvPr/>
          </p:nvSpPr>
          <p:spPr>
            <a:xfrm rot="-2700000">
              <a:off x="2766000" y="2093532"/>
              <a:ext cx="38099" cy="19049"/>
            </a:xfrm>
            <a:custGeom>
              <a:avLst/>
              <a:gdLst>
                <a:gd name="connsiteX0" fmla="*/ 0 w 38099"/>
                <a:gd name="connsiteY0" fmla="*/ 0 h 19049"/>
                <a:gd name="connsiteX1" fmla="*/ 38100 w 38099"/>
                <a:gd name="connsiteY1" fmla="*/ 0 h 19049"/>
                <a:gd name="connsiteX2" fmla="*/ 38100 w 38099"/>
                <a:gd name="connsiteY2" fmla="*/ 19050 h 19049"/>
                <a:gd name="connsiteX3" fmla="*/ 0 w 38099"/>
                <a:gd name="connsiteY3" fmla="*/ 19050 h 19049"/>
              </a:gdLst>
              <a:ahLst/>
              <a:cxnLst>
                <a:cxn ang="0">
                  <a:pos x="connsiteX0" y="connsiteY0"/>
                </a:cxn>
                <a:cxn ang="0">
                  <a:pos x="connsiteX1" y="connsiteY1"/>
                </a:cxn>
                <a:cxn ang="0">
                  <a:pos x="connsiteX2" y="connsiteY2"/>
                </a:cxn>
                <a:cxn ang="0">
                  <a:pos x="connsiteX3" y="connsiteY3"/>
                </a:cxn>
              </a:cxnLst>
              <a:rect l="l" t="t" r="r" b="b"/>
              <a:pathLst>
                <a:path w="38099" h="19049">
                  <a:moveTo>
                    <a:pt x="0" y="0"/>
                  </a:moveTo>
                  <a:lnTo>
                    <a:pt x="38100" y="0"/>
                  </a:lnTo>
                  <a:lnTo>
                    <a:pt x="38100" y="19050"/>
                  </a:lnTo>
                  <a:lnTo>
                    <a:pt x="0" y="19050"/>
                  </a:lnTo>
                  <a:close/>
                </a:path>
              </a:pathLst>
            </a:custGeom>
            <a:grpFill/>
            <a:ln w="9525" cap="flat">
              <a:noFill/>
              <a:prstDash val="solid"/>
              <a:miter/>
            </a:ln>
          </p:spPr>
          <p:txBody>
            <a:bodyPr rtlCol="0" anchor="ctr"/>
            <a:lstStyle/>
            <a:p>
              <a:endParaRPr lang="en-US" sz="800"/>
            </a:p>
          </p:txBody>
        </p:sp>
        <p:sp>
          <p:nvSpPr>
            <p:cNvPr id="1330" name="Graphic 31">
              <a:extLst>
                <a:ext uri="{FF2B5EF4-FFF2-40B4-BE49-F238E27FC236}">
                  <a16:creationId xmlns:a16="http://schemas.microsoft.com/office/drawing/2014/main" id="{91084761-1C81-08E1-F2EC-20857ED488DD}"/>
                </a:ext>
              </a:extLst>
            </p:cNvPr>
            <p:cNvSpPr/>
            <p:nvPr/>
          </p:nvSpPr>
          <p:spPr>
            <a:xfrm rot="-2700000">
              <a:off x="2411826" y="2084008"/>
              <a:ext cx="19049" cy="38099"/>
            </a:xfrm>
            <a:custGeom>
              <a:avLst/>
              <a:gdLst>
                <a:gd name="connsiteX0" fmla="*/ 0 w 19049"/>
                <a:gd name="connsiteY0" fmla="*/ 0 h 38099"/>
                <a:gd name="connsiteX1" fmla="*/ 19050 w 19049"/>
                <a:gd name="connsiteY1" fmla="*/ 0 h 38099"/>
                <a:gd name="connsiteX2" fmla="*/ 19050 w 19049"/>
                <a:gd name="connsiteY2" fmla="*/ 38100 h 38099"/>
                <a:gd name="connsiteX3" fmla="*/ 0 w 19049"/>
                <a:gd name="connsiteY3" fmla="*/ 38100 h 38099"/>
              </a:gdLst>
              <a:ahLst/>
              <a:cxnLst>
                <a:cxn ang="0">
                  <a:pos x="connsiteX0" y="connsiteY0"/>
                </a:cxn>
                <a:cxn ang="0">
                  <a:pos x="connsiteX1" y="connsiteY1"/>
                </a:cxn>
                <a:cxn ang="0">
                  <a:pos x="connsiteX2" y="connsiteY2"/>
                </a:cxn>
                <a:cxn ang="0">
                  <a:pos x="connsiteX3" y="connsiteY3"/>
                </a:cxn>
              </a:cxnLst>
              <a:rect l="l" t="t" r="r" b="b"/>
              <a:pathLst>
                <a:path w="19049" h="38099">
                  <a:moveTo>
                    <a:pt x="0" y="0"/>
                  </a:moveTo>
                  <a:lnTo>
                    <a:pt x="19050" y="0"/>
                  </a:lnTo>
                  <a:lnTo>
                    <a:pt x="19050" y="38100"/>
                  </a:lnTo>
                  <a:lnTo>
                    <a:pt x="0" y="38100"/>
                  </a:lnTo>
                  <a:close/>
                </a:path>
              </a:pathLst>
            </a:custGeom>
            <a:grpFill/>
            <a:ln w="9525" cap="flat">
              <a:noFill/>
              <a:prstDash val="solid"/>
              <a:miter/>
            </a:ln>
          </p:spPr>
          <p:txBody>
            <a:bodyPr rtlCol="0" anchor="ctr"/>
            <a:lstStyle/>
            <a:p>
              <a:endParaRPr lang="en-US" sz="800"/>
            </a:p>
          </p:txBody>
        </p:sp>
      </p:grpSp>
      <p:sp>
        <p:nvSpPr>
          <p:cNvPr id="1331" name="Graphic 51">
            <a:extLst>
              <a:ext uri="{FF2B5EF4-FFF2-40B4-BE49-F238E27FC236}">
                <a16:creationId xmlns:a16="http://schemas.microsoft.com/office/drawing/2014/main" id="{95930766-2383-0533-9FA2-C526BBA6BEE4}"/>
              </a:ext>
            </a:extLst>
          </p:cNvPr>
          <p:cNvSpPr/>
          <p:nvPr/>
        </p:nvSpPr>
        <p:spPr>
          <a:xfrm>
            <a:off x="4774464" y="5529561"/>
            <a:ext cx="330507" cy="280505"/>
          </a:xfrm>
          <a:custGeom>
            <a:avLst/>
            <a:gdLst>
              <a:gd name="connsiteX0" fmla="*/ 819150 w 857250"/>
              <a:gd name="connsiteY0" fmla="*/ 425196 h 727557"/>
              <a:gd name="connsiteX1" fmla="*/ 671513 w 857250"/>
              <a:gd name="connsiteY1" fmla="*/ 425196 h 727557"/>
              <a:gd name="connsiteX2" fmla="*/ 671513 w 857250"/>
              <a:gd name="connsiteY2" fmla="*/ 377952 h 727557"/>
              <a:gd name="connsiteX3" fmla="*/ 647700 w 857250"/>
              <a:gd name="connsiteY3" fmla="*/ 354330 h 727557"/>
              <a:gd name="connsiteX4" fmla="*/ 442913 w 857250"/>
              <a:gd name="connsiteY4" fmla="*/ 354330 h 727557"/>
              <a:gd name="connsiteX5" fmla="*/ 442913 w 857250"/>
              <a:gd name="connsiteY5" fmla="*/ 311810 h 727557"/>
              <a:gd name="connsiteX6" fmla="*/ 609600 w 857250"/>
              <a:gd name="connsiteY6" fmla="*/ 311810 h 727557"/>
              <a:gd name="connsiteX7" fmla="*/ 647700 w 857250"/>
              <a:gd name="connsiteY7" fmla="*/ 274015 h 727557"/>
              <a:gd name="connsiteX8" fmla="*/ 647700 w 857250"/>
              <a:gd name="connsiteY8" fmla="*/ 37795 h 727557"/>
              <a:gd name="connsiteX9" fmla="*/ 609600 w 857250"/>
              <a:gd name="connsiteY9" fmla="*/ 0 h 727557"/>
              <a:gd name="connsiteX10" fmla="*/ 247650 w 857250"/>
              <a:gd name="connsiteY10" fmla="*/ 0 h 727557"/>
              <a:gd name="connsiteX11" fmla="*/ 209550 w 857250"/>
              <a:gd name="connsiteY11" fmla="*/ 37795 h 727557"/>
              <a:gd name="connsiteX12" fmla="*/ 209550 w 857250"/>
              <a:gd name="connsiteY12" fmla="*/ 274015 h 727557"/>
              <a:gd name="connsiteX13" fmla="*/ 247650 w 857250"/>
              <a:gd name="connsiteY13" fmla="*/ 311810 h 727557"/>
              <a:gd name="connsiteX14" fmla="*/ 414338 w 857250"/>
              <a:gd name="connsiteY14" fmla="*/ 311810 h 727557"/>
              <a:gd name="connsiteX15" fmla="*/ 414338 w 857250"/>
              <a:gd name="connsiteY15" fmla="*/ 354330 h 727557"/>
              <a:gd name="connsiteX16" fmla="*/ 209550 w 857250"/>
              <a:gd name="connsiteY16" fmla="*/ 354330 h 727557"/>
              <a:gd name="connsiteX17" fmla="*/ 185738 w 857250"/>
              <a:gd name="connsiteY17" fmla="*/ 377952 h 727557"/>
              <a:gd name="connsiteX18" fmla="*/ 185738 w 857250"/>
              <a:gd name="connsiteY18" fmla="*/ 425196 h 727557"/>
              <a:gd name="connsiteX19" fmla="*/ 38100 w 857250"/>
              <a:gd name="connsiteY19" fmla="*/ 425196 h 727557"/>
              <a:gd name="connsiteX20" fmla="*/ 0 w 857250"/>
              <a:gd name="connsiteY20" fmla="*/ 462991 h 727557"/>
              <a:gd name="connsiteX21" fmla="*/ 0 w 857250"/>
              <a:gd name="connsiteY21" fmla="*/ 689762 h 727557"/>
              <a:gd name="connsiteX22" fmla="*/ 38100 w 857250"/>
              <a:gd name="connsiteY22" fmla="*/ 727558 h 727557"/>
              <a:gd name="connsiteX23" fmla="*/ 361950 w 857250"/>
              <a:gd name="connsiteY23" fmla="*/ 727558 h 727557"/>
              <a:gd name="connsiteX24" fmla="*/ 400050 w 857250"/>
              <a:gd name="connsiteY24" fmla="*/ 689762 h 727557"/>
              <a:gd name="connsiteX25" fmla="*/ 400050 w 857250"/>
              <a:gd name="connsiteY25" fmla="*/ 462991 h 727557"/>
              <a:gd name="connsiteX26" fmla="*/ 361950 w 857250"/>
              <a:gd name="connsiteY26" fmla="*/ 425196 h 727557"/>
              <a:gd name="connsiteX27" fmla="*/ 214313 w 857250"/>
              <a:gd name="connsiteY27" fmla="*/ 425196 h 727557"/>
              <a:gd name="connsiteX28" fmla="*/ 214313 w 857250"/>
              <a:gd name="connsiteY28" fmla="*/ 382676 h 727557"/>
              <a:gd name="connsiteX29" fmla="*/ 642938 w 857250"/>
              <a:gd name="connsiteY29" fmla="*/ 382676 h 727557"/>
              <a:gd name="connsiteX30" fmla="*/ 642938 w 857250"/>
              <a:gd name="connsiteY30" fmla="*/ 425196 h 727557"/>
              <a:gd name="connsiteX31" fmla="*/ 495300 w 857250"/>
              <a:gd name="connsiteY31" fmla="*/ 425196 h 727557"/>
              <a:gd name="connsiteX32" fmla="*/ 457200 w 857250"/>
              <a:gd name="connsiteY32" fmla="*/ 462991 h 727557"/>
              <a:gd name="connsiteX33" fmla="*/ 457200 w 857250"/>
              <a:gd name="connsiteY33" fmla="*/ 689762 h 727557"/>
              <a:gd name="connsiteX34" fmla="*/ 495300 w 857250"/>
              <a:gd name="connsiteY34" fmla="*/ 727558 h 727557"/>
              <a:gd name="connsiteX35" fmla="*/ 819150 w 857250"/>
              <a:gd name="connsiteY35" fmla="*/ 727558 h 727557"/>
              <a:gd name="connsiteX36" fmla="*/ 857250 w 857250"/>
              <a:gd name="connsiteY36" fmla="*/ 689762 h 727557"/>
              <a:gd name="connsiteX37" fmla="*/ 857250 w 857250"/>
              <a:gd name="connsiteY37" fmla="*/ 462991 h 727557"/>
              <a:gd name="connsiteX38" fmla="*/ 819150 w 857250"/>
              <a:gd name="connsiteY38" fmla="*/ 425196 h 727557"/>
              <a:gd name="connsiteX39" fmla="*/ 371475 w 857250"/>
              <a:gd name="connsiteY39" fmla="*/ 689762 h 727557"/>
              <a:gd name="connsiteX40" fmla="*/ 361950 w 857250"/>
              <a:gd name="connsiteY40" fmla="*/ 699211 h 727557"/>
              <a:gd name="connsiteX41" fmla="*/ 38100 w 857250"/>
              <a:gd name="connsiteY41" fmla="*/ 699211 h 727557"/>
              <a:gd name="connsiteX42" fmla="*/ 28575 w 857250"/>
              <a:gd name="connsiteY42" fmla="*/ 689762 h 727557"/>
              <a:gd name="connsiteX43" fmla="*/ 28575 w 857250"/>
              <a:gd name="connsiteY43" fmla="*/ 519892 h 727557"/>
              <a:gd name="connsiteX44" fmla="*/ 371475 w 857250"/>
              <a:gd name="connsiteY44" fmla="*/ 519892 h 727557"/>
              <a:gd name="connsiteX45" fmla="*/ 371475 w 857250"/>
              <a:gd name="connsiteY45" fmla="*/ 689762 h 727557"/>
              <a:gd name="connsiteX46" fmla="*/ 361950 w 857250"/>
              <a:gd name="connsiteY46" fmla="*/ 453542 h 727557"/>
              <a:gd name="connsiteX47" fmla="*/ 371475 w 857250"/>
              <a:gd name="connsiteY47" fmla="*/ 462991 h 727557"/>
              <a:gd name="connsiteX48" fmla="*/ 371475 w 857250"/>
              <a:gd name="connsiteY48" fmla="*/ 491545 h 727557"/>
              <a:gd name="connsiteX49" fmla="*/ 28575 w 857250"/>
              <a:gd name="connsiteY49" fmla="*/ 491545 h 727557"/>
              <a:gd name="connsiteX50" fmla="*/ 28575 w 857250"/>
              <a:gd name="connsiteY50" fmla="*/ 462991 h 727557"/>
              <a:gd name="connsiteX51" fmla="*/ 38100 w 857250"/>
              <a:gd name="connsiteY51" fmla="*/ 453542 h 727557"/>
              <a:gd name="connsiteX52" fmla="*/ 361950 w 857250"/>
              <a:gd name="connsiteY52" fmla="*/ 453542 h 727557"/>
              <a:gd name="connsiteX53" fmla="*/ 247650 w 857250"/>
              <a:gd name="connsiteY53" fmla="*/ 28346 h 727557"/>
              <a:gd name="connsiteX54" fmla="*/ 609600 w 857250"/>
              <a:gd name="connsiteY54" fmla="*/ 28346 h 727557"/>
              <a:gd name="connsiteX55" fmla="*/ 619125 w 857250"/>
              <a:gd name="connsiteY55" fmla="*/ 37795 h 727557"/>
              <a:gd name="connsiteX56" fmla="*/ 619125 w 857250"/>
              <a:gd name="connsiteY56" fmla="*/ 66142 h 727557"/>
              <a:gd name="connsiteX57" fmla="*/ 238125 w 857250"/>
              <a:gd name="connsiteY57" fmla="*/ 66142 h 727557"/>
              <a:gd name="connsiteX58" fmla="*/ 238125 w 857250"/>
              <a:gd name="connsiteY58" fmla="*/ 37795 h 727557"/>
              <a:gd name="connsiteX59" fmla="*/ 247650 w 857250"/>
              <a:gd name="connsiteY59" fmla="*/ 28346 h 727557"/>
              <a:gd name="connsiteX60" fmla="*/ 247650 w 857250"/>
              <a:gd name="connsiteY60" fmla="*/ 283464 h 727557"/>
              <a:gd name="connsiteX61" fmla="*/ 238125 w 857250"/>
              <a:gd name="connsiteY61" fmla="*/ 274015 h 727557"/>
              <a:gd name="connsiteX62" fmla="*/ 238125 w 857250"/>
              <a:gd name="connsiteY62" fmla="*/ 94488 h 727557"/>
              <a:gd name="connsiteX63" fmla="*/ 619125 w 857250"/>
              <a:gd name="connsiteY63" fmla="*/ 94488 h 727557"/>
              <a:gd name="connsiteX64" fmla="*/ 619125 w 857250"/>
              <a:gd name="connsiteY64" fmla="*/ 274015 h 727557"/>
              <a:gd name="connsiteX65" fmla="*/ 609600 w 857250"/>
              <a:gd name="connsiteY65" fmla="*/ 283464 h 727557"/>
              <a:gd name="connsiteX66" fmla="*/ 247650 w 857250"/>
              <a:gd name="connsiteY66" fmla="*/ 283464 h 727557"/>
              <a:gd name="connsiteX67" fmla="*/ 828675 w 857250"/>
              <a:gd name="connsiteY67" fmla="*/ 689762 h 727557"/>
              <a:gd name="connsiteX68" fmla="*/ 819150 w 857250"/>
              <a:gd name="connsiteY68" fmla="*/ 699211 h 727557"/>
              <a:gd name="connsiteX69" fmla="*/ 495300 w 857250"/>
              <a:gd name="connsiteY69" fmla="*/ 699211 h 727557"/>
              <a:gd name="connsiteX70" fmla="*/ 485775 w 857250"/>
              <a:gd name="connsiteY70" fmla="*/ 689762 h 727557"/>
              <a:gd name="connsiteX71" fmla="*/ 485775 w 857250"/>
              <a:gd name="connsiteY71" fmla="*/ 519892 h 727557"/>
              <a:gd name="connsiteX72" fmla="*/ 828675 w 857250"/>
              <a:gd name="connsiteY72" fmla="*/ 519892 h 727557"/>
              <a:gd name="connsiteX73" fmla="*/ 828675 w 857250"/>
              <a:gd name="connsiteY73" fmla="*/ 689762 h 727557"/>
              <a:gd name="connsiteX74" fmla="*/ 828675 w 857250"/>
              <a:gd name="connsiteY74" fmla="*/ 491545 h 727557"/>
              <a:gd name="connsiteX75" fmla="*/ 485775 w 857250"/>
              <a:gd name="connsiteY75" fmla="*/ 491545 h 727557"/>
              <a:gd name="connsiteX76" fmla="*/ 485775 w 857250"/>
              <a:gd name="connsiteY76" fmla="*/ 462991 h 727557"/>
              <a:gd name="connsiteX77" fmla="*/ 495300 w 857250"/>
              <a:gd name="connsiteY77" fmla="*/ 453542 h 727557"/>
              <a:gd name="connsiteX78" fmla="*/ 819150 w 857250"/>
              <a:gd name="connsiteY78" fmla="*/ 453542 h 727557"/>
              <a:gd name="connsiteX79" fmla="*/ 828675 w 857250"/>
              <a:gd name="connsiteY79" fmla="*/ 462991 h 727557"/>
              <a:gd name="connsiteX80" fmla="*/ 828675 w 857250"/>
              <a:gd name="connsiteY80" fmla="*/ 491545 h 72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57250" h="727557">
                <a:moveTo>
                  <a:pt x="819150" y="425196"/>
                </a:moveTo>
                <a:lnTo>
                  <a:pt x="671513" y="425196"/>
                </a:lnTo>
                <a:lnTo>
                  <a:pt x="671513" y="377952"/>
                </a:lnTo>
                <a:cubicBezTo>
                  <a:pt x="671455" y="364856"/>
                  <a:pt x="660892" y="354387"/>
                  <a:pt x="647700" y="354330"/>
                </a:cubicBezTo>
                <a:lnTo>
                  <a:pt x="442913" y="354330"/>
                </a:lnTo>
                <a:lnTo>
                  <a:pt x="442913" y="311810"/>
                </a:lnTo>
                <a:lnTo>
                  <a:pt x="609600" y="311810"/>
                </a:lnTo>
                <a:cubicBezTo>
                  <a:pt x="630545" y="311810"/>
                  <a:pt x="647700" y="294803"/>
                  <a:pt x="647700" y="274015"/>
                </a:cubicBezTo>
                <a:lnTo>
                  <a:pt x="647700" y="37795"/>
                </a:lnTo>
                <a:cubicBezTo>
                  <a:pt x="647700" y="17008"/>
                  <a:pt x="630545" y="0"/>
                  <a:pt x="609600" y="0"/>
                </a:cubicBezTo>
                <a:lnTo>
                  <a:pt x="247650" y="0"/>
                </a:lnTo>
                <a:cubicBezTo>
                  <a:pt x="226695" y="0"/>
                  <a:pt x="209550" y="17008"/>
                  <a:pt x="209550" y="37795"/>
                </a:cubicBezTo>
                <a:lnTo>
                  <a:pt x="209550" y="274015"/>
                </a:lnTo>
                <a:cubicBezTo>
                  <a:pt x="209550" y="294803"/>
                  <a:pt x="226695" y="311810"/>
                  <a:pt x="247650" y="311810"/>
                </a:cubicBezTo>
                <a:lnTo>
                  <a:pt x="414338" y="311810"/>
                </a:lnTo>
                <a:lnTo>
                  <a:pt x="414338" y="354330"/>
                </a:lnTo>
                <a:lnTo>
                  <a:pt x="209550" y="354330"/>
                </a:lnTo>
                <a:cubicBezTo>
                  <a:pt x="196348" y="354387"/>
                  <a:pt x="185795" y="364856"/>
                  <a:pt x="185738" y="377952"/>
                </a:cubicBezTo>
                <a:lnTo>
                  <a:pt x="185738" y="425196"/>
                </a:lnTo>
                <a:lnTo>
                  <a:pt x="38100" y="425196"/>
                </a:lnTo>
                <a:cubicBezTo>
                  <a:pt x="17145" y="425196"/>
                  <a:pt x="0" y="442204"/>
                  <a:pt x="0" y="462991"/>
                </a:cubicBezTo>
                <a:lnTo>
                  <a:pt x="0" y="689762"/>
                </a:lnTo>
                <a:cubicBezTo>
                  <a:pt x="0" y="710550"/>
                  <a:pt x="17145" y="727558"/>
                  <a:pt x="38100" y="727558"/>
                </a:cubicBezTo>
                <a:lnTo>
                  <a:pt x="361950" y="727558"/>
                </a:lnTo>
                <a:cubicBezTo>
                  <a:pt x="382896" y="727558"/>
                  <a:pt x="400050" y="710550"/>
                  <a:pt x="400050" y="689762"/>
                </a:cubicBezTo>
                <a:lnTo>
                  <a:pt x="400050" y="462991"/>
                </a:lnTo>
                <a:cubicBezTo>
                  <a:pt x="400050" y="442204"/>
                  <a:pt x="382896" y="425196"/>
                  <a:pt x="361950" y="425196"/>
                </a:cubicBezTo>
                <a:lnTo>
                  <a:pt x="214313" y="425196"/>
                </a:lnTo>
                <a:lnTo>
                  <a:pt x="214313" y="382676"/>
                </a:lnTo>
                <a:lnTo>
                  <a:pt x="642938" y="382676"/>
                </a:lnTo>
                <a:lnTo>
                  <a:pt x="642938" y="425196"/>
                </a:lnTo>
                <a:lnTo>
                  <a:pt x="495300" y="425196"/>
                </a:lnTo>
                <a:cubicBezTo>
                  <a:pt x="474345" y="425196"/>
                  <a:pt x="457200" y="442204"/>
                  <a:pt x="457200" y="462991"/>
                </a:cubicBezTo>
                <a:lnTo>
                  <a:pt x="457200" y="689762"/>
                </a:lnTo>
                <a:cubicBezTo>
                  <a:pt x="457200" y="710550"/>
                  <a:pt x="474345" y="727558"/>
                  <a:pt x="495300" y="727558"/>
                </a:cubicBezTo>
                <a:lnTo>
                  <a:pt x="819150" y="727558"/>
                </a:lnTo>
                <a:cubicBezTo>
                  <a:pt x="840095" y="727558"/>
                  <a:pt x="857250" y="710550"/>
                  <a:pt x="857250" y="689762"/>
                </a:cubicBezTo>
                <a:lnTo>
                  <a:pt x="857250" y="462991"/>
                </a:lnTo>
                <a:cubicBezTo>
                  <a:pt x="857250" y="442204"/>
                  <a:pt x="840095" y="425196"/>
                  <a:pt x="819150" y="425196"/>
                </a:cubicBezTo>
                <a:close/>
                <a:moveTo>
                  <a:pt x="371475" y="689762"/>
                </a:moveTo>
                <a:cubicBezTo>
                  <a:pt x="371475" y="694884"/>
                  <a:pt x="367122" y="699211"/>
                  <a:pt x="361950" y="699211"/>
                </a:cubicBezTo>
                <a:lnTo>
                  <a:pt x="38100" y="699211"/>
                </a:lnTo>
                <a:cubicBezTo>
                  <a:pt x="32947" y="699211"/>
                  <a:pt x="28575" y="694884"/>
                  <a:pt x="28575" y="689762"/>
                </a:cubicBezTo>
                <a:lnTo>
                  <a:pt x="28575" y="519892"/>
                </a:lnTo>
                <a:lnTo>
                  <a:pt x="371475" y="519892"/>
                </a:lnTo>
                <a:lnTo>
                  <a:pt x="371475" y="689762"/>
                </a:lnTo>
                <a:close/>
                <a:moveTo>
                  <a:pt x="361950" y="453542"/>
                </a:moveTo>
                <a:cubicBezTo>
                  <a:pt x="367122" y="453542"/>
                  <a:pt x="371475" y="457870"/>
                  <a:pt x="371475" y="462991"/>
                </a:cubicBezTo>
                <a:lnTo>
                  <a:pt x="371475" y="491545"/>
                </a:lnTo>
                <a:lnTo>
                  <a:pt x="28575" y="491545"/>
                </a:lnTo>
                <a:lnTo>
                  <a:pt x="28575" y="462991"/>
                </a:lnTo>
                <a:cubicBezTo>
                  <a:pt x="28575" y="457870"/>
                  <a:pt x="32947" y="453542"/>
                  <a:pt x="38100" y="453542"/>
                </a:cubicBezTo>
                <a:lnTo>
                  <a:pt x="361950" y="453542"/>
                </a:lnTo>
                <a:close/>
                <a:moveTo>
                  <a:pt x="247650" y="28346"/>
                </a:moveTo>
                <a:lnTo>
                  <a:pt x="609600" y="28346"/>
                </a:lnTo>
                <a:cubicBezTo>
                  <a:pt x="614772" y="28346"/>
                  <a:pt x="619125" y="32674"/>
                  <a:pt x="619125" y="37795"/>
                </a:cubicBezTo>
                <a:lnTo>
                  <a:pt x="619125" y="66142"/>
                </a:lnTo>
                <a:lnTo>
                  <a:pt x="238125" y="66142"/>
                </a:lnTo>
                <a:lnTo>
                  <a:pt x="238125" y="37795"/>
                </a:lnTo>
                <a:cubicBezTo>
                  <a:pt x="238125" y="32674"/>
                  <a:pt x="242497" y="28346"/>
                  <a:pt x="247650" y="28346"/>
                </a:cubicBezTo>
                <a:close/>
                <a:moveTo>
                  <a:pt x="247650" y="283464"/>
                </a:moveTo>
                <a:cubicBezTo>
                  <a:pt x="242497" y="283464"/>
                  <a:pt x="238125" y="279136"/>
                  <a:pt x="238125" y="274015"/>
                </a:cubicBezTo>
                <a:lnTo>
                  <a:pt x="238125" y="94488"/>
                </a:lnTo>
                <a:lnTo>
                  <a:pt x="619125" y="94488"/>
                </a:lnTo>
                <a:lnTo>
                  <a:pt x="619125" y="274015"/>
                </a:lnTo>
                <a:cubicBezTo>
                  <a:pt x="619125" y="279136"/>
                  <a:pt x="614772" y="283464"/>
                  <a:pt x="609600" y="283464"/>
                </a:cubicBezTo>
                <a:lnTo>
                  <a:pt x="247650" y="283464"/>
                </a:lnTo>
                <a:close/>
                <a:moveTo>
                  <a:pt x="828675" y="689762"/>
                </a:moveTo>
                <a:cubicBezTo>
                  <a:pt x="828675" y="694884"/>
                  <a:pt x="824322" y="699211"/>
                  <a:pt x="819150" y="699211"/>
                </a:cubicBezTo>
                <a:lnTo>
                  <a:pt x="495300" y="699211"/>
                </a:lnTo>
                <a:cubicBezTo>
                  <a:pt x="490147" y="699211"/>
                  <a:pt x="485775" y="694884"/>
                  <a:pt x="485775" y="689762"/>
                </a:cubicBezTo>
                <a:lnTo>
                  <a:pt x="485775" y="519892"/>
                </a:lnTo>
                <a:lnTo>
                  <a:pt x="828675" y="519892"/>
                </a:lnTo>
                <a:lnTo>
                  <a:pt x="828675" y="689762"/>
                </a:lnTo>
                <a:close/>
                <a:moveTo>
                  <a:pt x="828675" y="491545"/>
                </a:moveTo>
                <a:lnTo>
                  <a:pt x="485775" y="491545"/>
                </a:lnTo>
                <a:lnTo>
                  <a:pt x="485775" y="462991"/>
                </a:lnTo>
                <a:cubicBezTo>
                  <a:pt x="485775" y="457870"/>
                  <a:pt x="490147" y="453542"/>
                  <a:pt x="495300" y="453542"/>
                </a:cubicBezTo>
                <a:lnTo>
                  <a:pt x="819150" y="453542"/>
                </a:lnTo>
                <a:cubicBezTo>
                  <a:pt x="824322" y="453542"/>
                  <a:pt x="828675" y="457870"/>
                  <a:pt x="828675" y="462991"/>
                </a:cubicBezTo>
                <a:lnTo>
                  <a:pt x="828675" y="491545"/>
                </a:lnTo>
                <a:close/>
              </a:path>
            </a:pathLst>
          </a:custGeom>
          <a:solidFill>
            <a:schemeClr val="accent1"/>
          </a:solidFill>
          <a:ln w="9525" cap="flat">
            <a:noFill/>
            <a:prstDash val="solid"/>
            <a:miter/>
          </a:ln>
        </p:spPr>
        <p:txBody>
          <a:bodyPr rtlCol="0" anchor="ctr"/>
          <a:lstStyle/>
          <a:p>
            <a:endParaRPr lang="en-US" sz="800"/>
          </a:p>
        </p:txBody>
      </p:sp>
      <p:sp>
        <p:nvSpPr>
          <p:cNvPr id="1332" name="Rounded Rectangle 1331">
            <a:extLst>
              <a:ext uri="{FF2B5EF4-FFF2-40B4-BE49-F238E27FC236}">
                <a16:creationId xmlns:a16="http://schemas.microsoft.com/office/drawing/2014/main" id="{236AFEEE-52A2-94E2-01CF-654E15A5E571}"/>
              </a:ext>
            </a:extLst>
          </p:cNvPr>
          <p:cNvSpPr/>
          <p:nvPr/>
        </p:nvSpPr>
        <p:spPr bwMode="auto">
          <a:xfrm>
            <a:off x="867809" y="5411088"/>
            <a:ext cx="775589" cy="750735"/>
          </a:xfrm>
          <a:prstGeom prst="roundRect">
            <a:avLst/>
          </a:prstGeom>
          <a:noFill/>
          <a:ln w="6350" cap="flat" cmpd="sng" algn="ctr">
            <a:solidFill>
              <a:schemeClr val="accent4">
                <a:lumMod val="75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
        <p:nvSpPr>
          <p:cNvPr id="1333" name="Rounded Rectangle 1332">
            <a:extLst>
              <a:ext uri="{FF2B5EF4-FFF2-40B4-BE49-F238E27FC236}">
                <a16:creationId xmlns:a16="http://schemas.microsoft.com/office/drawing/2014/main" id="{2BE8E758-2F32-E55D-B3C3-CC1B74E22258}"/>
              </a:ext>
            </a:extLst>
          </p:cNvPr>
          <p:cNvSpPr/>
          <p:nvPr/>
        </p:nvSpPr>
        <p:spPr bwMode="auto">
          <a:xfrm>
            <a:off x="1778216" y="5411088"/>
            <a:ext cx="775589" cy="750735"/>
          </a:xfrm>
          <a:prstGeom prst="roundRect">
            <a:avLst/>
          </a:prstGeom>
          <a:noFill/>
          <a:ln w="6350" cap="flat" cmpd="sng" algn="ctr">
            <a:solidFill>
              <a:schemeClr val="accent4">
                <a:lumMod val="75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
        <p:nvSpPr>
          <p:cNvPr id="1334" name="Rounded Rectangle 1333">
            <a:extLst>
              <a:ext uri="{FF2B5EF4-FFF2-40B4-BE49-F238E27FC236}">
                <a16:creationId xmlns:a16="http://schemas.microsoft.com/office/drawing/2014/main" id="{CA86AB3E-9C39-AD87-8260-EF2BE4954D45}"/>
              </a:ext>
            </a:extLst>
          </p:cNvPr>
          <p:cNvSpPr/>
          <p:nvPr/>
        </p:nvSpPr>
        <p:spPr bwMode="auto">
          <a:xfrm>
            <a:off x="2700247" y="5411088"/>
            <a:ext cx="775589" cy="750735"/>
          </a:xfrm>
          <a:prstGeom prst="roundRect">
            <a:avLst/>
          </a:prstGeom>
          <a:noFill/>
          <a:ln w="6350" cap="flat" cmpd="sng" algn="ctr">
            <a:solidFill>
              <a:schemeClr val="accent4">
                <a:lumMod val="75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
        <p:nvSpPr>
          <p:cNvPr id="1335" name="Rounded Rectangle 1334">
            <a:extLst>
              <a:ext uri="{FF2B5EF4-FFF2-40B4-BE49-F238E27FC236}">
                <a16:creationId xmlns:a16="http://schemas.microsoft.com/office/drawing/2014/main" id="{41BEC0B6-CE0A-0159-AD1B-9C684069862E}"/>
              </a:ext>
            </a:extLst>
          </p:cNvPr>
          <p:cNvSpPr/>
          <p:nvPr/>
        </p:nvSpPr>
        <p:spPr bwMode="auto">
          <a:xfrm>
            <a:off x="3622277" y="5411088"/>
            <a:ext cx="775589" cy="750735"/>
          </a:xfrm>
          <a:prstGeom prst="roundRect">
            <a:avLst/>
          </a:prstGeom>
          <a:noFill/>
          <a:ln w="6350" cap="flat" cmpd="sng" algn="ctr">
            <a:solidFill>
              <a:schemeClr val="accent4">
                <a:lumMod val="75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
        <p:nvSpPr>
          <p:cNvPr id="1336" name="Rounded Rectangle 1335">
            <a:extLst>
              <a:ext uri="{FF2B5EF4-FFF2-40B4-BE49-F238E27FC236}">
                <a16:creationId xmlns:a16="http://schemas.microsoft.com/office/drawing/2014/main" id="{14FF9880-607E-56BD-2411-0CD42E930CBA}"/>
              </a:ext>
            </a:extLst>
          </p:cNvPr>
          <p:cNvSpPr/>
          <p:nvPr/>
        </p:nvSpPr>
        <p:spPr bwMode="auto">
          <a:xfrm>
            <a:off x="4548180" y="5411088"/>
            <a:ext cx="775589" cy="750735"/>
          </a:xfrm>
          <a:prstGeom prst="roundRect">
            <a:avLst/>
          </a:prstGeom>
          <a:noFill/>
          <a:ln w="6350" cap="flat" cmpd="sng" algn="ctr">
            <a:solidFill>
              <a:schemeClr val="accent4">
                <a:lumMod val="75000"/>
              </a:schemeClr>
            </a:solidFill>
            <a:prstDash val="dash"/>
            <a:round/>
            <a:headEnd type="none" w="med" len="med"/>
            <a:tailEnd type="none" w="med" len="med"/>
          </a:ln>
          <a:effectLst/>
        </p:spPr>
        <p:txBody>
          <a:bodyPr vert="horz" wrap="none" lIns="0" tIns="0" rIns="0" bIns="0" numCol="1" rtlCol="0" anchor="ctr" anchorCtr="0" compatLnSpc="1">
            <a:prstTxWarp prst="textNoShape">
              <a:avLst/>
            </a:prstTxWarp>
          </a:bodyPr>
          <a:lstStyle/>
          <a:p>
            <a: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pPr>
            <a:endParaRPr kumimoji="0" lang="en-US" sz="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3342994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2.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3.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4.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5.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6.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7.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8.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ags/tag9.xml><?xml version="1.0" encoding="utf-8"?>
<p:tagLst xmlns:a="http://schemas.openxmlformats.org/drawingml/2006/main" xmlns:r="http://schemas.openxmlformats.org/officeDocument/2006/relationships" xmlns:p="http://schemas.openxmlformats.org/presentationml/2006/main">
  <p:tag name="BACKUPNAME" val="KMA1D1FEAF:R001:C001"/>
  <p:tag name="LEFT" val="41"/>
  <p:tag name="PRIORNAME" val="KMA1D1FEAF"/>
  <p:tag name="AUTHOR" val="KMA"/>
  <p:tag name="NUMBEROFROWS" val=" 1"/>
  <p:tag name="NUMBEROFCOLUMNS" val=" 1"/>
  <p:tag name="TABLEVERSION" val="3.00"/>
  <p:tag name="TABLEINFO" val="RW:R001;LK=False|RW:R001;ST=1|RW:R001;RH=1|CL:C001;LK=False|CL:C001;ST=1|CL:C001;CW=1"/>
  <p:tag name="BAINBULLET" val="True"/>
</p:tagLst>
</file>

<file path=ppt/theme/theme1.xml><?xml version="1.0" encoding="utf-8"?>
<a:theme xmlns:a="http://schemas.openxmlformats.org/drawingml/2006/main" name="Master layout">
  <a:themeElements>
    <a:clrScheme name="Everest Group">
      <a:dk1>
        <a:srgbClr val="3F3F3F"/>
      </a:dk1>
      <a:lt1>
        <a:sysClr val="window" lastClr="FFFFFF"/>
      </a:lt1>
      <a:dk2>
        <a:srgbClr val="FFD41F"/>
      </a:dk2>
      <a:lt2>
        <a:srgbClr val="2E748D"/>
      </a:lt2>
      <a:accent1>
        <a:srgbClr val="479337"/>
      </a:accent1>
      <a:accent2>
        <a:srgbClr val="005A8C"/>
      </a:accent2>
      <a:accent3>
        <a:srgbClr val="C60012"/>
      </a:accent3>
      <a:accent4>
        <a:srgbClr val="BFBFBF"/>
      </a:accent4>
      <a:accent5>
        <a:srgbClr val="27A7DF"/>
      </a:accent5>
      <a:accent6>
        <a:srgbClr val="FF750A"/>
      </a:accent6>
      <a:hlink>
        <a:srgbClr val="005A8C"/>
      </a:hlink>
      <a:folHlink>
        <a:srgbClr val="005A8C"/>
      </a:folHlink>
    </a:clrScheme>
    <a:fontScheme name="blank">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defRPr kumimoji="0" lang="en-GB"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304800" marR="0" indent="-304800" algn="l" defTabSz="914400" rtl="0" eaLnBrk="1" fontAlgn="base" latinLnBrk="0" hangingPunct="1">
          <a:lnSpc>
            <a:spcPct val="100000"/>
          </a:lnSpc>
          <a:spcBef>
            <a:spcPct val="0"/>
          </a:spcBef>
          <a:spcAft>
            <a:spcPct val="0"/>
          </a:spcAft>
          <a:buClr>
            <a:schemeClr val="accent1"/>
          </a:buClr>
          <a:buSzPct val="60000"/>
          <a:buFont typeface="Wingdings" pitchFamily="2" charset="2"/>
          <a:buNone/>
          <a:tabLst/>
          <a:defRPr kumimoji="0" lang="en-GB" sz="1600" b="0" i="0" u="none" strike="noStrike" cap="none" normalizeH="0" baseline="0" smtClean="0">
            <a:ln>
              <a:noFill/>
            </a:ln>
            <a:solidFill>
              <a:schemeClr val="tx1"/>
            </a:solidFill>
            <a:effectLst/>
            <a:latin typeface="Arial" charset="0"/>
          </a:defRPr>
        </a:defPPr>
      </a:lstStyle>
    </a:lnDef>
    <a:txDef>
      <a:spPr>
        <a:noFill/>
      </a:spPr>
      <a:bodyPr wrap="square" lIns="0" tIns="0" rIns="0" bIns="0" rtlCol="0">
        <a:spAutoFit/>
      </a:bodyPr>
      <a:lstStyle>
        <a:defPPr algn="l">
          <a:defRPr dirty="0"/>
        </a:defPPr>
      </a:lstStyle>
    </a:txDef>
  </a:objectDefaults>
  <a:extraClrSchemeLst>
    <a:extraClrScheme>
      <a:clrScheme name="blank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ank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ank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ank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ank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ank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blank 8">
        <a:dk1>
          <a:srgbClr val="000000"/>
        </a:dk1>
        <a:lt1>
          <a:srgbClr val="FFFFFF"/>
        </a:lt1>
        <a:dk2>
          <a:srgbClr val="333399"/>
        </a:dk2>
        <a:lt2>
          <a:srgbClr val="1C1C1C"/>
        </a:lt2>
        <a:accent1>
          <a:srgbClr val="3333FF"/>
        </a:accent1>
        <a:accent2>
          <a:srgbClr val="33CC33"/>
        </a:accent2>
        <a:accent3>
          <a:srgbClr val="FFFFFF"/>
        </a:accent3>
        <a:accent4>
          <a:srgbClr val="000000"/>
        </a:accent4>
        <a:accent5>
          <a:srgbClr val="ADADFF"/>
        </a:accent5>
        <a:accent6>
          <a:srgbClr val="2DB92D"/>
        </a:accent6>
        <a:hlink>
          <a:srgbClr val="FF0000"/>
        </a:hlink>
        <a:folHlink>
          <a:srgbClr val="CC00CC"/>
        </a:folHlink>
      </a:clrScheme>
      <a:clrMap bg1="lt1" tx1="dk1" bg2="lt2" tx2="dk2" accent1="accent1" accent2="accent2" accent3="accent3" accent4="accent4" accent5="accent5" accent6="accent6" hlink="hlink" folHlink="folHlink"/>
    </a:extraClrScheme>
    <a:extraClrScheme>
      <a:clrScheme name="blank 9">
        <a:dk1>
          <a:srgbClr val="000000"/>
        </a:dk1>
        <a:lt1>
          <a:srgbClr val="FFFFFF"/>
        </a:lt1>
        <a:dk2>
          <a:srgbClr val="3333FF"/>
        </a:dk2>
        <a:lt2>
          <a:srgbClr val="1C1C1C"/>
        </a:lt2>
        <a:accent1>
          <a:srgbClr val="3333FF"/>
        </a:accent1>
        <a:accent2>
          <a:srgbClr val="FFCC00"/>
        </a:accent2>
        <a:accent3>
          <a:srgbClr val="FFFFFF"/>
        </a:accent3>
        <a:accent4>
          <a:srgbClr val="000000"/>
        </a:accent4>
        <a:accent5>
          <a:srgbClr val="ADADFF"/>
        </a:accent5>
        <a:accent6>
          <a:srgbClr val="E7B900"/>
        </a:accent6>
        <a:hlink>
          <a:srgbClr val="DDDDDD"/>
        </a:hlink>
        <a:folHlink>
          <a:srgbClr val="9696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mplimentary Abstract.pptx" id="{3A132994-27E8-4AD9-95C2-E405A3076A8A}" vid="{9D632861-715B-4889-ADF0-743FFBA3B5E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ad10e06-735b-4095-9ebf-ec3cc1752ffe">
      <Terms xmlns="http://schemas.microsoft.com/office/infopath/2007/PartnerControls"/>
    </lcf76f155ced4ddcb4097134ff3c332f>
    <TaxCatchAll xmlns="9fcef585-7dbb-49ce-9088-78511bcf947c" xsi:nil="true"/>
  </documentManagement>
</p:properties>
</file>

<file path=customXml/item2.xml><?xml version="1.0" encoding="utf-8"?>
<TemplafyFormConfiguration><![CDATA[{"formFields":[],"formDataEntries":[]}]]></TemplafyFormConfiguration>
</file>

<file path=customXml/item3.xml><?xml version="1.0" encoding="utf-8"?>
<TemplafyTemplateConfiguration><![CDATA[{"elementsMetadata":[],"transformationConfigurations":[],"templateName":"Complimentary Abstract template","templateDescription":"","enableDocumentContentUpdater":false,"version":"2.0"}]]></TemplafyTemplateConfiguration>
</file>

<file path=customXml/item4.xml><?xml version="1.0" encoding="utf-8"?>
<ct:contentTypeSchema xmlns:ct="http://schemas.microsoft.com/office/2006/metadata/contentType" xmlns:ma="http://schemas.microsoft.com/office/2006/metadata/properties/metaAttributes" ct:_="" ma:_="" ma:contentTypeName="Document" ma:contentTypeID="0x0101004A4AD1142B3DEF4CB0626CAFC4004249" ma:contentTypeVersion="8" ma:contentTypeDescription="Create a new document." ma:contentTypeScope="" ma:versionID="9e959deb87b938966fd50571154ce7e2">
  <xsd:schema xmlns:xsd="http://www.w3.org/2001/XMLSchema" xmlns:xs="http://www.w3.org/2001/XMLSchema" xmlns:p="http://schemas.microsoft.com/office/2006/metadata/properties" xmlns:ns2="bad10e06-735b-4095-9ebf-ec3cc1752ffe" xmlns:ns3="9fcef585-7dbb-49ce-9088-78511bcf947c" targetNamespace="http://schemas.microsoft.com/office/2006/metadata/properties" ma:root="true" ma:fieldsID="560603103560c0baf7d781b6983865e6" ns2:_="" ns3:_="">
    <xsd:import namespace="bad10e06-735b-4095-9ebf-ec3cc1752ffe"/>
    <xsd:import namespace="9fcef585-7dbb-49ce-9088-78511bcf947c"/>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d10e06-735b-4095-9ebf-ec3cc1752f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8fcad401-cb1e-4c69-9290-4f630fede921"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cef585-7dbb-49ce-9088-78511bcf947c"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95d1f6ca-69a8-402a-a998-1d7fe25031cd}" ma:internalName="TaxCatchAll" ma:showField="CatchAllData" ma:web="9fcef585-7dbb-49ce-9088-78511bcf947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TemplafySlideTemplateConfiguration><![CDATA[{"slideVersion":1,"isValidatorEnabled":false,"isLocked":false,"elementsMetadata":[],"slideId":"637998717118059992","enableDocumentContentUpdater":false,"version":"2.0"}]]></TemplafySlideTemplateConfiguration>
</file>

<file path=customXml/item7.xml><?xml version="1.0" encoding="utf-8"?>
<TemplafySlideFormConfiguration><![CDATA[{"formFields":[],"formDataEntries":[]}]]></TemplafySlideFormConfiguration>
</file>

<file path=customXml/itemProps1.xml><?xml version="1.0" encoding="utf-8"?>
<ds:datastoreItem xmlns:ds="http://schemas.openxmlformats.org/officeDocument/2006/customXml" ds:itemID="{7273813B-A9C7-4927-8A79-478EAFAAC66B}">
  <ds:schemaRefs>
    <ds:schemaRef ds:uri="http://schemas.microsoft.com/office/2006/metadata/properties"/>
    <ds:schemaRef ds:uri="http://purl.org/dc/dcmitype/"/>
    <ds:schemaRef ds:uri="http://schemas.microsoft.com/office/infopath/2007/PartnerControls"/>
    <ds:schemaRef ds:uri="bad10e06-735b-4095-9ebf-ec3cc1752ffe"/>
    <ds:schemaRef ds:uri="http://schemas.microsoft.com/office/2006/documentManagement/types"/>
    <ds:schemaRef ds:uri="http://www.w3.org/XML/1998/namespace"/>
    <ds:schemaRef ds:uri="http://schemas.openxmlformats.org/package/2006/metadata/core-properties"/>
    <ds:schemaRef ds:uri="9fcef585-7dbb-49ce-9088-78511bcf947c"/>
    <ds:schemaRef ds:uri="http://purl.org/dc/terms/"/>
    <ds:schemaRef ds:uri="http://purl.org/dc/elements/1.1/"/>
  </ds:schemaRefs>
</ds:datastoreItem>
</file>

<file path=customXml/itemProps2.xml><?xml version="1.0" encoding="utf-8"?>
<ds:datastoreItem xmlns:ds="http://schemas.openxmlformats.org/officeDocument/2006/customXml" ds:itemID="{FE98B69C-96A3-4D4A-B422-F15B19C7C57A}">
  <ds:schemaRefs/>
</ds:datastoreItem>
</file>

<file path=customXml/itemProps3.xml><?xml version="1.0" encoding="utf-8"?>
<ds:datastoreItem xmlns:ds="http://schemas.openxmlformats.org/officeDocument/2006/customXml" ds:itemID="{B9F699B1-0A4B-414A-BCAF-31D0A5BEBB4C}">
  <ds:schemaRefs/>
</ds:datastoreItem>
</file>

<file path=customXml/itemProps4.xml><?xml version="1.0" encoding="utf-8"?>
<ds:datastoreItem xmlns:ds="http://schemas.openxmlformats.org/officeDocument/2006/customXml" ds:itemID="{5B11F501-DA96-4684-8093-CAF1C80710B9}">
  <ds:schemaRefs>
    <ds:schemaRef ds:uri="9fcef585-7dbb-49ce-9088-78511bcf947c"/>
    <ds:schemaRef ds:uri="bad10e06-735b-4095-9ebf-ec3cc1752f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0B17B2CA-5320-461C-A1FF-49841DDE5359}">
  <ds:schemaRefs>
    <ds:schemaRef ds:uri="http://schemas.microsoft.com/sharepoint/v3/contenttype/forms"/>
  </ds:schemaRefs>
</ds:datastoreItem>
</file>

<file path=customXml/itemProps6.xml><?xml version="1.0" encoding="utf-8"?>
<ds:datastoreItem xmlns:ds="http://schemas.openxmlformats.org/officeDocument/2006/customXml" ds:itemID="{9FF42BA6-9625-4A03-A388-AF1620A478C0}">
  <ds:schemaRefs/>
</ds:datastoreItem>
</file>

<file path=customXml/itemProps7.xml><?xml version="1.0" encoding="utf-8"?>
<ds:datastoreItem xmlns:ds="http://schemas.openxmlformats.org/officeDocument/2006/customXml" ds:itemID="{69A7CFE5-74C4-4DEF-AEEA-22D4A93790E5}">
  <ds:schemaRefs/>
</ds:datastoreItem>
</file>

<file path=docProps/app.xml><?xml version="1.0" encoding="utf-8"?>
<Properties xmlns="http://schemas.openxmlformats.org/officeDocument/2006/extended-properties" xmlns:vt="http://schemas.openxmlformats.org/officeDocument/2006/docPropsVTypes">
  <Template>Complimentary Abstract</Template>
  <TotalTime>47</TotalTime>
  <Words>2406</Words>
  <Application>Microsoft Macintosh PowerPoint</Application>
  <PresentationFormat>Widescreen</PresentationFormat>
  <Paragraphs>397</Paragraphs>
  <Slides>11</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8" baseType="lpstr">
      <vt:lpstr>Arial</vt:lpstr>
      <vt:lpstr>Arial Black</vt:lpstr>
      <vt:lpstr>Courier New</vt:lpstr>
      <vt:lpstr>Times New Roman</vt:lpstr>
      <vt:lpstr>Wingdings</vt:lpstr>
      <vt:lpstr>Master layout</vt:lpstr>
      <vt:lpstr>think-cell Slide</vt:lpstr>
      <vt:lpstr>PowerPoint Presentation</vt:lpstr>
      <vt:lpstr>Our research offerings</vt:lpstr>
      <vt:lpstr>PowerPoint Presentation</vt:lpstr>
      <vt:lpstr>PowerPoint Presentation</vt:lpstr>
      <vt:lpstr>This research is based on multiple sources of proprietary information</vt:lpstr>
      <vt:lpstr>Introduction</vt:lpstr>
      <vt:lpstr>Overview and abbreviated summary of key messages (page 1 of 2)</vt:lpstr>
      <vt:lpstr>Overview and abbreviated summary of key messages (page 2 of 2)</vt:lpstr>
      <vt:lpstr>This study offers nine distinct chapters providing a deep dive into key aspects of RPA market; below are four charts to illustrate the depth of the report</vt:lpstr>
      <vt:lpstr>Research calendar Service Optimization Technologies (SOT)</vt:lpstr>
      <vt:lpstr>PowerPoint Presentation</vt:lpstr>
    </vt:vector>
  </TitlesOfParts>
  <Manager/>
  <Company>Everest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erest Group - Unlocking the Power of Hybrid Workforce – Process Orchestration State of the Market 2023</dc:title>
  <dc:subject/>
  <dc:creator>Everest Group</dc:creator>
  <cp:keywords>Add keywords</cp:keywords>
  <dc:description/>
  <cp:lastModifiedBy>Akansha Jain</cp:lastModifiedBy>
  <cp:revision>8</cp:revision>
  <dcterms:created xsi:type="dcterms:W3CDTF">2023-01-27T09:36:12Z</dcterms:created>
  <dcterms:modified xsi:type="dcterms:W3CDTF">2023-02-03T09:54:52Z</dcterms:modified>
  <cp:category>Complimentary Abstrac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4AD1142B3DEF4CB0626CAFC4004249</vt:lpwstr>
  </property>
  <property fmtid="{D5CDD505-2E9C-101B-9397-08002B2CF9AE}" pid="3" name="MediaServiceImageTags">
    <vt:lpwstr/>
  </property>
  <property fmtid="{D5CDD505-2E9C-101B-9397-08002B2CF9AE}" pid="4" name="TemplafyTimeStamp">
    <vt:lpwstr>2022-12-31T08:20:17</vt:lpwstr>
  </property>
  <property fmtid="{D5CDD505-2E9C-101B-9397-08002B2CF9AE}" pid="5" name="TemplafyTenantId">
    <vt:lpwstr>everestgrp</vt:lpwstr>
  </property>
  <property fmtid="{D5CDD505-2E9C-101B-9397-08002B2CF9AE}" pid="6" name="TemplafyTemplateId">
    <vt:lpwstr>637979587692807787</vt:lpwstr>
  </property>
  <property fmtid="{D5CDD505-2E9C-101B-9397-08002B2CF9AE}" pid="7" name="TemplafyUserProfileId">
    <vt:lpwstr>638029985477448822</vt:lpwstr>
  </property>
  <property fmtid="{D5CDD505-2E9C-101B-9397-08002B2CF9AE}" pid="8" name="TemplafyFromBlank">
    <vt:bool>false</vt:bool>
  </property>
</Properties>
</file>